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5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7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notesSlides/notesSlide8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notesSlides/notesSlide9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0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1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760" r:id="rId5"/>
    <p:sldMasterId id="2147483777" r:id="rId6"/>
    <p:sldMasterId id="2147483827" r:id="rId7"/>
  </p:sldMasterIdLst>
  <p:notesMasterIdLst>
    <p:notesMasterId r:id="rId23"/>
  </p:notesMasterIdLst>
  <p:handoutMasterIdLst>
    <p:handoutMasterId r:id="rId24"/>
  </p:handoutMasterIdLst>
  <p:sldIdLst>
    <p:sldId id="2723" r:id="rId8"/>
    <p:sldId id="2724" r:id="rId9"/>
    <p:sldId id="2689" r:id="rId10"/>
    <p:sldId id="2665" r:id="rId11"/>
    <p:sldId id="2710" r:id="rId12"/>
    <p:sldId id="2721" r:id="rId13"/>
    <p:sldId id="2720" r:id="rId14"/>
    <p:sldId id="2719" r:id="rId15"/>
    <p:sldId id="2713" r:id="rId16"/>
    <p:sldId id="2716" r:id="rId17"/>
    <p:sldId id="2714" r:id="rId18"/>
    <p:sldId id="2718" r:id="rId19"/>
    <p:sldId id="2688" r:id="rId20"/>
    <p:sldId id="267" r:id="rId21"/>
    <p:sldId id="2687" r:id="rId22"/>
  </p:sldIdLst>
  <p:sldSz cx="12192000" cy="6858000"/>
  <p:notesSz cx="6797675" cy="9926638"/>
  <p:custDataLst>
    <p:tags r:id="rId25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sektion" id="{848D7C24-A7AB-499B-B78A-5766A1BDCFA7}">
          <p14:sldIdLst>
            <p14:sldId id="2723"/>
            <p14:sldId id="2724"/>
            <p14:sldId id="2689"/>
            <p14:sldId id="2665"/>
            <p14:sldId id="2710"/>
            <p14:sldId id="2721"/>
            <p14:sldId id="2720"/>
            <p14:sldId id="2719"/>
            <p14:sldId id="2713"/>
            <p14:sldId id="2716"/>
            <p14:sldId id="2714"/>
            <p14:sldId id="2718"/>
            <p14:sldId id="2688"/>
            <p14:sldId id="267"/>
            <p14:sldId id="2687"/>
          </p14:sldIdLst>
        </p14:section>
      </p14:sectionLst>
    </p:ext>
    <p:ext uri="{EFAFB233-063F-42B5-8137-9DF3F51BA10A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3613" userDrawn="1">
          <p15:clr>
            <a:srgbClr val="F26B43"/>
          </p15:clr>
        </p15:guide>
        <p15:guide id="3" pos="3545" userDrawn="1">
          <p15:clr>
            <a:srgbClr val="F26B43"/>
          </p15:clr>
        </p15:guide>
        <p15:guide id="4" pos="4054" userDrawn="1">
          <p15:clr>
            <a:srgbClr val="F26B43"/>
          </p15:clr>
        </p15:guide>
        <p15:guide id="5" pos="431" userDrawn="1">
          <p15:clr>
            <a:srgbClr val="F26B43"/>
          </p15:clr>
        </p15:guide>
        <p15:guide id="6" pos="5972" userDrawn="1">
          <p15:clr>
            <a:srgbClr val="F26B43"/>
          </p15:clr>
        </p15:guide>
        <p15:guide id="7" pos="6603" userDrawn="1">
          <p15:clr>
            <a:srgbClr val="F26B43"/>
          </p15:clr>
        </p15:guide>
        <p15:guide id="8" pos="7265" userDrawn="1">
          <p15:clr>
            <a:srgbClr val="F26B43"/>
          </p15:clr>
        </p15:guide>
        <p15:guide id="9" pos="5564" userDrawn="1">
          <p15:clr>
            <a:srgbClr val="F26B43"/>
          </p15:clr>
        </p15:guide>
        <p15:guide id="10" orient="horz" pos="323" userDrawn="1">
          <p15:clr>
            <a:srgbClr val="F26B43"/>
          </p15:clr>
        </p15:guide>
        <p15:guide id="11" orient="horz" pos="845" userDrawn="1">
          <p15:clr>
            <a:srgbClr val="F26B43"/>
          </p15:clr>
        </p15:guide>
        <p15:guide id="12" orient="horz" pos="1389" userDrawn="1">
          <p15:clr>
            <a:srgbClr val="F26B43"/>
          </p15:clr>
        </p15:guide>
        <p15:guide id="13" orient="horz" pos="3702" userDrawn="1">
          <p15:clr>
            <a:srgbClr val="F26B43"/>
          </p15:clr>
        </p15:guide>
        <p15:guide id="14" orient="horz" pos="232" userDrawn="1">
          <p15:clr>
            <a:srgbClr val="F26B43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ske Hougaard" initials="AH" lastIdx="1" clrIdx="0">
    <p:extLst>
      <p:ext uri="{19B8F6BF-5375-455C-9EA6-DF929625EA0E}">
        <p15:presenceInfo xmlns:p15="http://schemas.microsoft.com/office/powerpoint/2012/main" userId="S::ah@pointcom.dk::cb232af3-4d6a-4741-af4c-fc6b9b400180" providerId="AD"/>
      </p:ext>
    </p:extLst>
  </p:cmAuthor>
  <p:cmAuthor id="2" name="Carsten Andersen" initials="CA" lastIdx="1" clrIdx="1">
    <p:extLst>
      <p:ext uri="{19B8F6BF-5375-455C-9EA6-DF929625EA0E}">
        <p15:presenceInfo xmlns:p15="http://schemas.microsoft.com/office/powerpoint/2012/main" userId="S::can@mth.dk::1b863688-e749-46ab-82ab-124dc368bfa7" providerId="AD"/>
      </p:ext>
    </p:extLst>
  </p:cmAuthor>
  <p:cmAuthor id="3" name="Charlotte Støvring" initials="CS" lastIdx="2" clrIdx="2">
    <p:extLst>
      <p:ext uri="{19B8F6BF-5375-455C-9EA6-DF929625EA0E}">
        <p15:presenceInfo xmlns:p15="http://schemas.microsoft.com/office/powerpoint/2012/main" userId="Charlotte Støvring" providerId="None"/>
      </p:ext>
    </p:extLst>
  </p:cmAuthor>
  <p:cmAuthor id="4" name="Carolina Hermansen" initials="CH" lastIdx="54" clrIdx="3">
    <p:extLst>
      <p:ext uri="{19B8F6BF-5375-455C-9EA6-DF929625EA0E}">
        <p15:presenceInfo xmlns:p15="http://schemas.microsoft.com/office/powerpoint/2012/main" userId="S::CAH01@mth.dk::3271a693-4c56-4f9a-9b5b-870563ab0cd3" providerId="AD"/>
      </p:ext>
    </p:extLst>
  </p:cmAuthor>
  <p:cmAuthor id="5" name="Hans  Bøving" initials="HB" lastIdx="1" clrIdx="4">
    <p:extLst>
      <p:ext uri="{19B8F6BF-5375-455C-9EA6-DF929625EA0E}">
        <p15:presenceInfo xmlns:p15="http://schemas.microsoft.com/office/powerpoint/2012/main" userId="S::hb@pointcom.dk::95f6f151-5a89-46bf-b990-f7aef8c1378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00"/>
    <a:srgbClr val="BFE7E3"/>
    <a:srgbClr val="58595B"/>
    <a:srgbClr val="009E8E"/>
    <a:srgbClr val="FBF50B"/>
    <a:srgbClr val="D35C2D"/>
    <a:srgbClr val="D91111"/>
    <a:srgbClr val="839BAF"/>
    <a:srgbClr val="002F67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47" b="103"/>
        </a:fontRef>
        <a:schemeClr val="tx1"/>
      </a:tcTxStyle>
      <a:tcStyle>
        <a:tcBdr>
          <a:left>
            <a:ln w="0" cmpd="sng">
              <a:solidFill>
                <a:schemeClr val="tx1"/>
              </a:solidFill>
            </a:ln>
          </a:left>
          <a:right>
            <a:ln w="0" cmpd="sng">
              <a:solidFill>
                <a:schemeClr val="tx1"/>
              </a:solidFill>
            </a:ln>
          </a:right>
          <a:top>
            <a:ln w="25400" cmpd="sng">
              <a:solidFill>
                <a:schemeClr val="tx1"/>
              </a:solidFill>
            </a:ln>
          </a:top>
          <a:bottom>
            <a:ln w="254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569" autoAdjust="0"/>
    <p:restoredTop sz="96283" autoAdjust="0"/>
  </p:normalViewPr>
  <p:slideViewPr>
    <p:cSldViewPr showGuides="1">
      <p:cViewPr varScale="1">
        <p:scale>
          <a:sx n="162" d="100"/>
          <a:sy n="162" d="100"/>
        </p:scale>
        <p:origin x="76" y="96"/>
      </p:cViewPr>
      <p:guideLst>
        <p:guide pos="3840"/>
        <p:guide pos="3613"/>
        <p:guide pos="3545"/>
        <p:guide pos="4054"/>
        <p:guide pos="431"/>
        <p:guide pos="5972"/>
        <p:guide pos="6603"/>
        <p:guide pos="7265"/>
        <p:guide pos="5564"/>
        <p:guide orient="horz" pos="323"/>
        <p:guide orient="horz" pos="845"/>
        <p:guide orient="horz" pos="1389"/>
        <p:guide orient="horz" pos="3702"/>
        <p:guide orient="horz" pos="232"/>
      </p:guideLst>
    </p:cSldViewPr>
  </p:slid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74" d="100"/>
          <a:sy n="74" d="100"/>
        </p:scale>
        <p:origin x="2394" y="66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'Ark1'!$C$1</c:f>
              <c:strCache>
                <c:ptCount val="1"/>
                <c:pt idx="0">
                  <c:v>Driftsresultat</c:v>
                </c:pt>
              </c:strCache>
            </c:strRef>
          </c:tx>
          <c:spPr>
            <a:solidFill>
              <a:srgbClr val="BFE7E3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rgbClr val="BFE7E3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0-F7AC-4CCF-AADC-AF7C1A3F893F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5CDA-4FE9-92EE-B67B85381264}"/>
              </c:ext>
            </c:extLst>
          </c:dPt>
          <c:dLbls>
            <c:delete val="1"/>
          </c:dLbls>
          <c:cat>
            <c:strRef>
              <c:f>'Ark1'!$A$2:$A$7</c:f>
              <c:strCache>
                <c:ptCount val="6"/>
                <c:pt idx="0">
                  <c:v>Q1-21</c:v>
                </c:pt>
                <c:pt idx="1">
                  <c:v>Q2-21</c:v>
                </c:pt>
                <c:pt idx="2">
                  <c:v>Q3-21</c:v>
                </c:pt>
                <c:pt idx="3">
                  <c:v>Q4-21</c:v>
                </c:pt>
                <c:pt idx="4">
                  <c:v>Q1-22</c:v>
                </c:pt>
                <c:pt idx="5">
                  <c:v>Q2-22</c:v>
                </c:pt>
              </c:strCache>
            </c:strRef>
          </c:cat>
          <c:val>
            <c:numRef>
              <c:f>'Ark1'!$C$2:$C$7</c:f>
              <c:numCache>
                <c:formatCode>General</c:formatCode>
                <c:ptCount val="6"/>
                <c:pt idx="0">
                  <c:v>14.4</c:v>
                </c:pt>
                <c:pt idx="1">
                  <c:v>19</c:v>
                </c:pt>
                <c:pt idx="2">
                  <c:v>61.7</c:v>
                </c:pt>
                <c:pt idx="3">
                  <c:v>83.7</c:v>
                </c:pt>
                <c:pt idx="4">
                  <c:v>30.9</c:v>
                </c:pt>
                <c:pt idx="5">
                  <c:v>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246-4B5A-8571-643DBCA5898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695268303"/>
        <c:axId val="529865231"/>
      </c:barChart>
      <c:lineChart>
        <c:grouping val="standar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Overskudsgrad</c:v>
                </c:pt>
              </c:strCache>
            </c:strRef>
          </c:tx>
          <c:spPr>
            <a:ln w="28575" cap="rnd">
              <a:solidFill>
                <a:srgbClr val="CBCACA"/>
              </a:solidFill>
              <a:round/>
            </a:ln>
            <a:effectLst/>
          </c:spPr>
          <c:marker>
            <c:symbol val="none"/>
          </c:marker>
          <c:dLbls>
            <c:delete val="1"/>
          </c:dLbls>
          <c:cat>
            <c:strRef>
              <c:f>'Ark1'!$A$2:$A$7</c:f>
              <c:strCache>
                <c:ptCount val="6"/>
                <c:pt idx="0">
                  <c:v>Q1-21</c:v>
                </c:pt>
                <c:pt idx="1">
                  <c:v>Q2-21</c:v>
                </c:pt>
                <c:pt idx="2">
                  <c:v>Q3-21</c:v>
                </c:pt>
                <c:pt idx="3">
                  <c:v>Q4-21</c:v>
                </c:pt>
                <c:pt idx="4">
                  <c:v>Q1-22</c:v>
                </c:pt>
                <c:pt idx="5">
                  <c:v>Q2-22</c:v>
                </c:pt>
              </c:strCache>
            </c:strRef>
          </c:cat>
          <c:val>
            <c:numRef>
              <c:f>'Ark1'!$B$2:$B$7</c:f>
              <c:numCache>
                <c:formatCode>General</c:formatCode>
                <c:ptCount val="6"/>
                <c:pt idx="0">
                  <c:v>1</c:v>
                </c:pt>
                <c:pt idx="1">
                  <c:v>1.1000000000000001</c:v>
                </c:pt>
                <c:pt idx="2">
                  <c:v>3.5</c:v>
                </c:pt>
                <c:pt idx="3">
                  <c:v>3.8</c:v>
                </c:pt>
                <c:pt idx="4">
                  <c:v>1.6</c:v>
                </c:pt>
                <c:pt idx="5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246-4B5A-8571-643DBCA5898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435265776"/>
        <c:axId val="18571072"/>
      </c:lineChart>
      <c:catAx>
        <c:axId val="6952683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529865231"/>
        <c:crosses val="autoZero"/>
        <c:auto val="1"/>
        <c:lblAlgn val="ctr"/>
        <c:lblOffset val="100"/>
        <c:noMultiLvlLbl val="0"/>
      </c:catAx>
      <c:valAx>
        <c:axId val="529865231"/>
        <c:scaling>
          <c:orientation val="minMax"/>
          <c:max val="1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695268303"/>
        <c:crosses val="autoZero"/>
        <c:crossBetween val="between"/>
        <c:majorUnit val="25"/>
      </c:valAx>
      <c:valAx>
        <c:axId val="18571072"/>
        <c:scaling>
          <c:orientation val="minMax"/>
          <c:max val="4"/>
          <c:min val="0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1435265776"/>
        <c:crosses val="max"/>
        <c:crossBetween val="between"/>
        <c:majorUnit val="1"/>
      </c:valAx>
      <c:catAx>
        <c:axId val="14352657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857107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a-DK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a-DK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'Ark1'!$B$1</c:f>
              <c:strCache>
                <c:ptCount val="1"/>
                <c:pt idx="0">
                  <c:v>Andel af omsætning</c:v>
                </c:pt>
              </c:strCache>
            </c:strRef>
          </c:tx>
          <c:explosion val="10"/>
          <c:dPt>
            <c:idx val="0"/>
            <c:bubble3D val="0"/>
            <c:spPr>
              <a:solidFill>
                <a:srgbClr val="96969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D3D-4FA7-BF14-B5A901277354}"/>
              </c:ext>
            </c:extLst>
          </c:dPt>
          <c:dPt>
            <c:idx val="1"/>
            <c:bubble3D val="0"/>
            <c:spPr>
              <a:solidFill>
                <a:srgbClr val="009E8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D3D-4FA7-BF14-B5A90127735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174-4E70-B1FA-6066B7E96F85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D3D-4FA7-BF14-B5A901277354}"/>
                </c:ext>
              </c:extLst>
            </c:dLbl>
            <c:dLbl>
              <c:idx val="1"/>
              <c:layout>
                <c:manualLayout>
                  <c:x val="7.1909800436353311E-2"/>
                  <c:y val="1.4263918257622762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9</a:t>
                    </a:r>
                    <a:r>
                      <a:rPr lang="en-US"/>
                      <a:t>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6031197807349874"/>
                      <c:h val="0.2608411997809208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3-FD3D-4FA7-BF14-B5A90127735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numRef>
              <c:f>'Ark1'!$A$2:$A$4</c:f>
              <c:numCache>
                <c:formatCode>General</c:formatCode>
                <c:ptCount val="3"/>
                <c:pt idx="0">
                  <c:v>1</c:v>
                </c:pt>
                <c:pt idx="1">
                  <c:v>2</c:v>
                </c:pt>
              </c:numCache>
            </c:numRef>
          </c:cat>
          <c:val>
            <c:numRef>
              <c:f>'Ark1'!$B$2:$B$4</c:f>
              <c:numCache>
                <c:formatCode>General</c:formatCode>
                <c:ptCount val="3"/>
                <c:pt idx="0">
                  <c:v>91</c:v>
                </c:pt>
                <c:pt idx="1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D3D-4FA7-BF14-B5A9012773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a-DK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'Ark1'!$B$1</c:f>
              <c:strCache>
                <c:ptCount val="1"/>
                <c:pt idx="0">
                  <c:v>Andel af omsætning</c:v>
                </c:pt>
              </c:strCache>
            </c:strRef>
          </c:tx>
          <c:explosion val="10"/>
          <c:dPt>
            <c:idx val="0"/>
            <c:bubble3D val="0"/>
            <c:spPr>
              <a:solidFill>
                <a:srgbClr val="96969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3E6-4162-B675-CE59A32CB284}"/>
              </c:ext>
            </c:extLst>
          </c:dPt>
          <c:dPt>
            <c:idx val="1"/>
            <c:bubble3D val="0"/>
            <c:spPr>
              <a:solidFill>
                <a:srgbClr val="009E8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3E6-4162-B675-CE59A32CB284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3E6-4162-B675-CE59A32CB284}"/>
                </c:ext>
              </c:extLst>
            </c:dLbl>
            <c:dLbl>
              <c:idx val="1"/>
              <c:layout>
                <c:manualLayout>
                  <c:x val="7.1909800436353311E-2"/>
                  <c:y val="1.4263918257622762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4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6031197807349874"/>
                      <c:h val="0.2608411997809208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3-C3E6-4162-B675-CE59A32CB28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numRef>
              <c:f>'Ark1'!$A$2:$A$3</c:f>
              <c:numCache>
                <c:formatCode>General</c:formatCode>
                <c:ptCount val="2"/>
                <c:pt idx="0">
                  <c:v>1</c:v>
                </c:pt>
                <c:pt idx="1">
                  <c:v>2</c:v>
                </c:pt>
              </c:numCache>
            </c:numRef>
          </c:cat>
          <c:val>
            <c:numRef>
              <c:f>'Ark1'!$B$2:$B$3</c:f>
              <c:numCache>
                <c:formatCode>General</c:formatCode>
                <c:ptCount val="2"/>
                <c:pt idx="0">
                  <c:v>96</c:v>
                </c:pt>
                <c:pt idx="1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3E6-4162-B675-CE59A32CB2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a-DK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a-DK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'Ark1'!$B$1</c:f>
              <c:strCache>
                <c:ptCount val="1"/>
                <c:pt idx="0">
                  <c:v>Ordreindgang H1 2022</c:v>
                </c:pt>
              </c:strCache>
            </c:strRef>
          </c:tx>
          <c:explosion val="1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0CF-4242-A062-C495784F7C0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0CF-4242-A062-C495784F7C09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0CF-4242-A062-C495784F7C09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0DC0DBFF-C021-47C0-8935-A81F7F10497E}" type="VALUE">
                      <a:rPr lang="en-US" b="1" smtClean="0">
                        <a:solidFill>
                          <a:schemeClr val="bg1"/>
                        </a:solidFill>
                      </a:rPr>
                      <a:pPr/>
                      <a:t>[VÆRDI]</a:t>
                    </a:fld>
                    <a:r>
                      <a:rPr lang="en-US" b="1">
                        <a:solidFill>
                          <a:schemeClr val="bg1"/>
                        </a:solidFill>
                      </a:rPr>
                      <a:t>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D0CF-4242-A062-C495784F7C09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0CF-4242-A062-C495784F7C0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Ark1'!$A$2:$A$4</c:f>
              <c:strCache>
                <c:ptCount val="2"/>
                <c:pt idx="0">
                  <c:v>Partnerskaber mm.</c:v>
                </c:pt>
                <c:pt idx="1">
                  <c:v>Andet</c:v>
                </c:pt>
              </c:strCache>
            </c:strRef>
          </c:cat>
          <c:val>
            <c:numRef>
              <c:f>'Ark1'!$B$2:$B$4</c:f>
              <c:numCache>
                <c:formatCode>General</c:formatCode>
                <c:ptCount val="3"/>
                <c:pt idx="0">
                  <c:v>45</c:v>
                </c:pt>
                <c:pt idx="1">
                  <c:v>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0CF-4242-A062-C495784F7C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3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a-DK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 err="1"/>
              <a:t>Omsætning</a:t>
            </a:r>
            <a:r>
              <a:rPr lang="en-US" sz="1400" b="1" dirty="0"/>
              <a:t> H1 2022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a-DK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'Ark1'!$B$1</c:f>
              <c:strCache>
                <c:ptCount val="1"/>
                <c:pt idx="0">
                  <c:v>Omsætning H1 2022</c:v>
                </c:pt>
              </c:strCache>
            </c:strRef>
          </c:tx>
          <c:explosion val="1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91E-45D6-AD3C-E802F65A2D7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91E-45D6-AD3C-E802F65A2D7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91E-45D6-AD3C-E802F65A2D70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AECF310F-2684-4348-AEE9-B7877765E178}" type="VALUE">
                      <a:rPr lang="en-US" b="1" smtClean="0">
                        <a:solidFill>
                          <a:schemeClr val="bg1"/>
                        </a:solidFill>
                      </a:rPr>
                      <a:pPr/>
                      <a:t>[VÆRDI]</a:t>
                    </a:fld>
                    <a:r>
                      <a:rPr lang="en-US" b="1">
                        <a:solidFill>
                          <a:schemeClr val="bg1"/>
                        </a:solidFill>
                      </a:rPr>
                      <a:t>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591E-45D6-AD3C-E802F65A2D70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91E-45D6-AD3C-E802F65A2D7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Ark1'!$A$2:$A$4</c:f>
              <c:strCache>
                <c:ptCount val="2"/>
                <c:pt idx="0">
                  <c:v>Partnerskaber mm.</c:v>
                </c:pt>
                <c:pt idx="1">
                  <c:v>Andet</c:v>
                </c:pt>
              </c:strCache>
            </c:strRef>
          </c:cat>
          <c:val>
            <c:numRef>
              <c:f>'Ark1'!$B$2:$B$4</c:f>
              <c:numCache>
                <c:formatCode>General</c:formatCode>
                <c:ptCount val="3"/>
                <c:pt idx="0">
                  <c:v>22</c:v>
                </c:pt>
                <c:pt idx="1">
                  <c:v>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91E-45D6-AD3C-E802F65A2D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3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a-DK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6647698356651097E-2"/>
          <c:y val="6.448167488034888E-2"/>
          <c:w val="0.8841462374396506"/>
          <c:h val="0.7875834234553591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H1-21</c:v>
                </c:pt>
              </c:strCache>
            </c:strRef>
          </c:tx>
          <c:spPr>
            <a:solidFill>
              <a:srgbClr val="BFE7E3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'Ark1'!$A$2:$A$6</c:f>
              <c:strCache>
                <c:ptCount val="5"/>
                <c:pt idx="0">
                  <c:v>MTH PU</c:v>
                </c:pt>
                <c:pt idx="1">
                  <c:v>MTH Int</c:v>
                </c:pt>
                <c:pt idx="2">
                  <c:v>Scandi Byg</c:v>
                </c:pt>
                <c:pt idx="3">
                  <c:v>E&amp;P</c:v>
                </c:pt>
                <c:pt idx="4">
                  <c:v>MTH DK</c:v>
                </c:pt>
              </c:strCache>
            </c:strRef>
          </c:cat>
          <c:val>
            <c:numRef>
              <c:f>'Ark1'!$B$2:$B$6</c:f>
              <c:numCache>
                <c:formatCode>General</c:formatCode>
                <c:ptCount val="5"/>
                <c:pt idx="0">
                  <c:v>133</c:v>
                </c:pt>
                <c:pt idx="1">
                  <c:v>540</c:v>
                </c:pt>
                <c:pt idx="2">
                  <c:v>133</c:v>
                </c:pt>
                <c:pt idx="3" formatCode="#,##0">
                  <c:v>1444</c:v>
                </c:pt>
                <c:pt idx="4" formatCode="#,##0">
                  <c:v>26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C5B-4A88-B10A-C09450CC24A2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H1-22</c:v>
                </c:pt>
              </c:strCache>
            </c:strRef>
          </c:tx>
          <c:spPr>
            <a:solidFill>
              <a:srgbClr val="009E8E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a-DK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MTH PU</c:v>
                </c:pt>
                <c:pt idx="1">
                  <c:v>MTH Int</c:v>
                </c:pt>
                <c:pt idx="2">
                  <c:v>Scandi Byg</c:v>
                </c:pt>
                <c:pt idx="3">
                  <c:v>E&amp;P</c:v>
                </c:pt>
                <c:pt idx="4">
                  <c:v>MTH DK</c:v>
                </c:pt>
              </c:strCache>
            </c:strRef>
          </c:cat>
          <c:val>
            <c:numRef>
              <c:f>'Ark1'!$C$2:$C$6</c:f>
              <c:numCache>
                <c:formatCode>General</c:formatCode>
                <c:ptCount val="5"/>
                <c:pt idx="0">
                  <c:v>322</c:v>
                </c:pt>
                <c:pt idx="1">
                  <c:v>219</c:v>
                </c:pt>
                <c:pt idx="2">
                  <c:v>607</c:v>
                </c:pt>
                <c:pt idx="3" formatCode="#,##0">
                  <c:v>2661</c:v>
                </c:pt>
                <c:pt idx="4" formatCode="#,##0">
                  <c:v>17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C5B-4A88-B10A-C09450CC24A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1646941104"/>
        <c:axId val="1646963984"/>
      </c:barChart>
      <c:catAx>
        <c:axId val="164694110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646963984"/>
        <c:crosses val="autoZero"/>
        <c:auto val="1"/>
        <c:lblAlgn val="ctr"/>
        <c:lblOffset val="100"/>
        <c:noMultiLvlLbl val="0"/>
      </c:catAx>
      <c:valAx>
        <c:axId val="164696398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6469411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5879912945781209"/>
          <c:y val="0.7117844530389239"/>
          <c:w val="0.33001396474450367"/>
          <c:h val="0.1064944632073655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a-DK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a-DK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Ordreindgang</c:v>
                </c:pt>
              </c:strCache>
            </c:strRef>
          </c:tx>
          <c:spPr>
            <a:solidFill>
              <a:srgbClr val="BFE7E3"/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rgbClr val="BFE7E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A7F-4C20-84E7-7A57225B2161}"/>
              </c:ext>
            </c:extLst>
          </c:dPt>
          <c:dPt>
            <c:idx val="5"/>
            <c:invertIfNegative val="0"/>
            <c:bubble3D val="0"/>
            <c:spPr>
              <a:solidFill>
                <a:srgbClr val="009E8E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15F-4278-BC66-D141DB9DB8C0}"/>
              </c:ext>
            </c:extLst>
          </c:dPt>
          <c:dLbls>
            <c:delete val="1"/>
          </c:dLbls>
          <c:cat>
            <c:strRef>
              <c:f>'Ark1'!$A$2:$A$7</c:f>
              <c:strCache>
                <c:ptCount val="6"/>
                <c:pt idx="0">
                  <c:v>Q1-21</c:v>
                </c:pt>
                <c:pt idx="1">
                  <c:v>Q2-21</c:v>
                </c:pt>
                <c:pt idx="2">
                  <c:v>Q3-21</c:v>
                </c:pt>
                <c:pt idx="3">
                  <c:v>Q4-21</c:v>
                </c:pt>
                <c:pt idx="4">
                  <c:v>Q1-22</c:v>
                </c:pt>
                <c:pt idx="5">
                  <c:v>Q2-22</c:v>
                </c:pt>
              </c:strCache>
            </c:strRef>
          </c:cat>
          <c:val>
            <c:numRef>
              <c:f>'Ark1'!$B$2:$B$7</c:f>
              <c:numCache>
                <c:formatCode>General</c:formatCode>
                <c:ptCount val="6"/>
                <c:pt idx="0">
                  <c:v>1791</c:v>
                </c:pt>
                <c:pt idx="1">
                  <c:v>2965</c:v>
                </c:pt>
                <c:pt idx="2" formatCode="#,##0">
                  <c:v>2902</c:v>
                </c:pt>
                <c:pt idx="3" formatCode="#,##0">
                  <c:v>2292</c:v>
                </c:pt>
                <c:pt idx="4" formatCode="#,##0">
                  <c:v>1923</c:v>
                </c:pt>
                <c:pt idx="5" formatCode="#,##0">
                  <c:v>34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A7F-4C20-84E7-7A57225B216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695268303"/>
        <c:axId val="529865231"/>
      </c:barChart>
      <c:catAx>
        <c:axId val="6952683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529865231"/>
        <c:crossesAt val="0"/>
        <c:auto val="1"/>
        <c:lblAlgn val="ctr"/>
        <c:lblOffset val="100"/>
        <c:noMultiLvlLbl val="0"/>
      </c:catAx>
      <c:valAx>
        <c:axId val="529865231"/>
        <c:scaling>
          <c:orientation val="minMax"/>
          <c:max val="35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695268303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a-DK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6647698356651097E-2"/>
          <c:y val="6.448167488034888E-2"/>
          <c:w val="0.92670460328669779"/>
          <c:h val="0.7875834234553591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H1-21</c:v>
                </c:pt>
              </c:strCache>
            </c:strRef>
          </c:tx>
          <c:spPr>
            <a:solidFill>
              <a:srgbClr val="BFE7E3"/>
            </a:solidFill>
            <a:ln>
              <a:noFill/>
            </a:ln>
            <a:effectLst/>
          </c:spPr>
          <c:invertIfNegative val="0"/>
          <c:cat>
            <c:strRef>
              <c:f>'Ark1'!$A$2:$A$6</c:f>
              <c:strCache>
                <c:ptCount val="5"/>
                <c:pt idx="0">
                  <c:v>MTH PU</c:v>
                </c:pt>
                <c:pt idx="1">
                  <c:v>MTH Int</c:v>
                </c:pt>
                <c:pt idx="2">
                  <c:v>Scandi Byg</c:v>
                </c:pt>
                <c:pt idx="3">
                  <c:v>E&amp;P</c:v>
                </c:pt>
                <c:pt idx="4">
                  <c:v>MTH DK</c:v>
                </c:pt>
              </c:strCache>
            </c:strRef>
          </c:cat>
          <c:val>
            <c:numRef>
              <c:f>'Ark1'!$B$2:$B$6</c:f>
              <c:numCache>
                <c:formatCode>General</c:formatCode>
                <c:ptCount val="5"/>
                <c:pt idx="0">
                  <c:v>0</c:v>
                </c:pt>
                <c:pt idx="1">
                  <c:v>1215</c:v>
                </c:pt>
                <c:pt idx="2">
                  <c:v>216</c:v>
                </c:pt>
                <c:pt idx="3">
                  <c:v>3812</c:v>
                </c:pt>
                <c:pt idx="4">
                  <c:v>44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F4-4C68-8570-6B2E911E602B}"/>
            </c:ext>
          </c:extLst>
        </c:ser>
        <c:ser>
          <c:idx val="1"/>
          <c:order val="1"/>
          <c:tx>
            <c:strRef>
              <c:f>'Ark1'!$C$1</c:f>
              <c:strCache>
                <c:ptCount val="1"/>
                <c:pt idx="0">
                  <c:v>H1-22</c:v>
                </c:pt>
              </c:strCache>
            </c:strRef>
          </c:tx>
          <c:spPr>
            <a:solidFill>
              <a:srgbClr val="009E8E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rk1'!$A$2:$A$6</c:f>
              <c:strCache>
                <c:ptCount val="5"/>
                <c:pt idx="0">
                  <c:v>MTH PU</c:v>
                </c:pt>
                <c:pt idx="1">
                  <c:v>MTH Int</c:v>
                </c:pt>
                <c:pt idx="2">
                  <c:v>Scandi Byg</c:v>
                </c:pt>
                <c:pt idx="3">
                  <c:v>E&amp;P</c:v>
                </c:pt>
                <c:pt idx="4">
                  <c:v>MTH DK</c:v>
                </c:pt>
              </c:strCache>
            </c:strRef>
          </c:cat>
          <c:val>
            <c:numRef>
              <c:f>'Ark1'!$C$2:$C$6</c:f>
              <c:numCache>
                <c:formatCode>General</c:formatCode>
                <c:ptCount val="5"/>
                <c:pt idx="0">
                  <c:v>634</c:v>
                </c:pt>
                <c:pt idx="1">
                  <c:v>819</c:v>
                </c:pt>
                <c:pt idx="2">
                  <c:v>591</c:v>
                </c:pt>
                <c:pt idx="3">
                  <c:v>6075</c:v>
                </c:pt>
                <c:pt idx="4">
                  <c:v>43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9F4-4C68-8570-6B2E911E60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646941104"/>
        <c:axId val="1646963984"/>
      </c:barChart>
      <c:catAx>
        <c:axId val="164694110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646963984"/>
        <c:crosses val="autoZero"/>
        <c:auto val="1"/>
        <c:lblAlgn val="ctr"/>
        <c:lblOffset val="100"/>
        <c:noMultiLvlLbl val="0"/>
      </c:catAx>
      <c:valAx>
        <c:axId val="164696398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6469411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636944060596756"/>
          <c:y val="0.69866449333158676"/>
          <c:w val="0.35891282148767178"/>
          <c:h val="0.1012748168943085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a-DK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a-DK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Ordrebeholdning</c:v>
                </c:pt>
              </c:strCache>
            </c:strRef>
          </c:tx>
          <c:spPr>
            <a:solidFill>
              <a:srgbClr val="BFE7E3"/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rgbClr val="BFE7E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225-47F4-A0FF-F3882E46AF9D}"/>
              </c:ext>
            </c:extLst>
          </c:dPt>
          <c:dPt>
            <c:idx val="5"/>
            <c:invertIfNegative val="0"/>
            <c:bubble3D val="0"/>
            <c:spPr>
              <a:solidFill>
                <a:srgbClr val="009E8E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225-47F4-A0FF-F3882E46AF9D}"/>
              </c:ext>
            </c:extLst>
          </c:dPt>
          <c:dLbls>
            <c:delete val="1"/>
          </c:dLbls>
          <c:cat>
            <c:strRef>
              <c:f>'Ark1'!$A$2:$A$7</c:f>
              <c:strCache>
                <c:ptCount val="6"/>
                <c:pt idx="0">
                  <c:v>Q1-21</c:v>
                </c:pt>
                <c:pt idx="1">
                  <c:v>Q2-21</c:v>
                </c:pt>
                <c:pt idx="2">
                  <c:v>Q3-21</c:v>
                </c:pt>
                <c:pt idx="3">
                  <c:v>Q4-21</c:v>
                </c:pt>
                <c:pt idx="4">
                  <c:v>Q1-22</c:v>
                </c:pt>
                <c:pt idx="5">
                  <c:v>Q2-22</c:v>
                </c:pt>
              </c:strCache>
            </c:strRef>
          </c:cat>
          <c:val>
            <c:numRef>
              <c:f>'Ark1'!$B$2:$B$7</c:f>
              <c:numCache>
                <c:formatCode>General</c:formatCode>
                <c:ptCount val="6"/>
                <c:pt idx="0">
                  <c:v>8302</c:v>
                </c:pt>
                <c:pt idx="1">
                  <c:v>9558</c:v>
                </c:pt>
                <c:pt idx="2">
                  <c:v>10679</c:v>
                </c:pt>
                <c:pt idx="3">
                  <c:v>10762</c:v>
                </c:pt>
                <c:pt idx="4">
                  <c:v>10797</c:v>
                </c:pt>
                <c:pt idx="5">
                  <c:v>11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225-47F4-A0FF-F3882E46AF9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695268303"/>
        <c:axId val="529865231"/>
      </c:barChart>
      <c:catAx>
        <c:axId val="6952683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529865231"/>
        <c:crossesAt val="0"/>
        <c:auto val="1"/>
        <c:lblAlgn val="ctr"/>
        <c:lblOffset val="100"/>
        <c:noMultiLvlLbl val="0"/>
      </c:catAx>
      <c:valAx>
        <c:axId val="529865231"/>
        <c:scaling>
          <c:orientation val="minMax"/>
          <c:max val="12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695268303"/>
        <c:crosses val="autoZero"/>
        <c:crossBetween val="between"/>
        <c:majorUnit val="30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a-DK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'Ark1'!$B$1</c:f>
              <c:strCache>
                <c:ptCount val="1"/>
                <c:pt idx="0">
                  <c:v>Andel af omsætning</c:v>
                </c:pt>
              </c:strCache>
            </c:strRef>
          </c:tx>
          <c:explosion val="10"/>
          <c:dPt>
            <c:idx val="0"/>
            <c:bubble3D val="0"/>
            <c:spPr>
              <a:solidFill>
                <a:srgbClr val="96969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3E2-4EBA-86AC-DF0C77494733}"/>
              </c:ext>
            </c:extLst>
          </c:dPt>
          <c:dPt>
            <c:idx val="1"/>
            <c:bubble3D val="0"/>
            <c:spPr>
              <a:solidFill>
                <a:srgbClr val="009E8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3E2-4EBA-86AC-DF0C77494733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3E2-4EBA-86AC-DF0C77494733}"/>
                </c:ext>
              </c:extLst>
            </c:dLbl>
            <c:dLbl>
              <c:idx val="1"/>
              <c:layout>
                <c:manualLayout>
                  <c:x val="1.4558059720141361E-2"/>
                  <c:y val="8.6251167885563279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43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6031197807349874"/>
                      <c:h val="0.2608411997809208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3-43E2-4EBA-86AC-DF0C7749473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numRef>
              <c:f>'Ark1'!$A$2:$A$3</c:f>
              <c:numCache>
                <c:formatCode>General</c:formatCode>
                <c:ptCount val="2"/>
                <c:pt idx="0">
                  <c:v>1</c:v>
                </c:pt>
                <c:pt idx="1">
                  <c:v>2</c:v>
                </c:pt>
              </c:numCache>
            </c:numRef>
          </c:cat>
          <c:val>
            <c:numRef>
              <c:f>'Ark1'!$B$2:$B$3</c:f>
              <c:numCache>
                <c:formatCode>General</c:formatCode>
                <c:ptCount val="2"/>
                <c:pt idx="0">
                  <c:v>57</c:v>
                </c:pt>
                <c:pt idx="1">
                  <c:v>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3E2-4EBA-86AC-DF0C774947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a-DK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'Ark1'!$C$1</c:f>
              <c:strCache>
                <c:ptCount val="1"/>
                <c:pt idx="0">
                  <c:v>Omsætning</c:v>
                </c:pt>
              </c:strCache>
            </c:strRef>
          </c:tx>
          <c:spPr>
            <a:solidFill>
              <a:srgbClr val="BFE7E3"/>
            </a:solidFill>
            <a:ln>
              <a:solidFill>
                <a:schemeClr val="accent1"/>
              </a:solidFill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rgbClr val="BFE7E3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137-41DD-8DD8-DC5A145EECD3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137-41DD-8DD8-DC5A145EECD3}"/>
              </c:ext>
            </c:extLst>
          </c:dPt>
          <c:dLbls>
            <c:delete val="1"/>
          </c:dLbls>
          <c:cat>
            <c:strRef>
              <c:f>'Ark1'!$A$2:$A$7</c:f>
              <c:strCache>
                <c:ptCount val="6"/>
                <c:pt idx="0">
                  <c:v>Q1-21</c:v>
                </c:pt>
                <c:pt idx="1">
                  <c:v>Q2-21</c:v>
                </c:pt>
                <c:pt idx="2">
                  <c:v>Q3-21</c:v>
                </c:pt>
                <c:pt idx="3">
                  <c:v>Q4-21</c:v>
                </c:pt>
                <c:pt idx="4">
                  <c:v>Q1-22</c:v>
                </c:pt>
                <c:pt idx="5">
                  <c:v>Q2-22</c:v>
                </c:pt>
              </c:strCache>
            </c:strRef>
          </c:cat>
          <c:val>
            <c:numRef>
              <c:f>'Ark1'!$C$2:$C$7</c:f>
              <c:numCache>
                <c:formatCode>General</c:formatCode>
                <c:ptCount val="6"/>
                <c:pt idx="0">
                  <c:v>683</c:v>
                </c:pt>
                <c:pt idx="1">
                  <c:v>714</c:v>
                </c:pt>
                <c:pt idx="2">
                  <c:v>736</c:v>
                </c:pt>
                <c:pt idx="3">
                  <c:v>958</c:v>
                </c:pt>
                <c:pt idx="4">
                  <c:v>854</c:v>
                </c:pt>
                <c:pt idx="5">
                  <c:v>9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137-41DD-8DD8-DC5A145EECD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695268303"/>
        <c:axId val="529865231"/>
      </c:barChart>
      <c:lineChart>
        <c:grouping val="standar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Overskudsgrad</c:v>
                </c:pt>
              </c:strCache>
            </c:strRef>
          </c:tx>
          <c:spPr>
            <a:ln w="28575" cap="rnd">
              <a:solidFill>
                <a:srgbClr val="CBCACA"/>
              </a:solidFill>
              <a:round/>
            </a:ln>
            <a:effectLst/>
          </c:spPr>
          <c:marker>
            <c:symbol val="none"/>
          </c:marker>
          <c:dLbls>
            <c:delete val="1"/>
          </c:dLbls>
          <c:cat>
            <c:strRef>
              <c:f>'Ark1'!$A$2:$A$7</c:f>
              <c:strCache>
                <c:ptCount val="6"/>
                <c:pt idx="0">
                  <c:v>Q1-21</c:v>
                </c:pt>
                <c:pt idx="1">
                  <c:v>Q2-21</c:v>
                </c:pt>
                <c:pt idx="2">
                  <c:v>Q3-21</c:v>
                </c:pt>
                <c:pt idx="3">
                  <c:v>Q4-21</c:v>
                </c:pt>
                <c:pt idx="4">
                  <c:v>Q1-22</c:v>
                </c:pt>
                <c:pt idx="5">
                  <c:v>Q2-22</c:v>
                </c:pt>
              </c:strCache>
            </c:strRef>
          </c:cat>
          <c:val>
            <c:numRef>
              <c:f>'Ark1'!$B$2:$B$7</c:f>
              <c:numCache>
                <c:formatCode>General</c:formatCode>
                <c:ptCount val="6"/>
                <c:pt idx="0">
                  <c:v>0.3</c:v>
                </c:pt>
                <c:pt idx="1">
                  <c:v>1.2</c:v>
                </c:pt>
                <c:pt idx="2">
                  <c:v>0</c:v>
                </c:pt>
                <c:pt idx="3">
                  <c:v>0.5</c:v>
                </c:pt>
                <c:pt idx="4">
                  <c:v>1.3</c:v>
                </c:pt>
                <c:pt idx="5">
                  <c:v>3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137-41DD-8DD8-DC5A145EECD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435265776"/>
        <c:axId val="18571072"/>
      </c:lineChart>
      <c:catAx>
        <c:axId val="6952683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529865231"/>
        <c:crosses val="autoZero"/>
        <c:auto val="1"/>
        <c:lblAlgn val="ctr"/>
        <c:lblOffset val="100"/>
        <c:noMultiLvlLbl val="0"/>
      </c:catAx>
      <c:valAx>
        <c:axId val="529865231"/>
        <c:scaling>
          <c:orientation val="minMax"/>
          <c:max val="10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695268303"/>
        <c:crosses val="autoZero"/>
        <c:crossBetween val="between"/>
        <c:majorUnit val="250"/>
      </c:valAx>
      <c:valAx>
        <c:axId val="18571072"/>
        <c:scaling>
          <c:orientation val="minMax"/>
          <c:max val="4"/>
          <c:min val="0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1435265776"/>
        <c:crosses val="max"/>
        <c:crossBetween val="between"/>
        <c:majorUnit val="1"/>
      </c:valAx>
      <c:catAx>
        <c:axId val="14352657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857107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a-DK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a-DK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'Ark1'!$B$1</c:f>
              <c:strCache>
                <c:ptCount val="1"/>
                <c:pt idx="0">
                  <c:v>Andel af omsætning</c:v>
                </c:pt>
              </c:strCache>
            </c:strRef>
          </c:tx>
          <c:explosion val="10"/>
          <c:dPt>
            <c:idx val="0"/>
            <c:bubble3D val="0"/>
            <c:spPr>
              <a:solidFill>
                <a:srgbClr val="96969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D6C-44E2-89B0-E1D37301A273}"/>
              </c:ext>
            </c:extLst>
          </c:dPt>
          <c:dPt>
            <c:idx val="1"/>
            <c:bubble3D val="0"/>
            <c:spPr>
              <a:solidFill>
                <a:srgbClr val="009E8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D6C-44E2-89B0-E1D37301A273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D6C-44E2-89B0-E1D37301A273}"/>
                </c:ext>
              </c:extLst>
            </c:dLbl>
            <c:dLbl>
              <c:idx val="1"/>
              <c:layout>
                <c:manualLayout>
                  <c:x val="2.0260969878511198E-2"/>
                  <c:y val="-3.044638219938225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9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40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6031196841562002"/>
                      <c:h val="0.24336847492464253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3-1D6C-44E2-89B0-E1D37301A27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numRef>
              <c:f>'Ark1'!$A$2:$A$3</c:f>
              <c:numCache>
                <c:formatCode>General</c:formatCode>
                <c:ptCount val="2"/>
                <c:pt idx="0">
                  <c:v>1</c:v>
                </c:pt>
                <c:pt idx="1">
                  <c:v>2</c:v>
                </c:pt>
              </c:numCache>
            </c:numRef>
          </c:cat>
          <c:val>
            <c:numRef>
              <c:f>'Ark1'!$B$2:$B$3</c:f>
              <c:numCache>
                <c:formatCode>General</c:formatCode>
                <c:ptCount val="2"/>
                <c:pt idx="0">
                  <c:v>60</c:v>
                </c:pt>
                <c:pt idx="1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D6C-44E2-89B0-E1D37301A2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a-DK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'Ark1'!$B$1</c:f>
              <c:strCache>
                <c:ptCount val="1"/>
                <c:pt idx="0">
                  <c:v>Andel af omsætning</c:v>
                </c:pt>
              </c:strCache>
            </c:strRef>
          </c:tx>
          <c:explosion val="10"/>
          <c:dPt>
            <c:idx val="0"/>
            <c:bubble3D val="0"/>
            <c:spPr>
              <a:solidFill>
                <a:srgbClr val="96969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06E-45D4-94BD-4B79478FAFBF}"/>
              </c:ext>
            </c:extLst>
          </c:dPt>
          <c:dPt>
            <c:idx val="1"/>
            <c:bubble3D val="0"/>
            <c:spPr>
              <a:solidFill>
                <a:srgbClr val="009E8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06E-45D4-94BD-4B79478FAFBF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06E-45D4-94BD-4B79478FAFBF}"/>
                </c:ext>
              </c:extLst>
            </c:dLbl>
            <c:dLbl>
              <c:idx val="1"/>
              <c:layout>
                <c:manualLayout>
                  <c:x val="4.4640511550693936E-2"/>
                  <c:y val="2.3221515843982896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5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6031197807349874"/>
                      <c:h val="0.2608411997809208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3-106E-45D4-94BD-4B79478FAFB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numRef>
              <c:f>'Ark1'!$A$2:$A$3</c:f>
              <c:numCache>
                <c:formatCode>General</c:formatCode>
                <c:ptCount val="2"/>
                <c:pt idx="0">
                  <c:v>1</c:v>
                </c:pt>
                <c:pt idx="1">
                  <c:v>2</c:v>
                </c:pt>
              </c:numCache>
            </c:numRef>
          </c:cat>
          <c:val>
            <c:numRef>
              <c:f>'Ark1'!$B$2:$B$3</c:f>
              <c:numCache>
                <c:formatCode>General</c:formatCode>
                <c:ptCount val="2"/>
                <c:pt idx="0">
                  <c:v>95</c:v>
                </c:pt>
                <c:pt idx="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06E-45D4-94BD-4B79478FAFB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a-DK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 sz="1000" dirty="0"/>
          </a:p>
        </p:txBody>
      </p:sp>
      <p:sp>
        <p:nvSpPr>
          <p:cNvPr id="3" name="Date_DateCustomA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endParaRPr lang="da-DK" sz="10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751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 sz="10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9751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686504-A70A-40E9-9905-689B4B6F7CD7}" type="slidenum">
              <a:rPr lang="da-DK" sz="1000" smtClean="0"/>
              <a:t>‹nr.›</a:t>
            </a:fld>
            <a:endParaRPr lang="da-DK" sz="1000"/>
          </a:p>
        </p:txBody>
      </p:sp>
    </p:spTree>
    <p:extLst>
      <p:ext uri="{BB962C8B-B14F-4D97-AF65-F5344CB8AC3E}">
        <p14:creationId xmlns:p14="http://schemas.microsoft.com/office/powerpoint/2010/main" val="225365698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/>
            </a:lvl1pPr>
          </a:lstStyle>
          <a:p>
            <a:endParaRPr lang="da-DK" dirty="0"/>
          </a:p>
        </p:txBody>
      </p:sp>
      <p:sp>
        <p:nvSpPr>
          <p:cNvPr id="3" name="Date_DateCustomA"/>
          <p:cNvSpPr>
            <a:spLocks noGrp="1"/>
          </p:cNvSpPr>
          <p:nvPr>
            <p:ph type="dt" idx="1"/>
          </p:nvPr>
        </p:nvSpPr>
        <p:spPr>
          <a:xfrm>
            <a:off x="3850445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endParaRPr lang="da-DK" dirty="0"/>
          </a:p>
        </p:txBody>
      </p:sp>
      <p:sp>
        <p:nvSpPr>
          <p:cNvPr id="4" name="Pladsholder til dias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917575" y="4715154"/>
            <a:ext cx="4962526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2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endParaRPr lang="da-DK" dirty="0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5"/>
          </p:nvPr>
        </p:nvSpPr>
        <p:spPr>
          <a:xfrm>
            <a:off x="3850445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D25B4B25-75A1-4BD3-9A55-1C94DE87B243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53493108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40000" indent="-180000" algn="l" defTabSz="914400" rtl="0" eaLnBrk="1" latinLnBrk="0" hangingPunct="1"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25B4B25-75A1-4BD3-9A55-1C94DE87B243}" type="slidenum">
              <a:rPr lang="da-DK" smtClean="0"/>
              <a:pPr/>
              <a:t>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477585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SzPts val="1000"/>
              <a:buFont typeface="Symbol" panose="05050102010706020507" pitchFamily="18" charset="2"/>
              <a:buNone/>
              <a:tabLst>
                <a:tab pos="457200" algn="l"/>
              </a:tabLst>
            </a:pPr>
            <a:r>
              <a:rPr lang="da-DK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endParaRPr lang="da-DK" sz="1800" kern="1200" dirty="0">
              <a:solidFill>
                <a:schemeClr val="tx1"/>
              </a:solidFill>
              <a:effectLst/>
              <a:latin typeface="Graphik Web"/>
              <a:ea typeface="+mn-ea"/>
              <a:cs typeface="Times New Roman" panose="02020603050405020304" pitchFamily="18" charset="0"/>
            </a:endParaRPr>
          </a:p>
          <a:p>
            <a:pPr marL="0" lvl="0" indent="0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SzPts val="1000"/>
              <a:buFont typeface="Arial" panose="020B0604020202020204" pitchFamily="34" charset="0"/>
              <a:buNone/>
              <a:tabLst>
                <a:tab pos="457200" algn="l"/>
              </a:tabLst>
            </a:pPr>
            <a:endParaRPr lang="da-DK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da-DK" sz="1000" dirty="0">
              <a:latin typeface="+mn-lt"/>
            </a:endParaRPr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6CFAD1-D197-4A88-B173-A6412E995EE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72996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25B4B25-75A1-4BD3-9A55-1C94DE87B243}" type="slidenum">
              <a:rPr lang="da-DK" smtClean="0"/>
              <a:pPr/>
              <a:t>1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0101148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a-DK" sz="1000" b="0" kern="1200" noProof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endParaRPr lang="da-DK" noProof="0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6CFAD1-D197-4A88-B173-A6412E995EE5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04371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i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25B4B25-75A1-4BD3-9A55-1C94DE87B243}" type="slidenum">
              <a:rPr lang="da-DK"/>
              <a:pPr/>
              <a:t>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91107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a-DK" sz="1000" b="0" dirty="0">
                <a:latin typeface="+mn-lt"/>
              </a:rPr>
              <a:t> </a:t>
            </a:r>
          </a:p>
          <a:p>
            <a:pPr marL="171450" lvl="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da-DK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lvl="1" indent="0">
              <a:buNone/>
            </a:pPr>
            <a:endParaRPr lang="da-DK" sz="1000" b="0" dirty="0">
              <a:latin typeface="+mn-lt"/>
            </a:endParaRPr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6CFAD1-D197-4A88-B173-A6412E995EE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00145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sz="1000" dirty="0">
                <a:latin typeface="+mn-lt"/>
              </a:rPr>
              <a:t> </a:t>
            </a:r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6CFAD1-D197-4A88-B173-A6412E995EE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66812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sz="1000" dirty="0">
                <a:latin typeface="+mn-lt"/>
              </a:rPr>
              <a:t> </a:t>
            </a:r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6CFAD1-D197-4A88-B173-A6412E995EE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34460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77322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65547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77703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noProof="0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5B4B25-75A1-4BD3-9A55-1C94DE87B243}" type="slidenum">
              <a:rPr lang="da-DK" smtClean="0"/>
              <a:pPr/>
              <a:t>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481086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8.png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emf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image" Target="../media/image10.emf"/><Relationship Id="rId7" Type="http://schemas.openxmlformats.org/officeDocument/2006/relationships/image" Target="../media/image13.em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.emf"/><Relationship Id="rId5" Type="http://schemas.openxmlformats.org/officeDocument/2006/relationships/image" Target="../media/image12.emf"/><Relationship Id="rId4" Type="http://schemas.openxmlformats.org/officeDocument/2006/relationships/image" Target="../media/image1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image" Target="../media/image10.emf"/><Relationship Id="rId7" Type="http://schemas.openxmlformats.org/officeDocument/2006/relationships/image" Target="../media/image13.em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.emf"/><Relationship Id="rId5" Type="http://schemas.openxmlformats.org/officeDocument/2006/relationships/image" Target="../media/image12.emf"/><Relationship Id="rId4" Type="http://schemas.openxmlformats.org/officeDocument/2006/relationships/image" Target="../media/image11.emf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icture Placeholder 38"/>
          <p:cNvSpPr>
            <a:spLocks noGrp="1"/>
          </p:cNvSpPr>
          <p:nvPr>
            <p:ph type="pic" sz="quarter" idx="13" hasCustomPrompt="1"/>
          </p:nvPr>
        </p:nvSpPr>
        <p:spPr>
          <a:xfrm>
            <a:off x="-4800" y="-3600"/>
            <a:ext cx="12206400" cy="6865200"/>
          </a:xfrm>
          <a:prstGeom prst="rect">
            <a:avLst/>
          </a:prstGeom>
          <a:solidFill>
            <a:schemeClr val="bg2"/>
          </a:solidFill>
        </p:spPr>
        <p:txBody>
          <a:bodyPr wrap="square" lIns="108000" tIns="108000" rIns="4824000" bIns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4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6096000" y="0"/>
            <a:ext cx="6105600" cy="6861600"/>
          </a:xfrm>
          <a:custGeom>
            <a:avLst/>
            <a:gdLst>
              <a:gd name="connsiteX0" fmla="*/ 0 w 6105600"/>
              <a:gd name="connsiteY0" fmla="*/ 0 h 6861600"/>
              <a:gd name="connsiteX1" fmla="*/ 6105600 w 6105600"/>
              <a:gd name="connsiteY1" fmla="*/ 0 h 6861600"/>
              <a:gd name="connsiteX2" fmla="*/ 6105600 w 6105600"/>
              <a:gd name="connsiteY2" fmla="*/ 6861600 h 6861600"/>
              <a:gd name="connsiteX3" fmla="*/ 0 w 6105600"/>
              <a:gd name="connsiteY3" fmla="*/ 6861600 h 6861600"/>
              <a:gd name="connsiteX4" fmla="*/ 0 w 6105600"/>
              <a:gd name="connsiteY4" fmla="*/ 6858001 h 6861600"/>
              <a:gd name="connsiteX5" fmla="*/ 6096000 w 6105600"/>
              <a:gd name="connsiteY5" fmla="*/ 6858001 h 6861600"/>
              <a:gd name="connsiteX6" fmla="*/ 6095992 w 6105600"/>
              <a:gd name="connsiteY6" fmla="*/ 6858000 h 6861600"/>
              <a:gd name="connsiteX7" fmla="*/ 6096000 w 6105600"/>
              <a:gd name="connsiteY7" fmla="*/ 6858000 h 6861600"/>
              <a:gd name="connsiteX8" fmla="*/ 0 w 6105600"/>
              <a:gd name="connsiteY8" fmla="*/ 5805851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05600" h="6861600">
                <a:moveTo>
                  <a:pt x="0" y="0"/>
                </a:moveTo>
                <a:lnTo>
                  <a:pt x="6105600" y="0"/>
                </a:lnTo>
                <a:lnTo>
                  <a:pt x="6105600" y="6861600"/>
                </a:lnTo>
                <a:lnTo>
                  <a:pt x="0" y="6861600"/>
                </a:lnTo>
                <a:lnTo>
                  <a:pt x="0" y="6858001"/>
                </a:lnTo>
                <a:lnTo>
                  <a:pt x="6096000" y="6858001"/>
                </a:lnTo>
                <a:lnTo>
                  <a:pt x="6095992" y="6858000"/>
                </a:lnTo>
                <a:lnTo>
                  <a:pt x="6096000" y="6858000"/>
                </a:lnTo>
                <a:lnTo>
                  <a:pt x="0" y="5805851"/>
                </a:lnTo>
                <a:close/>
              </a:path>
            </a:pathLst>
          </a:custGeom>
          <a:solidFill>
            <a:schemeClr val="accent1">
              <a:alpha val="90000"/>
            </a:schemeClr>
          </a:solidFill>
        </p:spPr>
        <p:txBody>
          <a:bodyPr wrap="square" lIns="630000" tIns="3780000" rIns="630000" bIns="4788000" anchor="t" anchorCtr="0">
            <a:noAutofit/>
          </a:bodyPr>
          <a:lstStyle>
            <a:lvl1pPr>
              <a:lnSpc>
                <a:spcPct val="87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Præsentationstitel i </a:t>
            </a:r>
            <a:r>
              <a:rPr lang="da-DK" dirty="0" err="1"/>
              <a:t>maks</a:t>
            </a:r>
            <a:r>
              <a:rPr lang="da-DK" dirty="0"/>
              <a:t> to linjer</a:t>
            </a:r>
            <a:endParaRPr lang="da-DK"/>
          </a:p>
        </p:txBody>
      </p:sp>
      <p:sp>
        <p:nvSpPr>
          <p:cNvPr id="3" name="Undertitel 2"/>
          <p:cNvSpPr>
            <a:spLocks noGrp="1"/>
          </p:cNvSpPr>
          <p:nvPr>
            <p:ph type="subTitle" idx="1" hasCustomPrompt="1"/>
          </p:nvPr>
        </p:nvSpPr>
        <p:spPr>
          <a:xfrm>
            <a:off x="6096001" y="4132800"/>
            <a:ext cx="5422900" cy="498834"/>
          </a:xfrm>
        </p:spPr>
        <p:txBody>
          <a:bodyPr lIns="640800" rIns="511200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Klik, og tilføj undertitel</a:t>
            </a:r>
            <a:endParaRPr lang="da-DK"/>
          </a:p>
        </p:txBody>
      </p:sp>
      <p:sp>
        <p:nvSpPr>
          <p:cNvPr id="6" name="Indsæt TitleName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1" y="1922400"/>
            <a:ext cx="5422900" cy="360040"/>
          </a:xfrm>
        </p:spPr>
        <p:txBody>
          <a:bodyPr lIns="684000" anchor="b" anchorCtr="0"/>
          <a:lstStyle>
            <a:lvl1pPr>
              <a:lnSpc>
                <a:spcPct val="115000"/>
              </a:lnSpc>
              <a:defRPr sz="10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Indsæt titel, navn</a:t>
            </a:r>
            <a:endParaRPr lang="da-DK"/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805489"/>
            <a:ext cx="12192000" cy="1052514"/>
          </a:xfrm>
          <a:custGeom>
            <a:avLst/>
            <a:gdLst>
              <a:gd name="connsiteX0" fmla="*/ 4570413 w 9144000"/>
              <a:gd name="connsiteY0" fmla="*/ 0 h 809625"/>
              <a:gd name="connsiteX1" fmla="*/ 9144000 w 9144000"/>
              <a:gd name="connsiteY1" fmla="*/ 809625 h 809625"/>
              <a:gd name="connsiteX2" fmla="*/ 0 w 9144000"/>
              <a:gd name="connsiteY2" fmla="*/ 809625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144000" h="809625">
                <a:moveTo>
                  <a:pt x="4570413" y="0"/>
                </a:moveTo>
                <a:lnTo>
                  <a:pt x="9144000" y="809625"/>
                </a:lnTo>
                <a:lnTo>
                  <a:pt x="0" y="809625"/>
                </a:lnTo>
                <a:close/>
              </a:path>
            </a:pathLst>
          </a:custGeom>
          <a:solidFill>
            <a:schemeClr val="accent1">
              <a:alpha val="6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16" hasCustomPrompt="1"/>
          </p:nvPr>
        </p:nvSpPr>
        <p:spPr>
          <a:xfrm>
            <a:off x="6095999" y="4761148"/>
            <a:ext cx="6096001" cy="2094419"/>
          </a:xfrm>
          <a:custGeom>
            <a:avLst/>
            <a:gdLst>
              <a:gd name="connsiteX0" fmla="*/ 4572000 w 4572000"/>
              <a:gd name="connsiteY0" fmla="*/ 0 h 1615884"/>
              <a:gd name="connsiteX1" fmla="*/ 4572000 w 4572000"/>
              <a:gd name="connsiteY1" fmla="*/ 1615884 h 1615884"/>
              <a:gd name="connsiteX2" fmla="*/ 0 w 4572000"/>
              <a:gd name="connsiteY2" fmla="*/ 808222 h 1615884"/>
              <a:gd name="connsiteX3" fmla="*/ 0 w 4572000"/>
              <a:gd name="connsiteY3" fmla="*/ 807661 h 1615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72000" h="1615884">
                <a:moveTo>
                  <a:pt x="4572000" y="0"/>
                </a:moveTo>
                <a:lnTo>
                  <a:pt x="4572000" y="1615884"/>
                </a:lnTo>
                <a:lnTo>
                  <a:pt x="0" y="808222"/>
                </a:lnTo>
                <a:lnTo>
                  <a:pt x="0" y="807661"/>
                </a:lnTo>
                <a:close/>
              </a:path>
            </a:pathLst>
          </a:custGeom>
          <a:solidFill>
            <a:srgbClr val="061C48"/>
          </a:solidFill>
        </p:spPr>
        <p:txBody>
          <a:bodyPr wrap="square">
            <a:noAutofit/>
          </a:bodyPr>
          <a:lstStyle>
            <a:lvl1pPr marL="0" indent="0">
              <a:buNone/>
              <a:defRPr sz="100"/>
            </a:lvl1pPr>
            <a:lvl2pPr marL="0" indent="0">
              <a:buNone/>
              <a:defRPr sz="100"/>
            </a:lvl2pPr>
            <a:lvl3pPr marL="216000" indent="0">
              <a:buNone/>
              <a:defRPr sz="100"/>
            </a:lvl3pPr>
            <a:lvl4pPr marL="432000" indent="0">
              <a:buNone/>
              <a:defRPr sz="100"/>
            </a:lvl4pPr>
            <a:lvl5pPr marL="648000" indent="0">
              <a:buNone/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10" name="TextBox 9"/>
          <p:cNvSpPr txBox="1"/>
          <p:nvPr userDrawn="1"/>
        </p:nvSpPr>
        <p:spPr>
          <a:xfrm>
            <a:off x="-14179" y="-214438"/>
            <a:ext cx="122064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noProof="0" dirty="0">
                <a:solidFill>
                  <a:schemeClr val="accent1"/>
                </a:solidFill>
              </a:rPr>
              <a:t>Bemærk</a:t>
            </a:r>
            <a:r>
              <a:rPr lang="da-DK" sz="1100" noProof="0" dirty="0">
                <a:solidFill>
                  <a:schemeClr val="accent1"/>
                </a:solidFill>
              </a:rPr>
              <a:t> at billedet ses under boksen som er transparent. Derfor skal billedet fylde hele siden.</a:t>
            </a:r>
            <a:endParaRPr lang="da-DK"/>
          </a:p>
        </p:txBody>
      </p:sp>
      <p:sp>
        <p:nvSpPr>
          <p:cNvPr id="17" name="Text Placeholder 3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6743700" y="345600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287416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C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BEBEC"/>
          </a:solidFill>
          <a:ln w="3175">
            <a:noFill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4000"/>
              </a:lnSpc>
            </a:pPr>
            <a:endParaRPr lang="da-DK" sz="1800" dirty="0" err="1"/>
          </a:p>
        </p:txBody>
      </p:sp>
      <p:grpSp>
        <p:nvGrpSpPr>
          <p:cNvPr id="121" name="Lines"/>
          <p:cNvGrpSpPr/>
          <p:nvPr userDrawn="1"/>
        </p:nvGrpSpPr>
        <p:grpSpPr>
          <a:xfrm>
            <a:off x="-792" y="0"/>
            <a:ext cx="12298271" cy="6161964"/>
            <a:chOff x="-792" y="0"/>
            <a:chExt cx="12298271" cy="6161964"/>
          </a:xfrm>
        </p:grpSpPr>
        <p:sp>
          <p:nvSpPr>
            <p:cNvPr id="108" name="Freeform: Shape 107"/>
            <p:cNvSpPr>
              <a:spLocks/>
            </p:cNvSpPr>
            <p:nvPr userDrawn="1"/>
          </p:nvSpPr>
          <p:spPr bwMode="auto">
            <a:xfrm>
              <a:off x="5971967" y="0"/>
              <a:ext cx="6221233" cy="2661061"/>
            </a:xfrm>
            <a:custGeom>
              <a:avLst/>
              <a:gdLst>
                <a:gd name="connsiteX0" fmla="*/ 0 w 6221233"/>
                <a:gd name="connsiteY0" fmla="*/ 0 h 2661061"/>
                <a:gd name="connsiteX1" fmla="*/ 38482 w 6221233"/>
                <a:gd name="connsiteY1" fmla="*/ 0 h 2661061"/>
                <a:gd name="connsiteX2" fmla="*/ 6221233 w 6221233"/>
                <a:gd name="connsiteY2" fmla="*/ 2645019 h 2661061"/>
                <a:gd name="connsiteX3" fmla="*/ 6221233 w 6221233"/>
                <a:gd name="connsiteY3" fmla="*/ 2661061 h 2661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21233" h="2661061">
                  <a:moveTo>
                    <a:pt x="0" y="0"/>
                  </a:moveTo>
                  <a:lnTo>
                    <a:pt x="38482" y="0"/>
                  </a:lnTo>
                  <a:lnTo>
                    <a:pt x="6221233" y="2645019"/>
                  </a:lnTo>
                  <a:lnTo>
                    <a:pt x="6221233" y="2661061"/>
                  </a:lnTo>
                  <a:close/>
                </a:path>
              </a:pathLst>
            </a:custGeom>
            <a:solidFill>
              <a:srgbClr val="C1C3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06" name="Freeform: Shape 105"/>
            <p:cNvSpPr>
              <a:spLocks/>
            </p:cNvSpPr>
            <p:nvPr userDrawn="1"/>
          </p:nvSpPr>
          <p:spPr bwMode="auto">
            <a:xfrm>
              <a:off x="6239739" y="1"/>
              <a:ext cx="5953461" cy="2457299"/>
            </a:xfrm>
            <a:custGeom>
              <a:avLst/>
              <a:gdLst>
                <a:gd name="connsiteX0" fmla="*/ 0 w 5953461"/>
                <a:gd name="connsiteY0" fmla="*/ 0 h 2457299"/>
                <a:gd name="connsiteX1" fmla="*/ 36593 w 5953461"/>
                <a:gd name="connsiteY1" fmla="*/ 0 h 2457299"/>
                <a:gd name="connsiteX2" fmla="*/ 1445423 w 5953461"/>
                <a:gd name="connsiteY2" fmla="*/ 637927 h 2457299"/>
                <a:gd name="connsiteX3" fmla="*/ 2689583 w 5953461"/>
                <a:gd name="connsiteY3" fmla="*/ 1109504 h 2457299"/>
                <a:gd name="connsiteX4" fmla="*/ 3712662 w 5953461"/>
                <a:gd name="connsiteY4" fmla="*/ 1489513 h 2457299"/>
                <a:gd name="connsiteX5" fmla="*/ 5925012 w 5953461"/>
                <a:gd name="connsiteY5" fmla="*/ 2428089 h 2457299"/>
                <a:gd name="connsiteX6" fmla="*/ 5953461 w 5953461"/>
                <a:gd name="connsiteY6" fmla="*/ 2440341 h 2457299"/>
                <a:gd name="connsiteX7" fmla="*/ 5953461 w 5953461"/>
                <a:gd name="connsiteY7" fmla="*/ 2457299 h 2457299"/>
                <a:gd name="connsiteX8" fmla="*/ 5917389 w 5953461"/>
                <a:gd name="connsiteY8" fmla="*/ 2441825 h 2457299"/>
                <a:gd name="connsiteX9" fmla="*/ 3706563 w 5953461"/>
                <a:gd name="connsiteY9" fmla="*/ 1503248 h 2457299"/>
                <a:gd name="connsiteX10" fmla="*/ 2685009 w 5953461"/>
                <a:gd name="connsiteY10" fmla="*/ 1124765 h 2457299"/>
                <a:gd name="connsiteX11" fmla="*/ 1439324 w 5953461"/>
                <a:gd name="connsiteY11" fmla="*/ 651662 h 2457299"/>
                <a:gd name="connsiteX12" fmla="*/ 0 w 5953461"/>
                <a:gd name="connsiteY12" fmla="*/ 0 h 2457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3461" h="2457299">
                  <a:moveTo>
                    <a:pt x="0" y="0"/>
                  </a:moveTo>
                  <a:cubicBezTo>
                    <a:pt x="0" y="0"/>
                    <a:pt x="0" y="0"/>
                    <a:pt x="36593" y="0"/>
                  </a:cubicBezTo>
                  <a:cubicBezTo>
                    <a:pt x="501629" y="218238"/>
                    <a:pt x="972763" y="436476"/>
                    <a:pt x="1445423" y="637927"/>
                  </a:cubicBezTo>
                  <a:cubicBezTo>
                    <a:pt x="1854044" y="811907"/>
                    <a:pt x="2279437" y="962995"/>
                    <a:pt x="2689583" y="1109504"/>
                  </a:cubicBezTo>
                  <a:cubicBezTo>
                    <a:pt x="3026544" y="1230069"/>
                    <a:pt x="3375702" y="1353687"/>
                    <a:pt x="3712662" y="1489513"/>
                  </a:cubicBezTo>
                  <a:cubicBezTo>
                    <a:pt x="4455195" y="1788637"/>
                    <a:pt x="5202301" y="2113704"/>
                    <a:pt x="5925012" y="2428089"/>
                  </a:cubicBezTo>
                  <a:lnTo>
                    <a:pt x="5953461" y="2440341"/>
                  </a:lnTo>
                  <a:lnTo>
                    <a:pt x="5953461" y="2457299"/>
                  </a:lnTo>
                  <a:lnTo>
                    <a:pt x="5917389" y="2441825"/>
                  </a:lnTo>
                  <a:cubicBezTo>
                    <a:pt x="5196202" y="2127440"/>
                    <a:pt x="4449095" y="1802372"/>
                    <a:pt x="3706563" y="1503248"/>
                  </a:cubicBezTo>
                  <a:cubicBezTo>
                    <a:pt x="3369603" y="1367422"/>
                    <a:pt x="3021970" y="1243805"/>
                    <a:pt x="2685009" y="1124765"/>
                  </a:cubicBezTo>
                  <a:cubicBezTo>
                    <a:pt x="2273339" y="978256"/>
                    <a:pt x="1847945" y="825642"/>
                    <a:pt x="1439324" y="651662"/>
                  </a:cubicBezTo>
                  <a:cubicBezTo>
                    <a:pt x="955992" y="445633"/>
                    <a:pt x="474184" y="222817"/>
                    <a:pt x="0" y="0"/>
                  </a:cubicBezTo>
                  <a:close/>
                </a:path>
              </a:pathLst>
            </a:custGeom>
            <a:solidFill>
              <a:srgbClr val="C1C3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04" name="Freeform: Shape 103"/>
            <p:cNvSpPr>
              <a:spLocks/>
            </p:cNvSpPr>
            <p:nvPr userDrawn="1"/>
          </p:nvSpPr>
          <p:spPr bwMode="auto">
            <a:xfrm>
              <a:off x="6472236" y="1"/>
              <a:ext cx="5720965" cy="2253309"/>
            </a:xfrm>
            <a:custGeom>
              <a:avLst/>
              <a:gdLst>
                <a:gd name="connsiteX0" fmla="*/ 0 w 5720965"/>
                <a:gd name="connsiteY0" fmla="*/ 0 h 2253309"/>
                <a:gd name="connsiteX1" fmla="*/ 35073 w 5720965"/>
                <a:gd name="connsiteY1" fmla="*/ 0 h 2253309"/>
                <a:gd name="connsiteX2" fmla="*/ 1262628 w 5720965"/>
                <a:gd name="connsiteY2" fmla="*/ 585870 h 2253309"/>
                <a:gd name="connsiteX3" fmla="*/ 2485607 w 5720965"/>
                <a:gd name="connsiteY3" fmla="*/ 985604 h 2253309"/>
                <a:gd name="connsiteX4" fmla="*/ 3551521 w 5720965"/>
                <a:gd name="connsiteY4" fmla="*/ 1319733 h 2253309"/>
                <a:gd name="connsiteX5" fmla="*/ 4660895 w 5720965"/>
                <a:gd name="connsiteY5" fmla="*/ 1774583 h 2253309"/>
                <a:gd name="connsiteX6" fmla="*/ 5720965 w 5720965"/>
                <a:gd name="connsiteY6" fmla="*/ 2235408 h 2253309"/>
                <a:gd name="connsiteX7" fmla="*/ 5720965 w 5720965"/>
                <a:gd name="connsiteY7" fmla="*/ 2253309 h 2253309"/>
                <a:gd name="connsiteX8" fmla="*/ 4654223 w 5720965"/>
                <a:gd name="connsiteY8" fmla="*/ 1789268 h 2253309"/>
                <a:gd name="connsiteX9" fmla="*/ 3545421 w 5720965"/>
                <a:gd name="connsiteY9" fmla="*/ 1334990 h 2253309"/>
                <a:gd name="connsiteX10" fmla="*/ 2481032 w 5720965"/>
                <a:gd name="connsiteY10" fmla="*/ 1000861 h 2253309"/>
                <a:gd name="connsiteX11" fmla="*/ 1256528 w 5720965"/>
                <a:gd name="connsiteY11" fmla="*/ 601127 h 2253309"/>
                <a:gd name="connsiteX12" fmla="*/ 0 w 5720965"/>
                <a:gd name="connsiteY12" fmla="*/ 0 h 2253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0965" h="2253309">
                  <a:moveTo>
                    <a:pt x="0" y="0"/>
                  </a:moveTo>
                  <a:cubicBezTo>
                    <a:pt x="0" y="0"/>
                    <a:pt x="0" y="0"/>
                    <a:pt x="35073" y="0"/>
                  </a:cubicBezTo>
                  <a:cubicBezTo>
                    <a:pt x="437650" y="207496"/>
                    <a:pt x="847851" y="408888"/>
                    <a:pt x="1262628" y="585870"/>
                  </a:cubicBezTo>
                  <a:cubicBezTo>
                    <a:pt x="1659105" y="755223"/>
                    <a:pt x="2079980" y="872702"/>
                    <a:pt x="2485607" y="985604"/>
                  </a:cubicBezTo>
                  <a:cubicBezTo>
                    <a:pt x="2837862" y="1083249"/>
                    <a:pt x="3202316" y="1185471"/>
                    <a:pt x="3551521" y="1319733"/>
                  </a:cubicBezTo>
                  <a:cubicBezTo>
                    <a:pt x="3922075" y="1463912"/>
                    <a:pt x="4293010" y="1617626"/>
                    <a:pt x="4660895" y="1774583"/>
                  </a:cubicBezTo>
                  <a:lnTo>
                    <a:pt x="5720965" y="2235408"/>
                  </a:lnTo>
                  <a:lnTo>
                    <a:pt x="5720965" y="2253309"/>
                  </a:lnTo>
                  <a:lnTo>
                    <a:pt x="4654223" y="1789268"/>
                  </a:lnTo>
                  <a:cubicBezTo>
                    <a:pt x="4286529" y="1632502"/>
                    <a:pt x="3915975" y="1479169"/>
                    <a:pt x="3545421" y="1334990"/>
                  </a:cubicBezTo>
                  <a:cubicBezTo>
                    <a:pt x="3197741" y="1200728"/>
                    <a:pt x="2833287" y="1098506"/>
                    <a:pt x="2481032" y="1000861"/>
                  </a:cubicBezTo>
                  <a:cubicBezTo>
                    <a:pt x="2073881" y="886433"/>
                    <a:pt x="1654530" y="770480"/>
                    <a:pt x="1256528" y="601127"/>
                  </a:cubicBezTo>
                  <a:cubicBezTo>
                    <a:pt x="831077" y="419568"/>
                    <a:pt x="411727" y="212073"/>
                    <a:pt x="0" y="0"/>
                  </a:cubicBezTo>
                  <a:close/>
                </a:path>
              </a:pathLst>
            </a:custGeom>
            <a:solidFill>
              <a:srgbClr val="C0C2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00" name="Freeform: Shape 99"/>
            <p:cNvSpPr>
              <a:spLocks/>
            </p:cNvSpPr>
            <p:nvPr userDrawn="1"/>
          </p:nvSpPr>
          <p:spPr bwMode="auto">
            <a:xfrm>
              <a:off x="6687094" y="0"/>
              <a:ext cx="5506106" cy="2050042"/>
            </a:xfrm>
            <a:custGeom>
              <a:avLst/>
              <a:gdLst>
                <a:gd name="connsiteX0" fmla="*/ 0 w 5506106"/>
                <a:gd name="connsiteY0" fmla="*/ 0 h 2050042"/>
                <a:gd name="connsiteX1" fmla="*/ 33549 w 5506106"/>
                <a:gd name="connsiteY1" fmla="*/ 0 h 2050042"/>
                <a:gd name="connsiteX2" fmla="*/ 1088817 w 5506106"/>
                <a:gd name="connsiteY2" fmla="*/ 523538 h 2050042"/>
                <a:gd name="connsiteX3" fmla="*/ 2314880 w 5506106"/>
                <a:gd name="connsiteY3" fmla="*/ 863914 h 2050042"/>
                <a:gd name="connsiteX4" fmla="*/ 3406747 w 5506106"/>
                <a:gd name="connsiteY4" fmla="*/ 1150867 h 2050042"/>
                <a:gd name="connsiteX5" fmla="*/ 4514436 w 5506106"/>
                <a:gd name="connsiteY5" fmla="*/ 1599041 h 2050042"/>
                <a:gd name="connsiteX6" fmla="*/ 5506106 w 5506106"/>
                <a:gd name="connsiteY6" fmla="*/ 2033522 h 2050042"/>
                <a:gd name="connsiteX7" fmla="*/ 5506106 w 5506106"/>
                <a:gd name="connsiteY7" fmla="*/ 2050042 h 2050042"/>
                <a:gd name="connsiteX8" fmla="*/ 4508336 w 5506106"/>
                <a:gd name="connsiteY8" fmla="*/ 1614114 h 2050042"/>
                <a:gd name="connsiteX9" fmla="*/ 3400648 w 5506106"/>
                <a:gd name="connsiteY9" fmla="*/ 1166131 h 2050042"/>
                <a:gd name="connsiteX10" fmla="*/ 2311830 w 5506106"/>
                <a:gd name="connsiteY10" fmla="*/ 879177 h 2050042"/>
                <a:gd name="connsiteX11" fmla="*/ 1082718 w 5506106"/>
                <a:gd name="connsiteY11" fmla="*/ 537275 h 2050042"/>
                <a:gd name="connsiteX12" fmla="*/ 0 w 5506106"/>
                <a:gd name="connsiteY12" fmla="*/ 0 h 2050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506106" h="2050042">
                  <a:moveTo>
                    <a:pt x="0" y="0"/>
                  </a:moveTo>
                  <a:cubicBezTo>
                    <a:pt x="0" y="0"/>
                    <a:pt x="0" y="0"/>
                    <a:pt x="33549" y="0"/>
                  </a:cubicBezTo>
                  <a:cubicBezTo>
                    <a:pt x="378189" y="189267"/>
                    <a:pt x="728928" y="369377"/>
                    <a:pt x="1088817" y="523538"/>
                  </a:cubicBezTo>
                  <a:cubicBezTo>
                    <a:pt x="1485305" y="691436"/>
                    <a:pt x="1906193" y="778438"/>
                    <a:pt x="2314880" y="863914"/>
                  </a:cubicBezTo>
                  <a:cubicBezTo>
                    <a:pt x="2676294" y="938705"/>
                    <a:pt x="3051433" y="1016548"/>
                    <a:pt x="3406747" y="1150867"/>
                  </a:cubicBezTo>
                  <a:cubicBezTo>
                    <a:pt x="3777311" y="1290528"/>
                    <a:pt x="4147494" y="1442400"/>
                    <a:pt x="4514436" y="1599041"/>
                  </a:cubicBezTo>
                  <a:lnTo>
                    <a:pt x="5506106" y="2033522"/>
                  </a:lnTo>
                  <a:lnTo>
                    <a:pt x="5506106" y="2050042"/>
                  </a:lnTo>
                  <a:lnTo>
                    <a:pt x="4508336" y="1614114"/>
                  </a:lnTo>
                  <a:cubicBezTo>
                    <a:pt x="4141394" y="1457663"/>
                    <a:pt x="3771211" y="1305792"/>
                    <a:pt x="3400648" y="1166131"/>
                  </a:cubicBezTo>
                  <a:cubicBezTo>
                    <a:pt x="3046858" y="1033338"/>
                    <a:pt x="2673244" y="955494"/>
                    <a:pt x="2311830" y="879177"/>
                  </a:cubicBezTo>
                  <a:cubicBezTo>
                    <a:pt x="1903143" y="795228"/>
                    <a:pt x="1479206" y="706700"/>
                    <a:pt x="1082718" y="537275"/>
                  </a:cubicBezTo>
                  <a:cubicBezTo>
                    <a:pt x="713679" y="380061"/>
                    <a:pt x="352265" y="195373"/>
                    <a:pt x="0" y="0"/>
                  </a:cubicBezTo>
                  <a:close/>
                </a:path>
              </a:pathLst>
            </a:custGeom>
            <a:solidFill>
              <a:srgbClr val="C0C2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02" name="Freeform: Shape 101"/>
            <p:cNvSpPr>
              <a:spLocks/>
            </p:cNvSpPr>
            <p:nvPr userDrawn="1"/>
          </p:nvSpPr>
          <p:spPr bwMode="auto">
            <a:xfrm>
              <a:off x="7019004" y="0"/>
              <a:ext cx="5174196" cy="1848116"/>
            </a:xfrm>
            <a:custGeom>
              <a:avLst/>
              <a:gdLst>
                <a:gd name="connsiteX0" fmla="*/ 0 w 5174196"/>
                <a:gd name="connsiteY0" fmla="*/ 0 h 1848116"/>
                <a:gd name="connsiteX1" fmla="*/ 35068 w 5174196"/>
                <a:gd name="connsiteY1" fmla="*/ 0 h 1848116"/>
                <a:gd name="connsiteX2" fmla="*/ 817222 w 5174196"/>
                <a:gd name="connsiteY2" fmla="*/ 378424 h 1848116"/>
                <a:gd name="connsiteX3" fmla="*/ 2050677 w 5174196"/>
                <a:gd name="connsiteY3" fmla="*/ 708019 h 1848116"/>
                <a:gd name="connsiteX4" fmla="*/ 3146913 w 5174196"/>
                <a:gd name="connsiteY4" fmla="*/ 982682 h 1848116"/>
                <a:gd name="connsiteX5" fmla="*/ 4752602 w 5174196"/>
                <a:gd name="connsiteY5" fmla="*/ 1642730 h 1848116"/>
                <a:gd name="connsiteX6" fmla="*/ 5174196 w 5174196"/>
                <a:gd name="connsiteY6" fmla="*/ 1829780 h 1848116"/>
                <a:gd name="connsiteX7" fmla="*/ 5174196 w 5174196"/>
                <a:gd name="connsiteY7" fmla="*/ 1848116 h 1848116"/>
                <a:gd name="connsiteX8" fmla="*/ 4751244 w 5174196"/>
                <a:gd name="connsiteY8" fmla="*/ 1660564 h 1848116"/>
                <a:gd name="connsiteX9" fmla="*/ 3142339 w 5174196"/>
                <a:gd name="connsiteY9" fmla="*/ 997941 h 1848116"/>
                <a:gd name="connsiteX10" fmla="*/ 2047628 w 5174196"/>
                <a:gd name="connsiteY10" fmla="*/ 724804 h 1848116"/>
                <a:gd name="connsiteX11" fmla="*/ 811123 w 5174196"/>
                <a:gd name="connsiteY11" fmla="*/ 393683 h 1848116"/>
                <a:gd name="connsiteX12" fmla="*/ 0 w 5174196"/>
                <a:gd name="connsiteY12" fmla="*/ 0 h 1848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4196" h="1848116">
                  <a:moveTo>
                    <a:pt x="0" y="0"/>
                  </a:moveTo>
                  <a:cubicBezTo>
                    <a:pt x="0" y="0"/>
                    <a:pt x="0" y="0"/>
                    <a:pt x="35068" y="0"/>
                  </a:cubicBezTo>
                  <a:cubicBezTo>
                    <a:pt x="291212" y="135805"/>
                    <a:pt x="551930" y="265507"/>
                    <a:pt x="817222" y="378424"/>
                  </a:cubicBezTo>
                  <a:cubicBezTo>
                    <a:pt x="1215160" y="547799"/>
                    <a:pt x="1640542" y="628672"/>
                    <a:pt x="2050677" y="708019"/>
                  </a:cubicBezTo>
                  <a:cubicBezTo>
                    <a:pt x="2415073" y="778211"/>
                    <a:pt x="2791666" y="849928"/>
                    <a:pt x="3146913" y="982682"/>
                  </a:cubicBezTo>
                  <a:cubicBezTo>
                    <a:pt x="3686645" y="1182957"/>
                    <a:pt x="4224662" y="1410698"/>
                    <a:pt x="4752602" y="1642730"/>
                  </a:cubicBezTo>
                  <a:lnTo>
                    <a:pt x="5174196" y="1829780"/>
                  </a:lnTo>
                  <a:lnTo>
                    <a:pt x="5174196" y="1848116"/>
                  </a:lnTo>
                  <a:lnTo>
                    <a:pt x="4751244" y="1660564"/>
                  </a:lnTo>
                  <a:cubicBezTo>
                    <a:pt x="4221803" y="1427673"/>
                    <a:pt x="3682071" y="1198216"/>
                    <a:pt x="3142339" y="997941"/>
                  </a:cubicBezTo>
                  <a:cubicBezTo>
                    <a:pt x="2787092" y="865187"/>
                    <a:pt x="2410499" y="793470"/>
                    <a:pt x="2047628" y="724804"/>
                  </a:cubicBezTo>
                  <a:cubicBezTo>
                    <a:pt x="1635968" y="645457"/>
                    <a:pt x="1209061" y="563058"/>
                    <a:pt x="811123" y="393683"/>
                  </a:cubicBezTo>
                  <a:cubicBezTo>
                    <a:pt x="535158" y="276189"/>
                    <a:pt x="265292" y="141909"/>
                    <a:pt x="0" y="0"/>
                  </a:cubicBezTo>
                  <a:close/>
                </a:path>
              </a:pathLst>
            </a:custGeom>
            <a:solidFill>
              <a:srgbClr val="BFC1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98" name="Freeform: Shape 97"/>
            <p:cNvSpPr>
              <a:spLocks/>
            </p:cNvSpPr>
            <p:nvPr userDrawn="1"/>
          </p:nvSpPr>
          <p:spPr bwMode="auto">
            <a:xfrm>
              <a:off x="7431084" y="1"/>
              <a:ext cx="4762117" cy="1646199"/>
            </a:xfrm>
            <a:custGeom>
              <a:avLst/>
              <a:gdLst>
                <a:gd name="connsiteX0" fmla="*/ 0 w 4762117"/>
                <a:gd name="connsiteY0" fmla="*/ 0 h 1646199"/>
                <a:gd name="connsiteX1" fmla="*/ 38126 w 4762117"/>
                <a:gd name="connsiteY1" fmla="*/ 0 h 1646199"/>
                <a:gd name="connsiteX2" fmla="*/ 465129 w 4762117"/>
                <a:gd name="connsiteY2" fmla="*/ 195245 h 1646199"/>
                <a:gd name="connsiteX3" fmla="*/ 1711065 w 4762117"/>
                <a:gd name="connsiteY3" fmla="*/ 533873 h 1646199"/>
                <a:gd name="connsiteX4" fmla="*/ 2807549 w 4762117"/>
                <a:gd name="connsiteY4" fmla="*/ 813012 h 1646199"/>
                <a:gd name="connsiteX5" fmla="*/ 4357844 w 4762117"/>
                <a:gd name="connsiteY5" fmla="*/ 1449012 h 1646199"/>
                <a:gd name="connsiteX6" fmla="*/ 4762117 w 4762117"/>
                <a:gd name="connsiteY6" fmla="*/ 1627882 h 1646199"/>
                <a:gd name="connsiteX7" fmla="*/ 4762117 w 4762117"/>
                <a:gd name="connsiteY7" fmla="*/ 1646199 h 1646199"/>
                <a:gd name="connsiteX8" fmla="*/ 4356677 w 4762117"/>
                <a:gd name="connsiteY8" fmla="*/ 1466863 h 1646199"/>
                <a:gd name="connsiteX9" fmla="*/ 2801449 w 4762117"/>
                <a:gd name="connsiteY9" fmla="*/ 829791 h 1646199"/>
                <a:gd name="connsiteX10" fmla="*/ 1706490 w 4762117"/>
                <a:gd name="connsiteY10" fmla="*/ 550652 h 1646199"/>
                <a:gd name="connsiteX11" fmla="*/ 457504 w 4762117"/>
                <a:gd name="connsiteY11" fmla="*/ 210499 h 1646199"/>
                <a:gd name="connsiteX12" fmla="*/ 0 w 4762117"/>
                <a:gd name="connsiteY12" fmla="*/ 0 h 1646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762117" h="1646199">
                  <a:moveTo>
                    <a:pt x="0" y="0"/>
                  </a:moveTo>
                  <a:cubicBezTo>
                    <a:pt x="0" y="0"/>
                    <a:pt x="0" y="0"/>
                    <a:pt x="38126" y="0"/>
                  </a:cubicBezTo>
                  <a:cubicBezTo>
                    <a:pt x="178427" y="68641"/>
                    <a:pt x="320253" y="134231"/>
                    <a:pt x="465129" y="195245"/>
                  </a:cubicBezTo>
                  <a:cubicBezTo>
                    <a:pt x="866208" y="366084"/>
                    <a:pt x="1294736" y="451504"/>
                    <a:pt x="1711065" y="533873"/>
                  </a:cubicBezTo>
                  <a:cubicBezTo>
                    <a:pt x="2074018" y="607090"/>
                    <a:pt x="2450696" y="681832"/>
                    <a:pt x="2807549" y="813012"/>
                  </a:cubicBezTo>
                  <a:cubicBezTo>
                    <a:pt x="3327960" y="1006350"/>
                    <a:pt x="3847513" y="1225429"/>
                    <a:pt x="4357844" y="1449012"/>
                  </a:cubicBezTo>
                  <a:lnTo>
                    <a:pt x="4762117" y="1627882"/>
                  </a:lnTo>
                  <a:lnTo>
                    <a:pt x="4762117" y="1646199"/>
                  </a:lnTo>
                  <a:lnTo>
                    <a:pt x="4356677" y="1466863"/>
                  </a:lnTo>
                  <a:cubicBezTo>
                    <a:pt x="3845130" y="1242494"/>
                    <a:pt x="3324147" y="1021985"/>
                    <a:pt x="2801449" y="829791"/>
                  </a:cubicBezTo>
                  <a:cubicBezTo>
                    <a:pt x="2446121" y="697085"/>
                    <a:pt x="2070968" y="622343"/>
                    <a:pt x="1706490" y="550652"/>
                  </a:cubicBezTo>
                  <a:cubicBezTo>
                    <a:pt x="1290161" y="468283"/>
                    <a:pt x="860108" y="381338"/>
                    <a:pt x="457504" y="210499"/>
                  </a:cubicBezTo>
                  <a:cubicBezTo>
                    <a:pt x="303478" y="144908"/>
                    <a:pt x="150977" y="74742"/>
                    <a:pt x="0" y="0"/>
                  </a:cubicBezTo>
                  <a:close/>
                </a:path>
              </a:pathLst>
            </a:custGeom>
            <a:solidFill>
              <a:srgbClr val="BFC1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96" name="Freeform: Shape 95"/>
            <p:cNvSpPr>
              <a:spLocks/>
            </p:cNvSpPr>
            <p:nvPr userDrawn="1"/>
          </p:nvSpPr>
          <p:spPr bwMode="auto">
            <a:xfrm>
              <a:off x="7897682" y="0"/>
              <a:ext cx="4295519" cy="1446479"/>
            </a:xfrm>
            <a:custGeom>
              <a:avLst/>
              <a:gdLst>
                <a:gd name="connsiteX0" fmla="*/ 0 w 4295519"/>
                <a:gd name="connsiteY0" fmla="*/ 0 h 1446479"/>
                <a:gd name="connsiteX1" fmla="*/ 42701 w 4295519"/>
                <a:gd name="connsiteY1" fmla="*/ 0 h 1446479"/>
                <a:gd name="connsiteX2" fmla="*/ 50326 w 4295519"/>
                <a:gd name="connsiteY2" fmla="*/ 3053 h 1446479"/>
                <a:gd name="connsiteX3" fmla="*/ 1310004 w 4295519"/>
                <a:gd name="connsiteY3" fmla="*/ 355626 h 1446479"/>
                <a:gd name="connsiteX4" fmla="*/ 2414128 w 4295519"/>
                <a:gd name="connsiteY4" fmla="*/ 645621 h 1446479"/>
                <a:gd name="connsiteX5" fmla="*/ 3908684 w 4295519"/>
                <a:gd name="connsiteY5" fmla="*/ 1256685 h 1446479"/>
                <a:gd name="connsiteX6" fmla="*/ 4295519 w 4295519"/>
                <a:gd name="connsiteY6" fmla="*/ 1427524 h 1446479"/>
                <a:gd name="connsiteX7" fmla="*/ 4295519 w 4295519"/>
                <a:gd name="connsiteY7" fmla="*/ 1446479 h 1446479"/>
                <a:gd name="connsiteX8" fmla="*/ 3410546 w 4295519"/>
                <a:gd name="connsiteY8" fmla="*/ 1061153 h 1446479"/>
                <a:gd name="connsiteX9" fmla="*/ 2408027 w 4295519"/>
                <a:gd name="connsiteY9" fmla="*/ 660884 h 1446479"/>
                <a:gd name="connsiteX10" fmla="*/ 1306953 w 4295519"/>
                <a:gd name="connsiteY10" fmla="*/ 372415 h 1446479"/>
                <a:gd name="connsiteX11" fmla="*/ 44226 w 4295519"/>
                <a:gd name="connsiteY11" fmla="*/ 18316 h 1446479"/>
                <a:gd name="connsiteX12" fmla="*/ 0 w 4295519"/>
                <a:gd name="connsiteY12" fmla="*/ 0 h 1446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95519" h="1446479">
                  <a:moveTo>
                    <a:pt x="0" y="0"/>
                  </a:moveTo>
                  <a:cubicBezTo>
                    <a:pt x="0" y="0"/>
                    <a:pt x="0" y="0"/>
                    <a:pt x="42701" y="0"/>
                  </a:cubicBezTo>
                  <a:cubicBezTo>
                    <a:pt x="45751" y="1526"/>
                    <a:pt x="47276" y="1526"/>
                    <a:pt x="50326" y="3053"/>
                  </a:cubicBezTo>
                  <a:cubicBezTo>
                    <a:pt x="455985" y="175523"/>
                    <a:pt x="890619" y="267101"/>
                    <a:pt x="1310004" y="355626"/>
                  </a:cubicBezTo>
                  <a:cubicBezTo>
                    <a:pt x="1676012" y="431940"/>
                    <a:pt x="2055745" y="512833"/>
                    <a:pt x="2414128" y="645621"/>
                  </a:cubicBezTo>
                  <a:cubicBezTo>
                    <a:pt x="2915101" y="831065"/>
                    <a:pt x="3416075" y="1041407"/>
                    <a:pt x="3908684" y="1256685"/>
                  </a:cubicBezTo>
                  <a:lnTo>
                    <a:pt x="4295519" y="1427524"/>
                  </a:lnTo>
                  <a:lnTo>
                    <a:pt x="4295519" y="1446479"/>
                  </a:lnTo>
                  <a:lnTo>
                    <a:pt x="3410546" y="1061153"/>
                  </a:lnTo>
                  <a:cubicBezTo>
                    <a:pt x="3078280" y="920734"/>
                    <a:pt x="2743535" y="785276"/>
                    <a:pt x="2408027" y="660884"/>
                  </a:cubicBezTo>
                  <a:cubicBezTo>
                    <a:pt x="2049645" y="528096"/>
                    <a:pt x="1672961" y="448729"/>
                    <a:pt x="1306953" y="372415"/>
                  </a:cubicBezTo>
                  <a:cubicBezTo>
                    <a:pt x="886044" y="283890"/>
                    <a:pt x="451410" y="192313"/>
                    <a:pt x="44226" y="18316"/>
                  </a:cubicBezTo>
                  <a:cubicBezTo>
                    <a:pt x="28976" y="12210"/>
                    <a:pt x="15251" y="6105"/>
                    <a:pt x="0" y="0"/>
                  </a:cubicBezTo>
                  <a:close/>
                </a:path>
              </a:pathLst>
            </a:custGeom>
            <a:solidFill>
              <a:srgbClr val="BEC0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94" name="Freeform: Shape 93"/>
            <p:cNvSpPr>
              <a:spLocks/>
            </p:cNvSpPr>
            <p:nvPr userDrawn="1"/>
          </p:nvSpPr>
          <p:spPr bwMode="auto">
            <a:xfrm>
              <a:off x="8503776" y="1"/>
              <a:ext cx="3689425" cy="1246175"/>
            </a:xfrm>
            <a:custGeom>
              <a:avLst/>
              <a:gdLst>
                <a:gd name="connsiteX0" fmla="*/ 0 w 3689425"/>
                <a:gd name="connsiteY0" fmla="*/ 0 h 1246175"/>
                <a:gd name="connsiteX1" fmla="*/ 62516 w 3689425"/>
                <a:gd name="connsiteY1" fmla="*/ 0 h 1246175"/>
                <a:gd name="connsiteX2" fmla="*/ 766959 w 3689425"/>
                <a:gd name="connsiteY2" fmla="*/ 172406 h 1246175"/>
                <a:gd name="connsiteX3" fmla="*/ 1880040 w 3689425"/>
                <a:gd name="connsiteY3" fmla="*/ 476024 h 1246175"/>
                <a:gd name="connsiteX4" fmla="*/ 2842931 w 3689425"/>
                <a:gd name="connsiteY4" fmla="*/ 859933 h 1246175"/>
                <a:gd name="connsiteX5" fmla="*/ 3689425 w 3689425"/>
                <a:gd name="connsiteY5" fmla="*/ 1227826 h 1246175"/>
                <a:gd name="connsiteX6" fmla="*/ 3689425 w 3689425"/>
                <a:gd name="connsiteY6" fmla="*/ 1246175 h 1246175"/>
                <a:gd name="connsiteX7" fmla="*/ 2839882 w 3689425"/>
                <a:gd name="connsiteY7" fmla="*/ 877288 h 1246175"/>
                <a:gd name="connsiteX8" fmla="*/ 1873941 w 3689425"/>
                <a:gd name="connsiteY8" fmla="*/ 491282 h 1246175"/>
                <a:gd name="connsiteX9" fmla="*/ 763909 w 3689425"/>
                <a:gd name="connsiteY9" fmla="*/ 189189 h 1246175"/>
                <a:gd name="connsiteX10" fmla="*/ 0 w 3689425"/>
                <a:gd name="connsiteY10" fmla="*/ 0 h 1246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689425" h="1246175">
                  <a:moveTo>
                    <a:pt x="0" y="0"/>
                  </a:moveTo>
                  <a:cubicBezTo>
                    <a:pt x="0" y="0"/>
                    <a:pt x="0" y="0"/>
                    <a:pt x="62516" y="0"/>
                  </a:cubicBezTo>
                  <a:cubicBezTo>
                    <a:pt x="297330" y="65606"/>
                    <a:pt x="533669" y="119006"/>
                    <a:pt x="766959" y="172406"/>
                  </a:cubicBezTo>
                  <a:cubicBezTo>
                    <a:pt x="1135953" y="254795"/>
                    <a:pt x="1518670" y="340235"/>
                    <a:pt x="1880040" y="476024"/>
                  </a:cubicBezTo>
                  <a:cubicBezTo>
                    <a:pt x="2201766" y="595793"/>
                    <a:pt x="2523492" y="725479"/>
                    <a:pt x="2842931" y="859933"/>
                  </a:cubicBezTo>
                  <a:lnTo>
                    <a:pt x="3689425" y="1227826"/>
                  </a:lnTo>
                  <a:lnTo>
                    <a:pt x="3689425" y="1246175"/>
                  </a:lnTo>
                  <a:lnTo>
                    <a:pt x="2839882" y="877288"/>
                  </a:lnTo>
                  <a:cubicBezTo>
                    <a:pt x="2519681" y="742262"/>
                    <a:pt x="2197192" y="611813"/>
                    <a:pt x="1873941" y="491282"/>
                  </a:cubicBezTo>
                  <a:cubicBezTo>
                    <a:pt x="1512571" y="357018"/>
                    <a:pt x="1131379" y="271578"/>
                    <a:pt x="763909" y="189189"/>
                  </a:cubicBezTo>
                  <a:cubicBezTo>
                    <a:pt x="510798" y="131212"/>
                    <a:pt x="253112" y="73235"/>
                    <a:pt x="0" y="0"/>
                  </a:cubicBezTo>
                  <a:close/>
                </a:path>
              </a:pathLst>
            </a:custGeom>
            <a:solidFill>
              <a:srgbClr val="BEC0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92" name="Freeform: Shape 91"/>
            <p:cNvSpPr>
              <a:spLocks/>
            </p:cNvSpPr>
            <p:nvPr userDrawn="1"/>
          </p:nvSpPr>
          <p:spPr bwMode="auto">
            <a:xfrm>
              <a:off x="9318316" y="0"/>
              <a:ext cx="2874885" cy="1047517"/>
            </a:xfrm>
            <a:custGeom>
              <a:avLst/>
              <a:gdLst>
                <a:gd name="connsiteX0" fmla="*/ 0 w 2874885"/>
                <a:gd name="connsiteY0" fmla="*/ 0 h 1047517"/>
                <a:gd name="connsiteX1" fmla="*/ 74706 w 2874885"/>
                <a:gd name="connsiteY1" fmla="*/ 0 h 1047517"/>
                <a:gd name="connsiteX2" fmla="*/ 1137358 w 2874885"/>
                <a:gd name="connsiteY2" fmla="*/ 306963 h 1047517"/>
                <a:gd name="connsiteX3" fmla="*/ 2063176 w 2874885"/>
                <a:gd name="connsiteY3" fmla="*/ 677113 h 1047517"/>
                <a:gd name="connsiteX4" fmla="*/ 2874885 w 2874885"/>
                <a:gd name="connsiteY4" fmla="*/ 1029085 h 1047517"/>
                <a:gd name="connsiteX5" fmla="*/ 2874885 w 2874885"/>
                <a:gd name="connsiteY5" fmla="*/ 1047517 h 1047517"/>
                <a:gd name="connsiteX6" fmla="*/ 2060127 w 2874885"/>
                <a:gd name="connsiteY6" fmla="*/ 695057 h 1047517"/>
                <a:gd name="connsiteX7" fmla="*/ 1131259 w 2874885"/>
                <a:gd name="connsiteY7" fmla="*/ 322235 h 1047517"/>
                <a:gd name="connsiteX8" fmla="*/ 7623 w 2874885"/>
                <a:gd name="connsiteY8" fmla="*/ 1527 h 1047517"/>
                <a:gd name="connsiteX9" fmla="*/ 0 w 2874885"/>
                <a:gd name="connsiteY9" fmla="*/ 0 h 1047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74885" h="1047517">
                  <a:moveTo>
                    <a:pt x="0" y="0"/>
                  </a:moveTo>
                  <a:cubicBezTo>
                    <a:pt x="0" y="0"/>
                    <a:pt x="0" y="0"/>
                    <a:pt x="74706" y="0"/>
                  </a:cubicBezTo>
                  <a:cubicBezTo>
                    <a:pt x="428415" y="85522"/>
                    <a:pt x="791272" y="175626"/>
                    <a:pt x="1137358" y="306963"/>
                  </a:cubicBezTo>
                  <a:cubicBezTo>
                    <a:pt x="1446854" y="423029"/>
                    <a:pt x="1755968" y="547876"/>
                    <a:pt x="2063176" y="677113"/>
                  </a:cubicBezTo>
                  <a:lnTo>
                    <a:pt x="2874885" y="1029085"/>
                  </a:lnTo>
                  <a:lnTo>
                    <a:pt x="2874885" y="1047517"/>
                  </a:lnTo>
                  <a:lnTo>
                    <a:pt x="2060127" y="695057"/>
                  </a:lnTo>
                  <a:cubicBezTo>
                    <a:pt x="1751775" y="565438"/>
                    <a:pt x="1441517" y="439828"/>
                    <a:pt x="1131259" y="322235"/>
                  </a:cubicBezTo>
                  <a:cubicBezTo>
                    <a:pt x="765353" y="184789"/>
                    <a:pt x="379627" y="91631"/>
                    <a:pt x="7623" y="1527"/>
                  </a:cubicBezTo>
                  <a:cubicBezTo>
                    <a:pt x="4574" y="1527"/>
                    <a:pt x="3049" y="0"/>
                    <a:pt x="0" y="0"/>
                  </a:cubicBezTo>
                  <a:close/>
                </a:path>
              </a:pathLst>
            </a:custGeom>
            <a:solidFill>
              <a:srgbClr val="BDBF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88" name="Freeform: Shape 87"/>
            <p:cNvSpPr>
              <a:spLocks/>
            </p:cNvSpPr>
            <p:nvPr userDrawn="1"/>
          </p:nvSpPr>
          <p:spPr bwMode="auto">
            <a:xfrm>
              <a:off x="10070322" y="1"/>
              <a:ext cx="2122879" cy="848745"/>
            </a:xfrm>
            <a:custGeom>
              <a:avLst/>
              <a:gdLst>
                <a:gd name="connsiteX0" fmla="*/ 0 w 2122879"/>
                <a:gd name="connsiteY0" fmla="*/ 0 h 848745"/>
                <a:gd name="connsiteX1" fmla="*/ 59450 w 2122879"/>
                <a:gd name="connsiteY1" fmla="*/ 0 h 848745"/>
                <a:gd name="connsiteX2" fmla="*/ 457306 w 2122879"/>
                <a:gd name="connsiteY2" fmla="*/ 135875 h 848745"/>
                <a:gd name="connsiteX3" fmla="*/ 1346575 w 2122879"/>
                <a:gd name="connsiteY3" fmla="*/ 494263 h 848745"/>
                <a:gd name="connsiteX4" fmla="*/ 2122879 w 2122879"/>
                <a:gd name="connsiteY4" fmla="*/ 828990 h 848745"/>
                <a:gd name="connsiteX5" fmla="*/ 2122879 w 2122879"/>
                <a:gd name="connsiteY5" fmla="*/ 848745 h 848745"/>
                <a:gd name="connsiteX6" fmla="*/ 1343526 w 2122879"/>
                <a:gd name="connsiteY6" fmla="*/ 512010 h 848745"/>
                <a:gd name="connsiteX7" fmla="*/ 451208 w 2122879"/>
                <a:gd name="connsiteY7" fmla="*/ 152668 h 848745"/>
                <a:gd name="connsiteX8" fmla="*/ 0 w 2122879"/>
                <a:gd name="connsiteY8" fmla="*/ 0 h 848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22879" h="848745">
                  <a:moveTo>
                    <a:pt x="0" y="0"/>
                  </a:moveTo>
                  <a:cubicBezTo>
                    <a:pt x="0" y="0"/>
                    <a:pt x="0" y="0"/>
                    <a:pt x="59450" y="0"/>
                  </a:cubicBezTo>
                  <a:cubicBezTo>
                    <a:pt x="193593" y="41220"/>
                    <a:pt x="327736" y="85494"/>
                    <a:pt x="457306" y="135875"/>
                  </a:cubicBezTo>
                  <a:cubicBezTo>
                    <a:pt x="754555" y="249612"/>
                    <a:pt x="1051422" y="370220"/>
                    <a:pt x="1346575" y="494263"/>
                  </a:cubicBezTo>
                  <a:lnTo>
                    <a:pt x="2122879" y="828990"/>
                  </a:lnTo>
                  <a:lnTo>
                    <a:pt x="2122879" y="848745"/>
                  </a:lnTo>
                  <a:lnTo>
                    <a:pt x="1343526" y="512010"/>
                  </a:lnTo>
                  <a:cubicBezTo>
                    <a:pt x="1047230" y="387395"/>
                    <a:pt x="749219" y="266406"/>
                    <a:pt x="451208" y="152668"/>
                  </a:cubicBezTo>
                  <a:cubicBezTo>
                    <a:pt x="303346" y="96181"/>
                    <a:pt x="152435" y="45800"/>
                    <a:pt x="0" y="0"/>
                  </a:cubicBezTo>
                  <a:close/>
                </a:path>
              </a:pathLst>
            </a:custGeom>
            <a:solidFill>
              <a:srgbClr val="BDBF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90" name="Freeform: Shape 89"/>
            <p:cNvSpPr>
              <a:spLocks/>
            </p:cNvSpPr>
            <p:nvPr userDrawn="1"/>
          </p:nvSpPr>
          <p:spPr bwMode="auto">
            <a:xfrm>
              <a:off x="10636331" y="0"/>
              <a:ext cx="1556869" cy="650052"/>
            </a:xfrm>
            <a:custGeom>
              <a:avLst/>
              <a:gdLst>
                <a:gd name="connsiteX0" fmla="*/ 0 w 1556869"/>
                <a:gd name="connsiteY0" fmla="*/ 0 h 650052"/>
                <a:gd name="connsiteX1" fmla="*/ 48810 w 1556869"/>
                <a:gd name="connsiteY1" fmla="*/ 0 h 650052"/>
                <a:gd name="connsiteX2" fmla="*/ 858181 w 1556869"/>
                <a:gd name="connsiteY2" fmla="*/ 329785 h 650052"/>
                <a:gd name="connsiteX3" fmla="*/ 1556869 w 1556869"/>
                <a:gd name="connsiteY3" fmla="*/ 630286 h 650052"/>
                <a:gd name="connsiteX4" fmla="*/ 1556869 w 1556869"/>
                <a:gd name="connsiteY4" fmla="*/ 650052 h 650052"/>
                <a:gd name="connsiteX5" fmla="*/ 833776 w 1556869"/>
                <a:gd name="connsiteY5" fmla="*/ 338558 h 650052"/>
                <a:gd name="connsiteX6" fmla="*/ 0 w 1556869"/>
                <a:gd name="connsiteY6" fmla="*/ 0 h 650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56869" h="650052">
                  <a:moveTo>
                    <a:pt x="0" y="0"/>
                  </a:moveTo>
                  <a:cubicBezTo>
                    <a:pt x="0" y="0"/>
                    <a:pt x="0" y="0"/>
                    <a:pt x="48810" y="0"/>
                  </a:cubicBezTo>
                  <a:cubicBezTo>
                    <a:pt x="318791" y="106050"/>
                    <a:pt x="589154" y="216677"/>
                    <a:pt x="858181" y="329785"/>
                  </a:cubicBezTo>
                  <a:lnTo>
                    <a:pt x="1556869" y="630286"/>
                  </a:lnTo>
                  <a:lnTo>
                    <a:pt x="1556869" y="650052"/>
                  </a:lnTo>
                  <a:lnTo>
                    <a:pt x="833776" y="338558"/>
                  </a:lnTo>
                  <a:cubicBezTo>
                    <a:pt x="556741" y="222018"/>
                    <a:pt x="278371" y="108339"/>
                    <a:pt x="0" y="0"/>
                  </a:cubicBezTo>
                  <a:close/>
                </a:path>
              </a:pathLst>
            </a:custGeom>
            <a:solidFill>
              <a:srgbClr val="BCBE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86" name="Freeform: Shape 85"/>
            <p:cNvSpPr>
              <a:spLocks/>
            </p:cNvSpPr>
            <p:nvPr userDrawn="1"/>
          </p:nvSpPr>
          <p:spPr bwMode="auto">
            <a:xfrm>
              <a:off x="11128582" y="1"/>
              <a:ext cx="1064618" cy="451877"/>
            </a:xfrm>
            <a:custGeom>
              <a:avLst/>
              <a:gdLst>
                <a:gd name="connsiteX0" fmla="*/ 0 w 1064618"/>
                <a:gd name="connsiteY0" fmla="*/ 0 h 451877"/>
                <a:gd name="connsiteX1" fmla="*/ 47302 w 1064618"/>
                <a:gd name="connsiteY1" fmla="*/ 0 h 451877"/>
                <a:gd name="connsiteX2" fmla="*/ 609587 w 1064618"/>
                <a:gd name="connsiteY2" fmla="*/ 234961 h 451877"/>
                <a:gd name="connsiteX3" fmla="*/ 1064618 w 1064618"/>
                <a:gd name="connsiteY3" fmla="*/ 431330 h 451877"/>
                <a:gd name="connsiteX4" fmla="*/ 1064618 w 1064618"/>
                <a:gd name="connsiteY4" fmla="*/ 451877 h 451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4618" h="451877">
                  <a:moveTo>
                    <a:pt x="0" y="0"/>
                  </a:moveTo>
                  <a:cubicBezTo>
                    <a:pt x="0" y="0"/>
                    <a:pt x="0" y="0"/>
                    <a:pt x="47302" y="0"/>
                  </a:cubicBezTo>
                  <a:cubicBezTo>
                    <a:pt x="234985" y="76987"/>
                    <a:pt x="422667" y="155498"/>
                    <a:pt x="609587" y="234961"/>
                  </a:cubicBezTo>
                  <a:lnTo>
                    <a:pt x="1064618" y="431330"/>
                  </a:lnTo>
                  <a:lnTo>
                    <a:pt x="1064618" y="451877"/>
                  </a:lnTo>
                  <a:close/>
                </a:path>
              </a:pathLst>
            </a:custGeom>
            <a:solidFill>
              <a:srgbClr val="BCBE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81" name="Freeform: Shape 80"/>
            <p:cNvSpPr>
              <a:spLocks/>
            </p:cNvSpPr>
            <p:nvPr userDrawn="1"/>
          </p:nvSpPr>
          <p:spPr bwMode="auto">
            <a:xfrm>
              <a:off x="11599989" y="0"/>
              <a:ext cx="593211" cy="254233"/>
            </a:xfrm>
            <a:custGeom>
              <a:avLst/>
              <a:gdLst>
                <a:gd name="connsiteX0" fmla="*/ 0 w 593211"/>
                <a:gd name="connsiteY0" fmla="*/ 0 h 254233"/>
                <a:gd name="connsiteX1" fmla="*/ 47308 w 593211"/>
                <a:gd name="connsiteY1" fmla="*/ 0 h 254233"/>
                <a:gd name="connsiteX2" fmla="*/ 593211 w 593211"/>
                <a:gd name="connsiteY2" fmla="*/ 234288 h 254233"/>
                <a:gd name="connsiteX3" fmla="*/ 593211 w 593211"/>
                <a:gd name="connsiteY3" fmla="*/ 254233 h 254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3211" h="254233">
                  <a:moveTo>
                    <a:pt x="0" y="0"/>
                  </a:moveTo>
                  <a:cubicBezTo>
                    <a:pt x="0" y="0"/>
                    <a:pt x="0" y="0"/>
                    <a:pt x="47308" y="0"/>
                  </a:cubicBezTo>
                  <a:lnTo>
                    <a:pt x="593211" y="234288"/>
                  </a:lnTo>
                  <a:lnTo>
                    <a:pt x="593211" y="254233"/>
                  </a:lnTo>
                  <a:close/>
                </a:path>
              </a:pathLst>
            </a:custGeom>
            <a:solidFill>
              <a:srgbClr val="BBBD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83" name="Freeform: Shape 82"/>
            <p:cNvSpPr>
              <a:spLocks/>
            </p:cNvSpPr>
            <p:nvPr userDrawn="1"/>
          </p:nvSpPr>
          <p:spPr bwMode="auto">
            <a:xfrm>
              <a:off x="12063380" y="0"/>
              <a:ext cx="129821" cy="55510"/>
            </a:xfrm>
            <a:custGeom>
              <a:avLst/>
              <a:gdLst>
                <a:gd name="connsiteX0" fmla="*/ 0 w 129821"/>
                <a:gd name="connsiteY0" fmla="*/ 0 h 55510"/>
                <a:gd name="connsiteX1" fmla="*/ 47417 w 129821"/>
                <a:gd name="connsiteY1" fmla="*/ 0 h 55510"/>
                <a:gd name="connsiteX2" fmla="*/ 129821 w 129821"/>
                <a:gd name="connsiteY2" fmla="*/ 35410 h 55510"/>
                <a:gd name="connsiteX3" fmla="*/ 129821 w 129821"/>
                <a:gd name="connsiteY3" fmla="*/ 55510 h 55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821" h="55510">
                  <a:moveTo>
                    <a:pt x="0" y="0"/>
                  </a:moveTo>
                  <a:cubicBezTo>
                    <a:pt x="0" y="0"/>
                    <a:pt x="0" y="0"/>
                    <a:pt x="47417" y="0"/>
                  </a:cubicBezTo>
                  <a:lnTo>
                    <a:pt x="129821" y="35410"/>
                  </a:lnTo>
                  <a:lnTo>
                    <a:pt x="129821" y="55510"/>
                  </a:lnTo>
                  <a:close/>
                </a:path>
              </a:pathLst>
            </a:custGeom>
            <a:solidFill>
              <a:srgbClr val="BBBD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30" name="Freeform 19"/>
            <p:cNvSpPr>
              <a:spLocks/>
            </p:cNvSpPr>
            <p:nvPr userDrawn="1"/>
          </p:nvSpPr>
          <p:spPr bwMode="auto">
            <a:xfrm>
              <a:off x="-792" y="6070568"/>
              <a:ext cx="218066" cy="91396"/>
            </a:xfrm>
            <a:custGeom>
              <a:avLst/>
              <a:gdLst>
                <a:gd name="T0" fmla="*/ 0 w 143"/>
                <a:gd name="T1" fmla="*/ 0 h 60"/>
                <a:gd name="T2" fmla="*/ 0 w 143"/>
                <a:gd name="T3" fmla="*/ 2 h 60"/>
                <a:gd name="T4" fmla="*/ 138 w 143"/>
                <a:gd name="T5" fmla="*/ 60 h 60"/>
                <a:gd name="T6" fmla="*/ 143 w 143"/>
                <a:gd name="T7" fmla="*/ 59 h 60"/>
                <a:gd name="T8" fmla="*/ 0 w 143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60">
                  <a:moveTo>
                    <a:pt x="0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46" y="22"/>
                    <a:pt x="92" y="41"/>
                    <a:pt x="138" y="60"/>
                  </a:cubicBezTo>
                  <a:cubicBezTo>
                    <a:pt x="143" y="59"/>
                    <a:pt x="143" y="59"/>
                    <a:pt x="143" y="59"/>
                  </a:cubicBezTo>
                  <a:cubicBezTo>
                    <a:pt x="95" y="40"/>
                    <a:pt x="48" y="20"/>
                    <a:pt x="0" y="0"/>
                  </a:cubicBezTo>
                  <a:close/>
                </a:path>
              </a:pathLst>
            </a:custGeom>
            <a:solidFill>
              <a:srgbClr val="D6D8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1" name="Freeform 20"/>
            <p:cNvSpPr>
              <a:spLocks/>
            </p:cNvSpPr>
            <p:nvPr userDrawn="1"/>
          </p:nvSpPr>
          <p:spPr bwMode="auto">
            <a:xfrm>
              <a:off x="-792" y="5838072"/>
              <a:ext cx="582044" cy="259755"/>
            </a:xfrm>
            <a:custGeom>
              <a:avLst/>
              <a:gdLst>
                <a:gd name="T0" fmla="*/ 77 w 381"/>
                <a:gd name="T1" fmla="*/ 35 h 170"/>
                <a:gd name="T2" fmla="*/ 0 w 381"/>
                <a:gd name="T3" fmla="*/ 0 h 170"/>
                <a:gd name="T4" fmla="*/ 0 w 381"/>
                <a:gd name="T5" fmla="*/ 3 h 170"/>
                <a:gd name="T6" fmla="*/ 75 w 381"/>
                <a:gd name="T7" fmla="*/ 37 h 170"/>
                <a:gd name="T8" fmla="*/ 376 w 381"/>
                <a:gd name="T9" fmla="*/ 170 h 170"/>
                <a:gd name="T10" fmla="*/ 381 w 381"/>
                <a:gd name="T11" fmla="*/ 170 h 170"/>
                <a:gd name="T12" fmla="*/ 77 w 381"/>
                <a:gd name="T13" fmla="*/ 35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1" h="170">
                  <a:moveTo>
                    <a:pt x="77" y="35"/>
                  </a:moveTo>
                  <a:cubicBezTo>
                    <a:pt x="51" y="23"/>
                    <a:pt x="26" y="12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6" y="14"/>
                    <a:pt x="51" y="26"/>
                    <a:pt x="75" y="37"/>
                  </a:cubicBezTo>
                  <a:cubicBezTo>
                    <a:pt x="174" y="82"/>
                    <a:pt x="274" y="127"/>
                    <a:pt x="376" y="170"/>
                  </a:cubicBezTo>
                  <a:cubicBezTo>
                    <a:pt x="381" y="170"/>
                    <a:pt x="381" y="170"/>
                    <a:pt x="381" y="170"/>
                  </a:cubicBezTo>
                  <a:cubicBezTo>
                    <a:pt x="278" y="126"/>
                    <a:pt x="177" y="80"/>
                    <a:pt x="77" y="35"/>
                  </a:cubicBezTo>
                  <a:close/>
                </a:path>
              </a:pathLst>
            </a:custGeom>
            <a:solidFill>
              <a:srgbClr val="D6D7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2" name="Freeform 21"/>
            <p:cNvSpPr>
              <a:spLocks/>
            </p:cNvSpPr>
            <p:nvPr userDrawn="1"/>
          </p:nvSpPr>
          <p:spPr bwMode="auto">
            <a:xfrm>
              <a:off x="-792" y="5637644"/>
              <a:ext cx="920366" cy="400856"/>
            </a:xfrm>
            <a:custGeom>
              <a:avLst/>
              <a:gdLst>
                <a:gd name="T0" fmla="*/ 116 w 603"/>
                <a:gd name="T1" fmla="*/ 53 h 263"/>
                <a:gd name="T2" fmla="*/ 0 w 603"/>
                <a:gd name="T3" fmla="*/ 0 h 263"/>
                <a:gd name="T4" fmla="*/ 0 w 603"/>
                <a:gd name="T5" fmla="*/ 3 h 263"/>
                <a:gd name="T6" fmla="*/ 115 w 603"/>
                <a:gd name="T7" fmla="*/ 56 h 263"/>
                <a:gd name="T8" fmla="*/ 597 w 603"/>
                <a:gd name="T9" fmla="*/ 263 h 263"/>
                <a:gd name="T10" fmla="*/ 603 w 603"/>
                <a:gd name="T11" fmla="*/ 262 h 263"/>
                <a:gd name="T12" fmla="*/ 116 w 603"/>
                <a:gd name="T13" fmla="*/ 53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3" h="263">
                  <a:moveTo>
                    <a:pt x="116" y="53"/>
                  </a:moveTo>
                  <a:cubicBezTo>
                    <a:pt x="78" y="36"/>
                    <a:pt x="39" y="18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9" y="21"/>
                    <a:pt x="77" y="38"/>
                    <a:pt x="115" y="56"/>
                  </a:cubicBezTo>
                  <a:cubicBezTo>
                    <a:pt x="273" y="128"/>
                    <a:pt x="434" y="202"/>
                    <a:pt x="597" y="263"/>
                  </a:cubicBezTo>
                  <a:cubicBezTo>
                    <a:pt x="603" y="262"/>
                    <a:pt x="603" y="262"/>
                    <a:pt x="603" y="262"/>
                  </a:cubicBezTo>
                  <a:cubicBezTo>
                    <a:pt x="438" y="201"/>
                    <a:pt x="275" y="126"/>
                    <a:pt x="116" y="53"/>
                  </a:cubicBezTo>
                  <a:close/>
                </a:path>
              </a:pathLst>
            </a:custGeom>
            <a:solidFill>
              <a:srgbClr val="D5D7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3" name="Freeform 22"/>
            <p:cNvSpPr>
              <a:spLocks/>
            </p:cNvSpPr>
            <p:nvPr userDrawn="1"/>
          </p:nvSpPr>
          <p:spPr bwMode="auto">
            <a:xfrm>
              <a:off x="-792" y="5435612"/>
              <a:ext cx="1308395" cy="535544"/>
            </a:xfrm>
            <a:custGeom>
              <a:avLst/>
              <a:gdLst>
                <a:gd name="T0" fmla="*/ 158 w 858"/>
                <a:gd name="T1" fmla="*/ 72 h 351"/>
                <a:gd name="T2" fmla="*/ 0 w 858"/>
                <a:gd name="T3" fmla="*/ 0 h 351"/>
                <a:gd name="T4" fmla="*/ 0 w 858"/>
                <a:gd name="T5" fmla="*/ 4 h 351"/>
                <a:gd name="T6" fmla="*/ 157 w 858"/>
                <a:gd name="T7" fmla="*/ 75 h 351"/>
                <a:gd name="T8" fmla="*/ 850 w 858"/>
                <a:gd name="T9" fmla="*/ 351 h 351"/>
                <a:gd name="T10" fmla="*/ 858 w 858"/>
                <a:gd name="T11" fmla="*/ 350 h 351"/>
                <a:gd name="T12" fmla="*/ 158 w 858"/>
                <a:gd name="T13" fmla="*/ 72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8" h="351">
                  <a:moveTo>
                    <a:pt x="158" y="72"/>
                  </a:moveTo>
                  <a:cubicBezTo>
                    <a:pt x="106" y="48"/>
                    <a:pt x="53" y="24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53" y="27"/>
                    <a:pt x="105" y="51"/>
                    <a:pt x="157" y="75"/>
                  </a:cubicBezTo>
                  <a:cubicBezTo>
                    <a:pt x="382" y="179"/>
                    <a:pt x="614" y="287"/>
                    <a:pt x="850" y="351"/>
                  </a:cubicBezTo>
                  <a:cubicBezTo>
                    <a:pt x="858" y="350"/>
                    <a:pt x="858" y="350"/>
                    <a:pt x="858" y="350"/>
                  </a:cubicBezTo>
                  <a:cubicBezTo>
                    <a:pt x="619" y="286"/>
                    <a:pt x="385" y="177"/>
                    <a:pt x="158" y="72"/>
                  </a:cubicBezTo>
                  <a:close/>
                </a:path>
              </a:pathLst>
            </a:custGeom>
            <a:solidFill>
              <a:srgbClr val="D5D6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4" name="Freeform 23"/>
            <p:cNvSpPr>
              <a:spLocks/>
            </p:cNvSpPr>
            <p:nvPr userDrawn="1"/>
          </p:nvSpPr>
          <p:spPr bwMode="auto">
            <a:xfrm>
              <a:off x="-792" y="5233581"/>
              <a:ext cx="1858370" cy="642973"/>
            </a:xfrm>
            <a:custGeom>
              <a:avLst/>
              <a:gdLst>
                <a:gd name="T0" fmla="*/ 944 w 1218"/>
                <a:gd name="T1" fmla="*/ 377 h 421"/>
                <a:gd name="T2" fmla="*/ 201 w 1218"/>
                <a:gd name="T3" fmla="*/ 92 h 421"/>
                <a:gd name="T4" fmla="*/ 0 w 1218"/>
                <a:gd name="T5" fmla="*/ 0 h 421"/>
                <a:gd name="T6" fmla="*/ 0 w 1218"/>
                <a:gd name="T7" fmla="*/ 4 h 421"/>
                <a:gd name="T8" fmla="*/ 199 w 1218"/>
                <a:gd name="T9" fmla="*/ 95 h 421"/>
                <a:gd name="T10" fmla="*/ 943 w 1218"/>
                <a:gd name="T11" fmla="*/ 380 h 421"/>
                <a:gd name="T12" fmla="*/ 1205 w 1218"/>
                <a:gd name="T13" fmla="*/ 421 h 421"/>
                <a:gd name="T14" fmla="*/ 1218 w 1218"/>
                <a:gd name="T15" fmla="*/ 418 h 421"/>
                <a:gd name="T16" fmla="*/ 944 w 1218"/>
                <a:gd name="T17" fmla="*/ 377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18" h="421">
                  <a:moveTo>
                    <a:pt x="944" y="377"/>
                  </a:moveTo>
                  <a:cubicBezTo>
                    <a:pt x="691" y="321"/>
                    <a:pt x="442" y="204"/>
                    <a:pt x="201" y="92"/>
                  </a:cubicBezTo>
                  <a:cubicBezTo>
                    <a:pt x="135" y="61"/>
                    <a:pt x="67" y="3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67" y="33"/>
                    <a:pt x="134" y="65"/>
                    <a:pt x="199" y="95"/>
                  </a:cubicBezTo>
                  <a:cubicBezTo>
                    <a:pt x="441" y="208"/>
                    <a:pt x="690" y="324"/>
                    <a:pt x="943" y="380"/>
                  </a:cubicBezTo>
                  <a:cubicBezTo>
                    <a:pt x="1030" y="399"/>
                    <a:pt x="1117" y="412"/>
                    <a:pt x="1205" y="421"/>
                  </a:cubicBezTo>
                  <a:cubicBezTo>
                    <a:pt x="1218" y="418"/>
                    <a:pt x="1218" y="418"/>
                    <a:pt x="1218" y="418"/>
                  </a:cubicBezTo>
                  <a:cubicBezTo>
                    <a:pt x="1126" y="410"/>
                    <a:pt x="1034" y="397"/>
                    <a:pt x="944" y="377"/>
                  </a:cubicBezTo>
                  <a:close/>
                </a:path>
              </a:pathLst>
            </a:custGeom>
            <a:solidFill>
              <a:srgbClr val="D4D6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5" name="Freeform 24"/>
            <p:cNvSpPr>
              <a:spLocks/>
            </p:cNvSpPr>
            <p:nvPr userDrawn="1"/>
          </p:nvSpPr>
          <p:spPr bwMode="auto">
            <a:xfrm>
              <a:off x="-792" y="5034756"/>
              <a:ext cx="3202040" cy="710317"/>
            </a:xfrm>
            <a:custGeom>
              <a:avLst/>
              <a:gdLst>
                <a:gd name="T0" fmla="*/ 2068 w 2100"/>
                <a:gd name="T1" fmla="*/ 397 h 466"/>
                <a:gd name="T2" fmla="*/ 994 w 2100"/>
                <a:gd name="T3" fmla="*/ 394 h 466"/>
                <a:gd name="T4" fmla="*/ 245 w 2100"/>
                <a:gd name="T5" fmla="*/ 111 h 466"/>
                <a:gd name="T6" fmla="*/ 0 w 2100"/>
                <a:gd name="T7" fmla="*/ 0 h 466"/>
                <a:gd name="T8" fmla="*/ 0 w 2100"/>
                <a:gd name="T9" fmla="*/ 3 h 466"/>
                <a:gd name="T10" fmla="*/ 243 w 2100"/>
                <a:gd name="T11" fmla="*/ 114 h 466"/>
                <a:gd name="T12" fmla="*/ 994 w 2100"/>
                <a:gd name="T13" fmla="*/ 397 h 466"/>
                <a:gd name="T14" fmla="*/ 2059 w 2100"/>
                <a:gd name="T15" fmla="*/ 402 h 466"/>
                <a:gd name="T16" fmla="*/ 2100 w 2100"/>
                <a:gd name="T17" fmla="*/ 394 h 466"/>
                <a:gd name="T18" fmla="*/ 2068 w 2100"/>
                <a:gd name="T19" fmla="*/ 397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00" h="466">
                  <a:moveTo>
                    <a:pt x="2068" y="397"/>
                  </a:moveTo>
                  <a:cubicBezTo>
                    <a:pt x="1712" y="430"/>
                    <a:pt x="1344" y="463"/>
                    <a:pt x="994" y="394"/>
                  </a:cubicBezTo>
                  <a:cubicBezTo>
                    <a:pt x="740" y="343"/>
                    <a:pt x="488" y="225"/>
                    <a:pt x="245" y="111"/>
                  </a:cubicBezTo>
                  <a:cubicBezTo>
                    <a:pt x="164" y="74"/>
                    <a:pt x="81" y="35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81" y="38"/>
                    <a:pt x="163" y="77"/>
                    <a:pt x="243" y="114"/>
                  </a:cubicBezTo>
                  <a:cubicBezTo>
                    <a:pt x="487" y="229"/>
                    <a:pt x="738" y="347"/>
                    <a:pt x="994" y="397"/>
                  </a:cubicBezTo>
                  <a:cubicBezTo>
                    <a:pt x="1340" y="466"/>
                    <a:pt x="1705" y="434"/>
                    <a:pt x="2059" y="402"/>
                  </a:cubicBezTo>
                  <a:cubicBezTo>
                    <a:pt x="2100" y="394"/>
                    <a:pt x="2100" y="394"/>
                    <a:pt x="2100" y="394"/>
                  </a:cubicBezTo>
                  <a:cubicBezTo>
                    <a:pt x="2089" y="395"/>
                    <a:pt x="2078" y="396"/>
                    <a:pt x="2068" y="397"/>
                  </a:cubicBezTo>
                  <a:close/>
                </a:path>
              </a:pathLst>
            </a:custGeom>
            <a:solidFill>
              <a:srgbClr val="D4D5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8" name="Freeform: Shape 77"/>
            <p:cNvSpPr>
              <a:spLocks/>
            </p:cNvSpPr>
            <p:nvPr userDrawn="1"/>
          </p:nvSpPr>
          <p:spPr bwMode="auto">
            <a:xfrm>
              <a:off x="-1" y="29070"/>
              <a:ext cx="10203407" cy="4377143"/>
            </a:xfrm>
            <a:custGeom>
              <a:avLst/>
              <a:gdLst>
                <a:gd name="connsiteX0" fmla="*/ 0 w 10204800"/>
                <a:gd name="connsiteY0" fmla="*/ 0 h 4377740"/>
                <a:gd name="connsiteX1" fmla="*/ 12323 w 10204800"/>
                <a:gd name="connsiteY1" fmla="*/ 5280 h 4377740"/>
                <a:gd name="connsiteX2" fmla="*/ 1762640 w 10204800"/>
                <a:gd name="connsiteY2" fmla="*/ 755145 h 4377740"/>
                <a:gd name="connsiteX3" fmla="*/ 2185053 w 10204800"/>
                <a:gd name="connsiteY3" fmla="*/ 952075 h 4377740"/>
                <a:gd name="connsiteX4" fmla="*/ 3302846 w 10204800"/>
                <a:gd name="connsiteY4" fmla="*/ 1368834 h 4377740"/>
                <a:gd name="connsiteX5" fmla="*/ 4754605 w 10204800"/>
                <a:gd name="connsiteY5" fmla="*/ 1139845 h 4377740"/>
                <a:gd name="connsiteX6" fmla="*/ 5045872 w 10204800"/>
                <a:gd name="connsiteY6" fmla="*/ 1051303 h 4377740"/>
                <a:gd name="connsiteX7" fmla="*/ 5103820 w 10204800"/>
                <a:gd name="connsiteY7" fmla="*/ 1034511 h 4377740"/>
                <a:gd name="connsiteX8" fmla="*/ 6657751 w 10204800"/>
                <a:gd name="connsiteY8" fmla="*/ 930703 h 4377740"/>
                <a:gd name="connsiteX9" fmla="*/ 7763344 w 10204800"/>
                <a:gd name="connsiteY9" fmla="*/ 2187085 h 4377740"/>
                <a:gd name="connsiteX10" fmla="*/ 7827393 w 10204800"/>
                <a:gd name="connsiteY10" fmla="*/ 2300053 h 4377740"/>
                <a:gd name="connsiteX11" fmla="*/ 7960064 w 10204800"/>
                <a:gd name="connsiteY11" fmla="*/ 2535147 h 4377740"/>
                <a:gd name="connsiteX12" fmla="*/ 8937561 w 10204800"/>
                <a:gd name="connsiteY12" fmla="*/ 3800690 h 4377740"/>
                <a:gd name="connsiteX13" fmla="*/ 10005031 w 10204800"/>
                <a:gd name="connsiteY13" fmla="*/ 4296831 h 4377740"/>
                <a:gd name="connsiteX14" fmla="*/ 10204800 w 10204800"/>
                <a:gd name="connsiteY14" fmla="*/ 4373160 h 4377740"/>
                <a:gd name="connsiteX15" fmla="*/ 10181926 w 10204800"/>
                <a:gd name="connsiteY15" fmla="*/ 4377740 h 4377740"/>
                <a:gd name="connsiteX16" fmla="*/ 10000456 w 10204800"/>
                <a:gd name="connsiteY16" fmla="*/ 4307517 h 4377740"/>
                <a:gd name="connsiteX17" fmla="*/ 8931461 w 10204800"/>
                <a:gd name="connsiteY17" fmla="*/ 3809849 h 4377740"/>
                <a:gd name="connsiteX18" fmla="*/ 7949389 w 10204800"/>
                <a:gd name="connsiteY18" fmla="*/ 2541254 h 4377740"/>
                <a:gd name="connsiteX19" fmla="*/ 7816718 w 10204800"/>
                <a:gd name="connsiteY19" fmla="*/ 2306159 h 4377740"/>
                <a:gd name="connsiteX20" fmla="*/ 7752670 w 10204800"/>
                <a:gd name="connsiteY20" fmla="*/ 2193192 h 4377740"/>
                <a:gd name="connsiteX21" fmla="*/ 6653176 w 10204800"/>
                <a:gd name="connsiteY21" fmla="*/ 941389 h 4377740"/>
                <a:gd name="connsiteX22" fmla="*/ 5106870 w 10204800"/>
                <a:gd name="connsiteY22" fmla="*/ 1045197 h 4377740"/>
                <a:gd name="connsiteX23" fmla="*/ 5048921 w 10204800"/>
                <a:gd name="connsiteY23" fmla="*/ 1063516 h 4377740"/>
                <a:gd name="connsiteX24" fmla="*/ 4759180 w 10204800"/>
                <a:gd name="connsiteY24" fmla="*/ 1152058 h 4377740"/>
                <a:gd name="connsiteX25" fmla="*/ 3299796 w 10204800"/>
                <a:gd name="connsiteY25" fmla="*/ 1381046 h 4377740"/>
                <a:gd name="connsiteX26" fmla="*/ 2180478 w 10204800"/>
                <a:gd name="connsiteY26" fmla="*/ 962761 h 4377740"/>
                <a:gd name="connsiteX27" fmla="*/ 1758065 w 10204800"/>
                <a:gd name="connsiteY27" fmla="*/ 765831 h 4377740"/>
                <a:gd name="connsiteX28" fmla="*/ 292956 w 10204800"/>
                <a:gd name="connsiteY28" fmla="*/ 138154 h 4377740"/>
                <a:gd name="connsiteX29" fmla="*/ 0 w 10204800"/>
                <a:gd name="connsiteY29" fmla="*/ 12647 h 4377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204800" h="4377740">
                  <a:moveTo>
                    <a:pt x="0" y="0"/>
                  </a:moveTo>
                  <a:lnTo>
                    <a:pt x="12323" y="5280"/>
                  </a:lnTo>
                  <a:cubicBezTo>
                    <a:pt x="95671" y="40988"/>
                    <a:pt x="429065" y="183819"/>
                    <a:pt x="1762640" y="755145"/>
                  </a:cubicBezTo>
                  <a:cubicBezTo>
                    <a:pt x="1899886" y="813155"/>
                    <a:pt x="2038657" y="880325"/>
                    <a:pt x="2185053" y="952075"/>
                  </a:cubicBezTo>
                  <a:cubicBezTo>
                    <a:pt x="2551042" y="1127633"/>
                    <a:pt x="2929232" y="1310823"/>
                    <a:pt x="3302846" y="1368834"/>
                  </a:cubicBezTo>
                  <a:cubicBezTo>
                    <a:pt x="3784732" y="1443636"/>
                    <a:pt x="4278818" y="1289451"/>
                    <a:pt x="4754605" y="1139845"/>
                  </a:cubicBezTo>
                  <a:cubicBezTo>
                    <a:pt x="4855252" y="1109313"/>
                    <a:pt x="4949799" y="1078782"/>
                    <a:pt x="5045872" y="1051303"/>
                  </a:cubicBezTo>
                  <a:cubicBezTo>
                    <a:pt x="5045872" y="1051303"/>
                    <a:pt x="5045872" y="1051303"/>
                    <a:pt x="5103820" y="1034511"/>
                  </a:cubicBezTo>
                  <a:cubicBezTo>
                    <a:pt x="5602481" y="887958"/>
                    <a:pt x="6169765" y="723087"/>
                    <a:pt x="6657751" y="930703"/>
                  </a:cubicBezTo>
                  <a:cubicBezTo>
                    <a:pt x="7173186" y="1149005"/>
                    <a:pt x="7487327" y="1700103"/>
                    <a:pt x="7763344" y="2187085"/>
                  </a:cubicBezTo>
                  <a:cubicBezTo>
                    <a:pt x="7784694" y="2225250"/>
                    <a:pt x="7806043" y="2263415"/>
                    <a:pt x="7827393" y="2300053"/>
                  </a:cubicBezTo>
                  <a:cubicBezTo>
                    <a:pt x="7871616" y="2376382"/>
                    <a:pt x="7914315" y="2454238"/>
                    <a:pt x="7960064" y="2535147"/>
                  </a:cubicBezTo>
                  <a:cubicBezTo>
                    <a:pt x="8223881" y="3012970"/>
                    <a:pt x="8498373" y="3506058"/>
                    <a:pt x="8937561" y="3800690"/>
                  </a:cubicBezTo>
                  <a:cubicBezTo>
                    <a:pt x="9250177" y="4011359"/>
                    <a:pt x="9632941" y="4156385"/>
                    <a:pt x="10005031" y="4296831"/>
                  </a:cubicBezTo>
                  <a:cubicBezTo>
                    <a:pt x="10072129" y="4322783"/>
                    <a:pt x="10139227" y="4347208"/>
                    <a:pt x="10204800" y="4373160"/>
                  </a:cubicBezTo>
                  <a:cubicBezTo>
                    <a:pt x="10204800" y="4373160"/>
                    <a:pt x="10204800" y="4373160"/>
                    <a:pt x="10181926" y="4377740"/>
                  </a:cubicBezTo>
                  <a:cubicBezTo>
                    <a:pt x="10122452" y="4354841"/>
                    <a:pt x="10061454" y="4331943"/>
                    <a:pt x="10000456" y="4307517"/>
                  </a:cubicBezTo>
                  <a:cubicBezTo>
                    <a:pt x="9628366" y="4167071"/>
                    <a:pt x="9244077" y="4022045"/>
                    <a:pt x="8931461" y="3809849"/>
                  </a:cubicBezTo>
                  <a:cubicBezTo>
                    <a:pt x="8489224" y="3513691"/>
                    <a:pt x="8214732" y="3019076"/>
                    <a:pt x="7949389" y="2541254"/>
                  </a:cubicBezTo>
                  <a:cubicBezTo>
                    <a:pt x="7903641" y="2460345"/>
                    <a:pt x="7860942" y="2382489"/>
                    <a:pt x="7816718" y="2306159"/>
                  </a:cubicBezTo>
                  <a:cubicBezTo>
                    <a:pt x="7795369" y="2269521"/>
                    <a:pt x="7774019" y="2231356"/>
                    <a:pt x="7752670" y="2193192"/>
                  </a:cubicBezTo>
                  <a:cubicBezTo>
                    <a:pt x="7478178" y="1707736"/>
                    <a:pt x="7165561" y="1158164"/>
                    <a:pt x="6653176" y="941389"/>
                  </a:cubicBezTo>
                  <a:cubicBezTo>
                    <a:pt x="6168240" y="735299"/>
                    <a:pt x="5604006" y="900171"/>
                    <a:pt x="5106870" y="1045197"/>
                  </a:cubicBezTo>
                  <a:cubicBezTo>
                    <a:pt x="5106870" y="1045197"/>
                    <a:pt x="5106870" y="1045197"/>
                    <a:pt x="5048921" y="1063516"/>
                  </a:cubicBezTo>
                  <a:cubicBezTo>
                    <a:pt x="4954374" y="1090995"/>
                    <a:pt x="4858302" y="1120000"/>
                    <a:pt x="4759180" y="1152058"/>
                  </a:cubicBezTo>
                  <a:cubicBezTo>
                    <a:pt x="4280343" y="1301664"/>
                    <a:pt x="3786257" y="1455849"/>
                    <a:pt x="3299796" y="1381046"/>
                  </a:cubicBezTo>
                  <a:cubicBezTo>
                    <a:pt x="2926182" y="1323036"/>
                    <a:pt x="2546468" y="1139845"/>
                    <a:pt x="2180478" y="962761"/>
                  </a:cubicBezTo>
                  <a:cubicBezTo>
                    <a:pt x="2032557" y="891011"/>
                    <a:pt x="1895311" y="823841"/>
                    <a:pt x="1758065" y="765831"/>
                  </a:cubicBezTo>
                  <a:cubicBezTo>
                    <a:pt x="1758065" y="765831"/>
                    <a:pt x="1758065" y="765831"/>
                    <a:pt x="292956" y="138154"/>
                  </a:cubicBezTo>
                  <a:lnTo>
                    <a:pt x="0" y="12647"/>
                  </a:lnTo>
                  <a:close/>
                </a:path>
              </a:pathLst>
            </a:custGeom>
            <a:solidFill>
              <a:srgbClr val="C8C9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37" name="Freeform 26"/>
            <p:cNvSpPr>
              <a:spLocks/>
            </p:cNvSpPr>
            <p:nvPr userDrawn="1"/>
          </p:nvSpPr>
          <p:spPr bwMode="auto">
            <a:xfrm>
              <a:off x="366392" y="0"/>
              <a:ext cx="10178543" cy="4345283"/>
            </a:xfrm>
            <a:custGeom>
              <a:avLst/>
              <a:gdLst>
                <a:gd name="T0" fmla="*/ 6673 w 6676"/>
                <a:gd name="T1" fmla="*/ 2843 h 2847"/>
                <a:gd name="T2" fmla="*/ 6368 w 6676"/>
                <a:gd name="T3" fmla="*/ 2722 h 2847"/>
                <a:gd name="T4" fmla="*/ 5668 w 6676"/>
                <a:gd name="T5" fmla="*/ 2398 h 2847"/>
                <a:gd name="T6" fmla="*/ 5018 w 6676"/>
                <a:gd name="T7" fmla="*/ 1599 h 2847"/>
                <a:gd name="T8" fmla="*/ 4934 w 6676"/>
                <a:gd name="T9" fmla="*/ 1458 h 2847"/>
                <a:gd name="T10" fmla="*/ 4897 w 6676"/>
                <a:gd name="T11" fmla="*/ 1398 h 2847"/>
                <a:gd name="T12" fmla="*/ 4161 w 6676"/>
                <a:gd name="T13" fmla="*/ 597 h 2847"/>
                <a:gd name="T14" fmla="*/ 3146 w 6676"/>
                <a:gd name="T15" fmla="*/ 634 h 2847"/>
                <a:gd name="T16" fmla="*/ 3109 w 6676"/>
                <a:gd name="T17" fmla="*/ 643 h 2847"/>
                <a:gd name="T18" fmla="*/ 2921 w 6676"/>
                <a:gd name="T19" fmla="*/ 692 h 2847"/>
                <a:gd name="T20" fmla="*/ 1972 w 6676"/>
                <a:gd name="T21" fmla="*/ 806 h 2847"/>
                <a:gd name="T22" fmla="*/ 1241 w 6676"/>
                <a:gd name="T23" fmla="*/ 531 h 2847"/>
                <a:gd name="T24" fmla="*/ 963 w 6676"/>
                <a:gd name="T25" fmla="*/ 403 h 2847"/>
                <a:gd name="T26" fmla="*/ 21 w 6676"/>
                <a:gd name="T27" fmla="*/ 0 h 2847"/>
                <a:gd name="T28" fmla="*/ 0 w 6676"/>
                <a:gd name="T29" fmla="*/ 0 h 2847"/>
                <a:gd name="T30" fmla="*/ 960 w 6676"/>
                <a:gd name="T31" fmla="*/ 410 h 2847"/>
                <a:gd name="T32" fmla="*/ 1238 w 6676"/>
                <a:gd name="T33" fmla="*/ 539 h 2847"/>
                <a:gd name="T34" fmla="*/ 1971 w 6676"/>
                <a:gd name="T35" fmla="*/ 814 h 2847"/>
                <a:gd name="T36" fmla="*/ 2923 w 6676"/>
                <a:gd name="T37" fmla="*/ 699 h 2847"/>
                <a:gd name="T38" fmla="*/ 3111 w 6676"/>
                <a:gd name="T39" fmla="*/ 651 h 2847"/>
                <a:gd name="T40" fmla="*/ 3148 w 6676"/>
                <a:gd name="T41" fmla="*/ 642 h 2847"/>
                <a:gd name="T42" fmla="*/ 4158 w 6676"/>
                <a:gd name="T43" fmla="*/ 604 h 2847"/>
                <a:gd name="T44" fmla="*/ 4890 w 6676"/>
                <a:gd name="T45" fmla="*/ 1402 h 2847"/>
                <a:gd name="T46" fmla="*/ 4927 w 6676"/>
                <a:gd name="T47" fmla="*/ 1463 h 2847"/>
                <a:gd name="T48" fmla="*/ 5011 w 6676"/>
                <a:gd name="T49" fmla="*/ 1603 h 2847"/>
                <a:gd name="T50" fmla="*/ 5663 w 6676"/>
                <a:gd name="T51" fmla="*/ 2405 h 2847"/>
                <a:gd name="T52" fmla="*/ 6365 w 6676"/>
                <a:gd name="T53" fmla="*/ 2730 h 2847"/>
                <a:gd name="T54" fmla="*/ 6661 w 6676"/>
                <a:gd name="T55" fmla="*/ 2847 h 2847"/>
                <a:gd name="T56" fmla="*/ 6676 w 6676"/>
                <a:gd name="T57" fmla="*/ 2845 h 2847"/>
                <a:gd name="T58" fmla="*/ 6673 w 6676"/>
                <a:gd name="T59" fmla="*/ 2843 h 28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676" h="2847">
                  <a:moveTo>
                    <a:pt x="6673" y="2843"/>
                  </a:moveTo>
                  <a:cubicBezTo>
                    <a:pt x="6575" y="2801"/>
                    <a:pt x="6474" y="2763"/>
                    <a:pt x="6368" y="2722"/>
                  </a:cubicBezTo>
                  <a:cubicBezTo>
                    <a:pt x="6125" y="2630"/>
                    <a:pt x="5875" y="2535"/>
                    <a:pt x="5668" y="2398"/>
                  </a:cubicBezTo>
                  <a:cubicBezTo>
                    <a:pt x="5381" y="2210"/>
                    <a:pt x="5196" y="1899"/>
                    <a:pt x="5018" y="1599"/>
                  </a:cubicBezTo>
                  <a:cubicBezTo>
                    <a:pt x="4990" y="1552"/>
                    <a:pt x="4962" y="1504"/>
                    <a:pt x="4934" y="1458"/>
                  </a:cubicBezTo>
                  <a:cubicBezTo>
                    <a:pt x="4921" y="1438"/>
                    <a:pt x="4909" y="1418"/>
                    <a:pt x="4897" y="1398"/>
                  </a:cubicBezTo>
                  <a:cubicBezTo>
                    <a:pt x="4710" y="1089"/>
                    <a:pt x="4498" y="739"/>
                    <a:pt x="4161" y="597"/>
                  </a:cubicBezTo>
                  <a:cubicBezTo>
                    <a:pt x="3844" y="462"/>
                    <a:pt x="3473" y="553"/>
                    <a:pt x="3146" y="634"/>
                  </a:cubicBezTo>
                  <a:cubicBezTo>
                    <a:pt x="3109" y="643"/>
                    <a:pt x="3109" y="643"/>
                    <a:pt x="3109" y="643"/>
                  </a:cubicBezTo>
                  <a:cubicBezTo>
                    <a:pt x="3047" y="658"/>
                    <a:pt x="2983" y="675"/>
                    <a:pt x="2921" y="692"/>
                  </a:cubicBezTo>
                  <a:cubicBezTo>
                    <a:pt x="2608" y="774"/>
                    <a:pt x="2285" y="859"/>
                    <a:pt x="1972" y="806"/>
                  </a:cubicBezTo>
                  <a:cubicBezTo>
                    <a:pt x="1727" y="765"/>
                    <a:pt x="1480" y="646"/>
                    <a:pt x="1241" y="531"/>
                  </a:cubicBezTo>
                  <a:cubicBezTo>
                    <a:pt x="1145" y="485"/>
                    <a:pt x="1054" y="441"/>
                    <a:pt x="963" y="403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60" y="410"/>
                    <a:pt x="960" y="410"/>
                    <a:pt x="960" y="410"/>
                  </a:cubicBezTo>
                  <a:cubicBezTo>
                    <a:pt x="1050" y="449"/>
                    <a:pt x="1141" y="492"/>
                    <a:pt x="1238" y="539"/>
                  </a:cubicBezTo>
                  <a:cubicBezTo>
                    <a:pt x="1477" y="654"/>
                    <a:pt x="1725" y="772"/>
                    <a:pt x="1971" y="814"/>
                  </a:cubicBezTo>
                  <a:cubicBezTo>
                    <a:pt x="2286" y="868"/>
                    <a:pt x="2610" y="782"/>
                    <a:pt x="2923" y="699"/>
                  </a:cubicBezTo>
                  <a:cubicBezTo>
                    <a:pt x="2985" y="683"/>
                    <a:pt x="3049" y="666"/>
                    <a:pt x="3111" y="651"/>
                  </a:cubicBezTo>
                  <a:cubicBezTo>
                    <a:pt x="3148" y="642"/>
                    <a:pt x="3148" y="642"/>
                    <a:pt x="3148" y="642"/>
                  </a:cubicBezTo>
                  <a:cubicBezTo>
                    <a:pt x="3474" y="561"/>
                    <a:pt x="3843" y="470"/>
                    <a:pt x="4158" y="604"/>
                  </a:cubicBezTo>
                  <a:cubicBezTo>
                    <a:pt x="4492" y="746"/>
                    <a:pt x="4703" y="1094"/>
                    <a:pt x="4890" y="1402"/>
                  </a:cubicBezTo>
                  <a:cubicBezTo>
                    <a:pt x="4902" y="1422"/>
                    <a:pt x="4915" y="1443"/>
                    <a:pt x="4927" y="1463"/>
                  </a:cubicBezTo>
                  <a:cubicBezTo>
                    <a:pt x="4955" y="1508"/>
                    <a:pt x="4983" y="1556"/>
                    <a:pt x="5011" y="1603"/>
                  </a:cubicBezTo>
                  <a:cubicBezTo>
                    <a:pt x="5190" y="1904"/>
                    <a:pt x="5375" y="2216"/>
                    <a:pt x="5663" y="2405"/>
                  </a:cubicBezTo>
                  <a:cubicBezTo>
                    <a:pt x="5871" y="2542"/>
                    <a:pt x="6122" y="2637"/>
                    <a:pt x="6365" y="2730"/>
                  </a:cubicBezTo>
                  <a:cubicBezTo>
                    <a:pt x="6468" y="2769"/>
                    <a:pt x="6566" y="2807"/>
                    <a:pt x="6661" y="2847"/>
                  </a:cubicBezTo>
                  <a:cubicBezTo>
                    <a:pt x="6676" y="2845"/>
                    <a:pt x="6676" y="2845"/>
                    <a:pt x="6676" y="2845"/>
                  </a:cubicBezTo>
                  <a:lnTo>
                    <a:pt x="6673" y="2843"/>
                  </a:lnTo>
                  <a:close/>
                </a:path>
              </a:pathLst>
            </a:custGeom>
            <a:solidFill>
              <a:srgbClr val="C7C9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8" name="Freeform 27"/>
            <p:cNvSpPr>
              <a:spLocks/>
            </p:cNvSpPr>
            <p:nvPr userDrawn="1"/>
          </p:nvSpPr>
          <p:spPr bwMode="auto">
            <a:xfrm>
              <a:off x="834592" y="0"/>
              <a:ext cx="10042252" cy="4285956"/>
            </a:xfrm>
            <a:custGeom>
              <a:avLst/>
              <a:gdLst>
                <a:gd name="T0" fmla="*/ 6413 w 6586"/>
                <a:gd name="T1" fmla="*/ 2732 h 2809"/>
                <a:gd name="T2" fmla="*/ 6108 w 6586"/>
                <a:gd name="T3" fmla="*/ 2611 h 2809"/>
                <a:gd name="T4" fmla="*/ 5408 w 6586"/>
                <a:gd name="T5" fmla="*/ 2288 h 2809"/>
                <a:gd name="T6" fmla="*/ 4731 w 6586"/>
                <a:gd name="T7" fmla="*/ 1470 h 2809"/>
                <a:gd name="T8" fmla="*/ 3894 w 6586"/>
                <a:gd name="T9" fmla="*/ 572 h 2809"/>
                <a:gd name="T10" fmla="*/ 2695 w 6586"/>
                <a:gd name="T11" fmla="*/ 601 h 2809"/>
                <a:gd name="T12" fmla="*/ 1712 w 6586"/>
                <a:gd name="T13" fmla="*/ 697 h 2809"/>
                <a:gd name="T14" fmla="*/ 983 w 6586"/>
                <a:gd name="T15" fmla="*/ 420 h 2809"/>
                <a:gd name="T16" fmla="*/ 704 w 6586"/>
                <a:gd name="T17" fmla="*/ 292 h 2809"/>
                <a:gd name="T18" fmla="*/ 21 w 6586"/>
                <a:gd name="T19" fmla="*/ 0 h 2809"/>
                <a:gd name="T20" fmla="*/ 0 w 6586"/>
                <a:gd name="T21" fmla="*/ 0 h 2809"/>
                <a:gd name="T22" fmla="*/ 700 w 6586"/>
                <a:gd name="T23" fmla="*/ 299 h 2809"/>
                <a:gd name="T24" fmla="*/ 979 w 6586"/>
                <a:gd name="T25" fmla="*/ 428 h 2809"/>
                <a:gd name="T26" fmla="*/ 1711 w 6586"/>
                <a:gd name="T27" fmla="*/ 705 h 2809"/>
                <a:gd name="T28" fmla="*/ 2696 w 6586"/>
                <a:gd name="T29" fmla="*/ 609 h 2809"/>
                <a:gd name="T30" fmla="*/ 3891 w 6586"/>
                <a:gd name="T31" fmla="*/ 579 h 2809"/>
                <a:gd name="T32" fmla="*/ 4724 w 6586"/>
                <a:gd name="T33" fmla="*/ 1475 h 2809"/>
                <a:gd name="T34" fmla="*/ 5403 w 6586"/>
                <a:gd name="T35" fmla="*/ 2295 h 2809"/>
                <a:gd name="T36" fmla="*/ 6105 w 6586"/>
                <a:gd name="T37" fmla="*/ 2618 h 2809"/>
                <a:gd name="T38" fmla="*/ 6410 w 6586"/>
                <a:gd name="T39" fmla="*/ 2740 h 2809"/>
                <a:gd name="T40" fmla="*/ 6571 w 6586"/>
                <a:gd name="T41" fmla="*/ 2809 h 2809"/>
                <a:gd name="T42" fmla="*/ 6586 w 6586"/>
                <a:gd name="T43" fmla="*/ 2806 h 2809"/>
                <a:gd name="T44" fmla="*/ 6413 w 6586"/>
                <a:gd name="T45" fmla="*/ 2732 h 2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586" h="2809">
                  <a:moveTo>
                    <a:pt x="6413" y="2732"/>
                  </a:moveTo>
                  <a:cubicBezTo>
                    <a:pt x="6315" y="2690"/>
                    <a:pt x="6209" y="2650"/>
                    <a:pt x="6108" y="2611"/>
                  </a:cubicBezTo>
                  <a:cubicBezTo>
                    <a:pt x="5867" y="2518"/>
                    <a:pt x="5617" y="2423"/>
                    <a:pt x="5408" y="2288"/>
                  </a:cubicBezTo>
                  <a:cubicBezTo>
                    <a:pt x="5110" y="2097"/>
                    <a:pt x="4917" y="1778"/>
                    <a:pt x="4731" y="1470"/>
                  </a:cubicBezTo>
                  <a:cubicBezTo>
                    <a:pt x="4513" y="1111"/>
                    <a:pt x="4288" y="739"/>
                    <a:pt x="3894" y="572"/>
                  </a:cubicBezTo>
                  <a:cubicBezTo>
                    <a:pt x="3512" y="409"/>
                    <a:pt x="3096" y="507"/>
                    <a:pt x="2695" y="601"/>
                  </a:cubicBezTo>
                  <a:cubicBezTo>
                    <a:pt x="2368" y="678"/>
                    <a:pt x="2031" y="757"/>
                    <a:pt x="1712" y="697"/>
                  </a:cubicBezTo>
                  <a:cubicBezTo>
                    <a:pt x="1467" y="651"/>
                    <a:pt x="1221" y="534"/>
                    <a:pt x="983" y="420"/>
                  </a:cubicBezTo>
                  <a:cubicBezTo>
                    <a:pt x="886" y="374"/>
                    <a:pt x="795" y="331"/>
                    <a:pt x="704" y="292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00" y="299"/>
                    <a:pt x="700" y="299"/>
                    <a:pt x="700" y="299"/>
                  </a:cubicBezTo>
                  <a:cubicBezTo>
                    <a:pt x="792" y="338"/>
                    <a:pt x="883" y="382"/>
                    <a:pt x="979" y="428"/>
                  </a:cubicBezTo>
                  <a:cubicBezTo>
                    <a:pt x="1218" y="541"/>
                    <a:pt x="1464" y="659"/>
                    <a:pt x="1711" y="705"/>
                  </a:cubicBezTo>
                  <a:cubicBezTo>
                    <a:pt x="2031" y="765"/>
                    <a:pt x="2370" y="686"/>
                    <a:pt x="2696" y="609"/>
                  </a:cubicBezTo>
                  <a:cubicBezTo>
                    <a:pt x="3097" y="515"/>
                    <a:pt x="3511" y="418"/>
                    <a:pt x="3891" y="579"/>
                  </a:cubicBezTo>
                  <a:cubicBezTo>
                    <a:pt x="4282" y="745"/>
                    <a:pt x="4507" y="1116"/>
                    <a:pt x="4724" y="1475"/>
                  </a:cubicBezTo>
                  <a:cubicBezTo>
                    <a:pt x="4910" y="1783"/>
                    <a:pt x="5104" y="2103"/>
                    <a:pt x="5403" y="2295"/>
                  </a:cubicBezTo>
                  <a:cubicBezTo>
                    <a:pt x="5613" y="2430"/>
                    <a:pt x="5863" y="2526"/>
                    <a:pt x="6105" y="2618"/>
                  </a:cubicBezTo>
                  <a:cubicBezTo>
                    <a:pt x="6206" y="2658"/>
                    <a:pt x="6312" y="2698"/>
                    <a:pt x="6410" y="2740"/>
                  </a:cubicBezTo>
                  <a:cubicBezTo>
                    <a:pt x="6571" y="2809"/>
                    <a:pt x="6571" y="2809"/>
                    <a:pt x="6571" y="2809"/>
                  </a:cubicBezTo>
                  <a:cubicBezTo>
                    <a:pt x="6586" y="2806"/>
                    <a:pt x="6586" y="2806"/>
                    <a:pt x="6586" y="2806"/>
                  </a:cubicBezTo>
                  <a:lnTo>
                    <a:pt x="6413" y="2732"/>
                  </a:lnTo>
                  <a:close/>
                </a:path>
              </a:pathLst>
            </a:custGeom>
            <a:solidFill>
              <a:srgbClr val="C7C8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9" name="Freeform 28"/>
            <p:cNvSpPr>
              <a:spLocks/>
            </p:cNvSpPr>
            <p:nvPr userDrawn="1"/>
          </p:nvSpPr>
          <p:spPr bwMode="auto">
            <a:xfrm>
              <a:off x="1301189" y="0"/>
              <a:ext cx="9905961" cy="4228233"/>
            </a:xfrm>
            <a:custGeom>
              <a:avLst/>
              <a:gdLst>
                <a:gd name="T0" fmla="*/ 6154 w 6497"/>
                <a:gd name="T1" fmla="*/ 2621 h 2771"/>
                <a:gd name="T2" fmla="*/ 5848 w 6497"/>
                <a:gd name="T3" fmla="*/ 2499 h 2771"/>
                <a:gd name="T4" fmla="*/ 5149 w 6497"/>
                <a:gd name="T5" fmla="*/ 2178 h 2771"/>
                <a:gd name="T6" fmla="*/ 4468 w 6497"/>
                <a:gd name="T7" fmla="*/ 1404 h 2771"/>
                <a:gd name="T8" fmla="*/ 3633 w 6497"/>
                <a:gd name="T9" fmla="*/ 552 h 2771"/>
                <a:gd name="T10" fmla="*/ 2435 w 6497"/>
                <a:gd name="T11" fmla="*/ 536 h 2771"/>
                <a:gd name="T12" fmla="*/ 1454 w 6497"/>
                <a:gd name="T13" fmla="*/ 588 h 2771"/>
                <a:gd name="T14" fmla="*/ 726 w 6497"/>
                <a:gd name="T15" fmla="*/ 309 h 2771"/>
                <a:gd name="T16" fmla="*/ 445 w 6497"/>
                <a:gd name="T17" fmla="*/ 181 h 2771"/>
                <a:gd name="T18" fmla="*/ 21 w 6497"/>
                <a:gd name="T19" fmla="*/ 0 h 2771"/>
                <a:gd name="T20" fmla="*/ 0 w 6497"/>
                <a:gd name="T21" fmla="*/ 0 h 2771"/>
                <a:gd name="T22" fmla="*/ 442 w 6497"/>
                <a:gd name="T23" fmla="*/ 189 h 2771"/>
                <a:gd name="T24" fmla="*/ 722 w 6497"/>
                <a:gd name="T25" fmla="*/ 317 h 2771"/>
                <a:gd name="T26" fmla="*/ 1452 w 6497"/>
                <a:gd name="T27" fmla="*/ 596 h 2771"/>
                <a:gd name="T28" fmla="*/ 2436 w 6497"/>
                <a:gd name="T29" fmla="*/ 544 h 2771"/>
                <a:gd name="T30" fmla="*/ 3630 w 6497"/>
                <a:gd name="T31" fmla="*/ 560 h 2771"/>
                <a:gd name="T32" fmla="*/ 4461 w 6497"/>
                <a:gd name="T33" fmla="*/ 1409 h 2771"/>
                <a:gd name="T34" fmla="*/ 5145 w 6497"/>
                <a:gd name="T35" fmla="*/ 2186 h 2771"/>
                <a:gd name="T36" fmla="*/ 5845 w 6497"/>
                <a:gd name="T37" fmla="*/ 2507 h 2771"/>
                <a:gd name="T38" fmla="*/ 6151 w 6497"/>
                <a:gd name="T39" fmla="*/ 2629 h 2771"/>
                <a:gd name="T40" fmla="*/ 6482 w 6497"/>
                <a:gd name="T41" fmla="*/ 2771 h 2771"/>
                <a:gd name="T42" fmla="*/ 6497 w 6497"/>
                <a:gd name="T43" fmla="*/ 2768 h 2771"/>
                <a:gd name="T44" fmla="*/ 6154 w 6497"/>
                <a:gd name="T45" fmla="*/ 2621 h 27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497" h="2771">
                  <a:moveTo>
                    <a:pt x="6154" y="2621"/>
                  </a:moveTo>
                  <a:cubicBezTo>
                    <a:pt x="6056" y="2579"/>
                    <a:pt x="5950" y="2538"/>
                    <a:pt x="5848" y="2499"/>
                  </a:cubicBezTo>
                  <a:cubicBezTo>
                    <a:pt x="5609" y="2406"/>
                    <a:pt x="5361" y="2311"/>
                    <a:pt x="5149" y="2178"/>
                  </a:cubicBezTo>
                  <a:cubicBezTo>
                    <a:pt x="4856" y="1995"/>
                    <a:pt x="4659" y="1695"/>
                    <a:pt x="4468" y="1404"/>
                  </a:cubicBezTo>
                  <a:cubicBezTo>
                    <a:pt x="4245" y="1065"/>
                    <a:pt x="4016" y="715"/>
                    <a:pt x="3633" y="552"/>
                  </a:cubicBezTo>
                  <a:cubicBezTo>
                    <a:pt x="3253" y="391"/>
                    <a:pt x="2837" y="465"/>
                    <a:pt x="2435" y="536"/>
                  </a:cubicBezTo>
                  <a:cubicBezTo>
                    <a:pt x="2109" y="594"/>
                    <a:pt x="1771" y="654"/>
                    <a:pt x="1454" y="588"/>
                  </a:cubicBezTo>
                  <a:cubicBezTo>
                    <a:pt x="1208" y="537"/>
                    <a:pt x="963" y="421"/>
                    <a:pt x="726" y="309"/>
                  </a:cubicBezTo>
                  <a:cubicBezTo>
                    <a:pt x="629" y="264"/>
                    <a:pt x="537" y="220"/>
                    <a:pt x="445" y="181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42" y="189"/>
                    <a:pt x="442" y="189"/>
                    <a:pt x="442" y="189"/>
                  </a:cubicBezTo>
                  <a:cubicBezTo>
                    <a:pt x="534" y="228"/>
                    <a:pt x="625" y="271"/>
                    <a:pt x="722" y="317"/>
                  </a:cubicBezTo>
                  <a:cubicBezTo>
                    <a:pt x="960" y="429"/>
                    <a:pt x="1205" y="545"/>
                    <a:pt x="1452" y="596"/>
                  </a:cubicBezTo>
                  <a:cubicBezTo>
                    <a:pt x="1771" y="662"/>
                    <a:pt x="2109" y="602"/>
                    <a:pt x="2436" y="544"/>
                  </a:cubicBezTo>
                  <a:cubicBezTo>
                    <a:pt x="2837" y="473"/>
                    <a:pt x="3252" y="399"/>
                    <a:pt x="3630" y="560"/>
                  </a:cubicBezTo>
                  <a:cubicBezTo>
                    <a:pt x="4010" y="722"/>
                    <a:pt x="4239" y="1071"/>
                    <a:pt x="4461" y="1409"/>
                  </a:cubicBezTo>
                  <a:cubicBezTo>
                    <a:pt x="4652" y="1700"/>
                    <a:pt x="4850" y="2002"/>
                    <a:pt x="5145" y="2186"/>
                  </a:cubicBezTo>
                  <a:cubicBezTo>
                    <a:pt x="5357" y="2318"/>
                    <a:pt x="5605" y="2414"/>
                    <a:pt x="5845" y="2507"/>
                  </a:cubicBezTo>
                  <a:cubicBezTo>
                    <a:pt x="5947" y="2546"/>
                    <a:pt x="6052" y="2587"/>
                    <a:pt x="6151" y="2629"/>
                  </a:cubicBezTo>
                  <a:cubicBezTo>
                    <a:pt x="6482" y="2771"/>
                    <a:pt x="6482" y="2771"/>
                    <a:pt x="6482" y="2771"/>
                  </a:cubicBezTo>
                  <a:cubicBezTo>
                    <a:pt x="6497" y="2768"/>
                    <a:pt x="6497" y="2768"/>
                    <a:pt x="6497" y="2768"/>
                  </a:cubicBezTo>
                  <a:lnTo>
                    <a:pt x="6154" y="2621"/>
                  </a:lnTo>
                  <a:close/>
                </a:path>
              </a:pathLst>
            </a:custGeom>
            <a:solidFill>
              <a:srgbClr val="C6C8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0" name="Rectangle 29"/>
            <p:cNvSpPr>
              <a:spLocks noChangeArrowheads="1"/>
            </p:cNvSpPr>
            <p:nvPr userDrawn="1"/>
          </p:nvSpPr>
          <p:spPr bwMode="auto">
            <a:xfrm>
              <a:off x="12295875" y="4489591"/>
              <a:ext cx="1604" cy="14431"/>
            </a:xfrm>
            <a:prstGeom prst="rect">
              <a:avLst/>
            </a:prstGeom>
            <a:solidFill>
              <a:srgbClr val="C6C7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1" name="Freeform 30"/>
            <p:cNvSpPr>
              <a:spLocks/>
            </p:cNvSpPr>
            <p:nvPr userDrawn="1"/>
          </p:nvSpPr>
          <p:spPr bwMode="auto">
            <a:xfrm>
              <a:off x="1767786" y="0"/>
              <a:ext cx="9769670" cy="4168906"/>
            </a:xfrm>
            <a:custGeom>
              <a:avLst/>
              <a:gdLst>
                <a:gd name="T0" fmla="*/ 5896 w 6408"/>
                <a:gd name="T1" fmla="*/ 2511 h 2732"/>
                <a:gd name="T2" fmla="*/ 5589 w 6408"/>
                <a:gd name="T3" fmla="*/ 2387 h 2732"/>
                <a:gd name="T4" fmla="*/ 4891 w 6408"/>
                <a:gd name="T5" fmla="*/ 2069 h 2732"/>
                <a:gd name="T6" fmla="*/ 4206 w 6408"/>
                <a:gd name="T7" fmla="*/ 1340 h 2732"/>
                <a:gd name="T8" fmla="*/ 3376 w 6408"/>
                <a:gd name="T9" fmla="*/ 538 h 2732"/>
                <a:gd name="T10" fmla="*/ 2177 w 6408"/>
                <a:gd name="T11" fmla="*/ 474 h 2732"/>
                <a:gd name="T12" fmla="*/ 1195 w 6408"/>
                <a:gd name="T13" fmla="*/ 480 h 2732"/>
                <a:gd name="T14" fmla="*/ 469 w 6408"/>
                <a:gd name="T15" fmla="*/ 199 h 2732"/>
                <a:gd name="T16" fmla="*/ 186 w 6408"/>
                <a:gd name="T17" fmla="*/ 70 h 2732"/>
                <a:gd name="T18" fmla="*/ 22 w 6408"/>
                <a:gd name="T19" fmla="*/ 0 h 2732"/>
                <a:gd name="T20" fmla="*/ 0 w 6408"/>
                <a:gd name="T21" fmla="*/ 0 h 2732"/>
                <a:gd name="T22" fmla="*/ 183 w 6408"/>
                <a:gd name="T23" fmla="*/ 78 h 2732"/>
                <a:gd name="T24" fmla="*/ 465 w 6408"/>
                <a:gd name="T25" fmla="*/ 206 h 2732"/>
                <a:gd name="T26" fmla="*/ 1194 w 6408"/>
                <a:gd name="T27" fmla="*/ 488 h 2732"/>
                <a:gd name="T28" fmla="*/ 2178 w 6408"/>
                <a:gd name="T29" fmla="*/ 482 h 2732"/>
                <a:gd name="T30" fmla="*/ 3372 w 6408"/>
                <a:gd name="T31" fmla="*/ 546 h 2732"/>
                <a:gd name="T32" fmla="*/ 4199 w 6408"/>
                <a:gd name="T33" fmla="*/ 1345 h 2732"/>
                <a:gd name="T34" fmla="*/ 4886 w 6408"/>
                <a:gd name="T35" fmla="*/ 2076 h 2732"/>
                <a:gd name="T36" fmla="*/ 5586 w 6408"/>
                <a:gd name="T37" fmla="*/ 2395 h 2732"/>
                <a:gd name="T38" fmla="*/ 5892 w 6408"/>
                <a:gd name="T39" fmla="*/ 2518 h 2732"/>
                <a:gd name="T40" fmla="*/ 6393 w 6408"/>
                <a:gd name="T41" fmla="*/ 2732 h 2732"/>
                <a:gd name="T42" fmla="*/ 6408 w 6408"/>
                <a:gd name="T43" fmla="*/ 2730 h 2732"/>
                <a:gd name="T44" fmla="*/ 5896 w 6408"/>
                <a:gd name="T45" fmla="*/ 2511 h 27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408" h="2732">
                  <a:moveTo>
                    <a:pt x="5896" y="2511"/>
                  </a:moveTo>
                  <a:cubicBezTo>
                    <a:pt x="5796" y="2468"/>
                    <a:pt x="5691" y="2427"/>
                    <a:pt x="5589" y="2387"/>
                  </a:cubicBezTo>
                  <a:cubicBezTo>
                    <a:pt x="5351" y="2294"/>
                    <a:pt x="5105" y="2198"/>
                    <a:pt x="4891" y="2069"/>
                  </a:cubicBezTo>
                  <a:cubicBezTo>
                    <a:pt x="4603" y="1895"/>
                    <a:pt x="4401" y="1613"/>
                    <a:pt x="4206" y="1340"/>
                  </a:cubicBezTo>
                  <a:cubicBezTo>
                    <a:pt x="3980" y="1023"/>
                    <a:pt x="3746" y="695"/>
                    <a:pt x="3376" y="538"/>
                  </a:cubicBezTo>
                  <a:cubicBezTo>
                    <a:pt x="2997" y="377"/>
                    <a:pt x="2580" y="426"/>
                    <a:pt x="2177" y="474"/>
                  </a:cubicBezTo>
                  <a:cubicBezTo>
                    <a:pt x="1850" y="512"/>
                    <a:pt x="1512" y="552"/>
                    <a:pt x="1195" y="480"/>
                  </a:cubicBezTo>
                  <a:cubicBezTo>
                    <a:pt x="949" y="423"/>
                    <a:pt x="705" y="309"/>
                    <a:pt x="469" y="199"/>
                  </a:cubicBezTo>
                  <a:cubicBezTo>
                    <a:pt x="376" y="155"/>
                    <a:pt x="280" y="110"/>
                    <a:pt x="186" y="7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83" y="78"/>
                    <a:pt x="183" y="78"/>
                    <a:pt x="183" y="78"/>
                  </a:cubicBezTo>
                  <a:cubicBezTo>
                    <a:pt x="276" y="118"/>
                    <a:pt x="372" y="163"/>
                    <a:pt x="465" y="206"/>
                  </a:cubicBezTo>
                  <a:cubicBezTo>
                    <a:pt x="702" y="317"/>
                    <a:pt x="946" y="432"/>
                    <a:pt x="1194" y="488"/>
                  </a:cubicBezTo>
                  <a:cubicBezTo>
                    <a:pt x="1512" y="561"/>
                    <a:pt x="1851" y="521"/>
                    <a:pt x="2178" y="482"/>
                  </a:cubicBezTo>
                  <a:cubicBezTo>
                    <a:pt x="2580" y="434"/>
                    <a:pt x="2996" y="385"/>
                    <a:pt x="3372" y="546"/>
                  </a:cubicBezTo>
                  <a:cubicBezTo>
                    <a:pt x="3740" y="702"/>
                    <a:pt x="3974" y="1029"/>
                    <a:pt x="4199" y="1345"/>
                  </a:cubicBezTo>
                  <a:cubicBezTo>
                    <a:pt x="4395" y="1618"/>
                    <a:pt x="4597" y="1901"/>
                    <a:pt x="4886" y="2076"/>
                  </a:cubicBezTo>
                  <a:cubicBezTo>
                    <a:pt x="5101" y="2206"/>
                    <a:pt x="5347" y="2302"/>
                    <a:pt x="5586" y="2395"/>
                  </a:cubicBezTo>
                  <a:cubicBezTo>
                    <a:pt x="5688" y="2435"/>
                    <a:pt x="5793" y="2476"/>
                    <a:pt x="5892" y="2518"/>
                  </a:cubicBezTo>
                  <a:cubicBezTo>
                    <a:pt x="6393" y="2732"/>
                    <a:pt x="6393" y="2732"/>
                    <a:pt x="6393" y="2732"/>
                  </a:cubicBezTo>
                  <a:cubicBezTo>
                    <a:pt x="6408" y="2730"/>
                    <a:pt x="6408" y="2730"/>
                    <a:pt x="6408" y="2730"/>
                  </a:cubicBezTo>
                  <a:lnTo>
                    <a:pt x="5896" y="2511"/>
                  </a:lnTo>
                  <a:close/>
                </a:path>
              </a:pathLst>
            </a:custGeom>
            <a:solidFill>
              <a:srgbClr val="C6C7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2" name="Freeform 31"/>
            <p:cNvSpPr>
              <a:spLocks/>
            </p:cNvSpPr>
            <p:nvPr userDrawn="1"/>
          </p:nvSpPr>
          <p:spPr bwMode="auto">
            <a:xfrm>
              <a:off x="12295875" y="4293973"/>
              <a:ext cx="0" cy="9621"/>
            </a:xfrm>
            <a:custGeom>
              <a:avLst/>
              <a:gdLst>
                <a:gd name="T0" fmla="*/ 6 h 6"/>
                <a:gd name="T1" fmla="*/ 0 h 6"/>
                <a:gd name="T2" fmla="*/ 6 h 6"/>
                <a:gd name="T3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C5C7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3" name="Freeform 32"/>
            <p:cNvSpPr>
              <a:spLocks/>
            </p:cNvSpPr>
            <p:nvPr userDrawn="1"/>
          </p:nvSpPr>
          <p:spPr bwMode="auto">
            <a:xfrm>
              <a:off x="2232779" y="0"/>
              <a:ext cx="9636585" cy="4111183"/>
            </a:xfrm>
            <a:custGeom>
              <a:avLst/>
              <a:gdLst>
                <a:gd name="T0" fmla="*/ 5638 w 6320"/>
                <a:gd name="T1" fmla="*/ 2400 h 2694"/>
                <a:gd name="T2" fmla="*/ 5330 w 6320"/>
                <a:gd name="T3" fmla="*/ 2275 h 2694"/>
                <a:gd name="T4" fmla="*/ 4634 w 6320"/>
                <a:gd name="T5" fmla="*/ 1960 h 2694"/>
                <a:gd name="T6" fmla="*/ 3947 w 6320"/>
                <a:gd name="T7" fmla="*/ 1278 h 2694"/>
                <a:gd name="T8" fmla="*/ 3122 w 6320"/>
                <a:gd name="T9" fmla="*/ 527 h 2694"/>
                <a:gd name="T10" fmla="*/ 1923 w 6320"/>
                <a:gd name="T11" fmla="*/ 413 h 2694"/>
                <a:gd name="T12" fmla="*/ 939 w 6320"/>
                <a:gd name="T13" fmla="*/ 372 h 2694"/>
                <a:gd name="T14" fmla="*/ 214 w 6320"/>
                <a:gd name="T15" fmla="*/ 88 h 2694"/>
                <a:gd name="T16" fmla="*/ 21 w 6320"/>
                <a:gd name="T17" fmla="*/ 0 h 2694"/>
                <a:gd name="T18" fmla="*/ 0 w 6320"/>
                <a:gd name="T19" fmla="*/ 0 h 2694"/>
                <a:gd name="T20" fmla="*/ 210 w 6320"/>
                <a:gd name="T21" fmla="*/ 96 h 2694"/>
                <a:gd name="T22" fmla="*/ 936 w 6320"/>
                <a:gd name="T23" fmla="*/ 380 h 2694"/>
                <a:gd name="T24" fmla="*/ 1923 w 6320"/>
                <a:gd name="T25" fmla="*/ 422 h 2694"/>
                <a:gd name="T26" fmla="*/ 3119 w 6320"/>
                <a:gd name="T27" fmla="*/ 535 h 2694"/>
                <a:gd name="T28" fmla="*/ 3940 w 6320"/>
                <a:gd name="T29" fmla="*/ 1283 h 2694"/>
                <a:gd name="T30" fmla="*/ 4629 w 6320"/>
                <a:gd name="T31" fmla="*/ 1967 h 2694"/>
                <a:gd name="T32" fmla="*/ 5327 w 6320"/>
                <a:gd name="T33" fmla="*/ 2283 h 2694"/>
                <a:gd name="T34" fmla="*/ 5635 w 6320"/>
                <a:gd name="T35" fmla="*/ 2408 h 2694"/>
                <a:gd name="T36" fmla="*/ 6305 w 6320"/>
                <a:gd name="T37" fmla="*/ 2694 h 2694"/>
                <a:gd name="T38" fmla="*/ 6320 w 6320"/>
                <a:gd name="T39" fmla="*/ 2691 h 2694"/>
                <a:gd name="T40" fmla="*/ 5638 w 6320"/>
                <a:gd name="T41" fmla="*/ 2400 h 2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320" h="2694">
                  <a:moveTo>
                    <a:pt x="5638" y="2400"/>
                  </a:moveTo>
                  <a:cubicBezTo>
                    <a:pt x="5538" y="2357"/>
                    <a:pt x="5432" y="2315"/>
                    <a:pt x="5330" y="2275"/>
                  </a:cubicBezTo>
                  <a:cubicBezTo>
                    <a:pt x="5094" y="2182"/>
                    <a:pt x="4849" y="2086"/>
                    <a:pt x="4634" y="1960"/>
                  </a:cubicBezTo>
                  <a:cubicBezTo>
                    <a:pt x="4352" y="1795"/>
                    <a:pt x="4146" y="1532"/>
                    <a:pt x="3947" y="1278"/>
                  </a:cubicBezTo>
                  <a:cubicBezTo>
                    <a:pt x="3717" y="983"/>
                    <a:pt x="3479" y="679"/>
                    <a:pt x="3122" y="527"/>
                  </a:cubicBezTo>
                  <a:cubicBezTo>
                    <a:pt x="2744" y="366"/>
                    <a:pt x="2326" y="390"/>
                    <a:pt x="1923" y="413"/>
                  </a:cubicBezTo>
                  <a:cubicBezTo>
                    <a:pt x="1595" y="432"/>
                    <a:pt x="1255" y="452"/>
                    <a:pt x="939" y="372"/>
                  </a:cubicBezTo>
                  <a:cubicBezTo>
                    <a:pt x="692" y="310"/>
                    <a:pt x="449" y="197"/>
                    <a:pt x="214" y="88"/>
                  </a:cubicBezTo>
                  <a:cubicBezTo>
                    <a:pt x="150" y="58"/>
                    <a:pt x="86" y="29"/>
                    <a:pt x="2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0" y="31"/>
                    <a:pt x="141" y="64"/>
                    <a:pt x="210" y="96"/>
                  </a:cubicBezTo>
                  <a:cubicBezTo>
                    <a:pt x="445" y="205"/>
                    <a:pt x="689" y="318"/>
                    <a:pt x="936" y="380"/>
                  </a:cubicBezTo>
                  <a:cubicBezTo>
                    <a:pt x="1254" y="460"/>
                    <a:pt x="1594" y="441"/>
                    <a:pt x="1923" y="422"/>
                  </a:cubicBezTo>
                  <a:cubicBezTo>
                    <a:pt x="2326" y="399"/>
                    <a:pt x="2743" y="374"/>
                    <a:pt x="3119" y="535"/>
                  </a:cubicBezTo>
                  <a:cubicBezTo>
                    <a:pt x="3473" y="686"/>
                    <a:pt x="3710" y="990"/>
                    <a:pt x="3940" y="1283"/>
                  </a:cubicBezTo>
                  <a:cubicBezTo>
                    <a:pt x="4140" y="1538"/>
                    <a:pt x="4346" y="1801"/>
                    <a:pt x="4629" y="1967"/>
                  </a:cubicBezTo>
                  <a:cubicBezTo>
                    <a:pt x="4846" y="2094"/>
                    <a:pt x="5090" y="2190"/>
                    <a:pt x="5327" y="2283"/>
                  </a:cubicBezTo>
                  <a:cubicBezTo>
                    <a:pt x="5429" y="2323"/>
                    <a:pt x="5535" y="2365"/>
                    <a:pt x="5635" y="2408"/>
                  </a:cubicBezTo>
                  <a:cubicBezTo>
                    <a:pt x="6305" y="2694"/>
                    <a:pt x="6305" y="2694"/>
                    <a:pt x="6305" y="2694"/>
                  </a:cubicBezTo>
                  <a:cubicBezTo>
                    <a:pt x="6320" y="2691"/>
                    <a:pt x="6320" y="2691"/>
                    <a:pt x="6320" y="2691"/>
                  </a:cubicBezTo>
                  <a:lnTo>
                    <a:pt x="5638" y="2400"/>
                  </a:lnTo>
                  <a:close/>
                </a:path>
              </a:pathLst>
            </a:custGeom>
            <a:solidFill>
              <a:srgbClr val="C5C7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4" name="Freeform 33"/>
            <p:cNvSpPr>
              <a:spLocks/>
            </p:cNvSpPr>
            <p:nvPr userDrawn="1"/>
          </p:nvSpPr>
          <p:spPr bwMode="auto">
            <a:xfrm>
              <a:off x="2676927" y="0"/>
              <a:ext cx="9524346" cy="4053460"/>
            </a:xfrm>
            <a:custGeom>
              <a:avLst/>
              <a:gdLst>
                <a:gd name="T0" fmla="*/ 5394 w 6246"/>
                <a:gd name="T1" fmla="*/ 2289 h 2656"/>
                <a:gd name="T2" fmla="*/ 5084 w 6246"/>
                <a:gd name="T3" fmla="*/ 2163 h 2656"/>
                <a:gd name="T4" fmla="*/ 4389 w 6246"/>
                <a:gd name="T5" fmla="*/ 1851 h 2656"/>
                <a:gd name="T6" fmla="*/ 3702 w 6246"/>
                <a:gd name="T7" fmla="*/ 1217 h 2656"/>
                <a:gd name="T8" fmla="*/ 2884 w 6246"/>
                <a:gd name="T9" fmla="*/ 519 h 2656"/>
                <a:gd name="T10" fmla="*/ 1682 w 6246"/>
                <a:gd name="T11" fmla="*/ 354 h 2656"/>
                <a:gd name="T12" fmla="*/ 695 w 6246"/>
                <a:gd name="T13" fmla="*/ 264 h 2656"/>
                <a:gd name="T14" fmla="*/ 21 w 6246"/>
                <a:gd name="T15" fmla="*/ 0 h 2656"/>
                <a:gd name="T16" fmla="*/ 0 w 6246"/>
                <a:gd name="T17" fmla="*/ 0 h 2656"/>
                <a:gd name="T18" fmla="*/ 692 w 6246"/>
                <a:gd name="T19" fmla="*/ 273 h 2656"/>
                <a:gd name="T20" fmla="*/ 1682 w 6246"/>
                <a:gd name="T21" fmla="*/ 363 h 2656"/>
                <a:gd name="T22" fmla="*/ 2880 w 6246"/>
                <a:gd name="T23" fmla="*/ 527 h 2656"/>
                <a:gd name="T24" fmla="*/ 3696 w 6246"/>
                <a:gd name="T25" fmla="*/ 1223 h 2656"/>
                <a:gd name="T26" fmla="*/ 4385 w 6246"/>
                <a:gd name="T27" fmla="*/ 1858 h 2656"/>
                <a:gd name="T28" fmla="*/ 5081 w 6246"/>
                <a:gd name="T29" fmla="*/ 2171 h 2656"/>
                <a:gd name="T30" fmla="*/ 5390 w 6246"/>
                <a:gd name="T31" fmla="*/ 2297 h 2656"/>
                <a:gd name="T32" fmla="*/ 6230 w 6246"/>
                <a:gd name="T33" fmla="*/ 2656 h 2656"/>
                <a:gd name="T34" fmla="*/ 6246 w 6246"/>
                <a:gd name="T35" fmla="*/ 2653 h 2656"/>
                <a:gd name="T36" fmla="*/ 5394 w 6246"/>
                <a:gd name="T37" fmla="*/ 2289 h 2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246" h="2656">
                  <a:moveTo>
                    <a:pt x="5394" y="2289"/>
                  </a:moveTo>
                  <a:cubicBezTo>
                    <a:pt x="5292" y="2246"/>
                    <a:pt x="5186" y="2204"/>
                    <a:pt x="5084" y="2163"/>
                  </a:cubicBezTo>
                  <a:cubicBezTo>
                    <a:pt x="4849" y="2070"/>
                    <a:pt x="4607" y="1974"/>
                    <a:pt x="4389" y="1851"/>
                  </a:cubicBezTo>
                  <a:cubicBezTo>
                    <a:pt x="4115" y="1695"/>
                    <a:pt x="3905" y="1452"/>
                    <a:pt x="3702" y="1217"/>
                  </a:cubicBezTo>
                  <a:cubicBezTo>
                    <a:pt x="3468" y="946"/>
                    <a:pt x="3226" y="666"/>
                    <a:pt x="2884" y="519"/>
                  </a:cubicBezTo>
                  <a:cubicBezTo>
                    <a:pt x="2505" y="357"/>
                    <a:pt x="2087" y="355"/>
                    <a:pt x="1682" y="354"/>
                  </a:cubicBezTo>
                  <a:cubicBezTo>
                    <a:pt x="1353" y="353"/>
                    <a:pt x="1012" y="352"/>
                    <a:pt x="695" y="264"/>
                  </a:cubicBezTo>
                  <a:cubicBezTo>
                    <a:pt x="466" y="201"/>
                    <a:pt x="240" y="100"/>
                    <a:pt x="2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25" y="103"/>
                    <a:pt x="457" y="208"/>
                    <a:pt x="692" y="273"/>
                  </a:cubicBezTo>
                  <a:cubicBezTo>
                    <a:pt x="1011" y="361"/>
                    <a:pt x="1352" y="362"/>
                    <a:pt x="1682" y="363"/>
                  </a:cubicBezTo>
                  <a:cubicBezTo>
                    <a:pt x="2086" y="364"/>
                    <a:pt x="2503" y="366"/>
                    <a:pt x="2880" y="527"/>
                  </a:cubicBezTo>
                  <a:cubicBezTo>
                    <a:pt x="3221" y="673"/>
                    <a:pt x="3462" y="952"/>
                    <a:pt x="3696" y="1223"/>
                  </a:cubicBezTo>
                  <a:cubicBezTo>
                    <a:pt x="3899" y="1458"/>
                    <a:pt x="4109" y="1702"/>
                    <a:pt x="4385" y="1858"/>
                  </a:cubicBezTo>
                  <a:cubicBezTo>
                    <a:pt x="4603" y="1982"/>
                    <a:pt x="4846" y="2078"/>
                    <a:pt x="5081" y="2171"/>
                  </a:cubicBezTo>
                  <a:cubicBezTo>
                    <a:pt x="5183" y="2212"/>
                    <a:pt x="5289" y="2254"/>
                    <a:pt x="5390" y="2297"/>
                  </a:cubicBezTo>
                  <a:cubicBezTo>
                    <a:pt x="6230" y="2656"/>
                    <a:pt x="6230" y="2656"/>
                    <a:pt x="6230" y="2656"/>
                  </a:cubicBezTo>
                  <a:cubicBezTo>
                    <a:pt x="6246" y="2653"/>
                    <a:pt x="6246" y="2653"/>
                    <a:pt x="6246" y="2653"/>
                  </a:cubicBezTo>
                  <a:lnTo>
                    <a:pt x="5394" y="2289"/>
                  </a:lnTo>
                  <a:close/>
                </a:path>
              </a:pathLst>
            </a:custGeom>
            <a:solidFill>
              <a:srgbClr val="C5C6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20" name="Freeform: Shape 119"/>
            <p:cNvSpPr>
              <a:spLocks/>
            </p:cNvSpPr>
            <p:nvPr userDrawn="1"/>
          </p:nvSpPr>
          <p:spPr bwMode="auto">
            <a:xfrm>
              <a:off x="3133904" y="0"/>
              <a:ext cx="9059296" cy="3860342"/>
            </a:xfrm>
            <a:custGeom>
              <a:avLst/>
              <a:gdLst>
                <a:gd name="connsiteX0" fmla="*/ 0 w 9059296"/>
                <a:gd name="connsiteY0" fmla="*/ 0 h 3860342"/>
                <a:gd name="connsiteX1" fmla="*/ 35068 w 9059296"/>
                <a:gd name="connsiteY1" fmla="*/ 0 h 3860342"/>
                <a:gd name="connsiteX2" fmla="*/ 676971 w 9059296"/>
                <a:gd name="connsiteY2" fmla="*/ 238014 h 3860342"/>
                <a:gd name="connsiteX3" fmla="*/ 2189481 w 9059296"/>
                <a:gd name="connsiteY3" fmla="*/ 451616 h 3860342"/>
                <a:gd name="connsiteX4" fmla="*/ 4025230 w 9059296"/>
                <a:gd name="connsiteY4" fmla="*/ 781173 h 3860342"/>
                <a:gd name="connsiteX5" fmla="*/ 5260243 w 9059296"/>
                <a:gd name="connsiteY5" fmla="*/ 1763743 h 3860342"/>
                <a:gd name="connsiteX6" fmla="*/ 6309242 w 9059296"/>
                <a:gd name="connsiteY6" fmla="*/ 2657820 h 3860342"/>
                <a:gd name="connsiteX7" fmla="*/ 7365865 w 9059296"/>
                <a:gd name="connsiteY7" fmla="*/ 3129271 h 3860342"/>
                <a:gd name="connsiteX8" fmla="*/ 7840049 w 9059296"/>
                <a:gd name="connsiteY8" fmla="*/ 3323038 h 3860342"/>
                <a:gd name="connsiteX9" fmla="*/ 8929279 w 9059296"/>
                <a:gd name="connsiteY9" fmla="*/ 3789445 h 3860342"/>
                <a:gd name="connsiteX10" fmla="*/ 9059296 w 9059296"/>
                <a:gd name="connsiteY10" fmla="*/ 3845119 h 3860342"/>
                <a:gd name="connsiteX11" fmla="*/ 9059296 w 9059296"/>
                <a:gd name="connsiteY11" fmla="*/ 3860342 h 3860342"/>
                <a:gd name="connsiteX12" fmla="*/ 8995968 w 9059296"/>
                <a:gd name="connsiteY12" fmla="*/ 3833204 h 3860342"/>
                <a:gd name="connsiteX13" fmla="*/ 7833950 w 9059296"/>
                <a:gd name="connsiteY13" fmla="*/ 3335244 h 3860342"/>
                <a:gd name="connsiteX14" fmla="*/ 7361290 w 9059296"/>
                <a:gd name="connsiteY14" fmla="*/ 3141477 h 3860342"/>
                <a:gd name="connsiteX15" fmla="*/ 6303144 w 9059296"/>
                <a:gd name="connsiteY15" fmla="*/ 2670026 h 3860342"/>
                <a:gd name="connsiteX16" fmla="*/ 5249570 w 9059296"/>
                <a:gd name="connsiteY16" fmla="*/ 1774423 h 3860342"/>
                <a:gd name="connsiteX17" fmla="*/ 4019131 w 9059296"/>
                <a:gd name="connsiteY17" fmla="*/ 794905 h 3860342"/>
                <a:gd name="connsiteX18" fmla="*/ 2187956 w 9059296"/>
                <a:gd name="connsiteY18" fmla="*/ 465347 h 3860342"/>
                <a:gd name="connsiteX19" fmla="*/ 673921 w 9059296"/>
                <a:gd name="connsiteY19" fmla="*/ 251745 h 3860342"/>
                <a:gd name="connsiteX20" fmla="*/ 0 w 9059296"/>
                <a:gd name="connsiteY20" fmla="*/ 0 h 3860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059296" h="3860342">
                  <a:moveTo>
                    <a:pt x="0" y="0"/>
                  </a:moveTo>
                  <a:cubicBezTo>
                    <a:pt x="0" y="0"/>
                    <a:pt x="0" y="0"/>
                    <a:pt x="35068" y="0"/>
                  </a:cubicBezTo>
                  <a:cubicBezTo>
                    <a:pt x="247003" y="90018"/>
                    <a:pt x="460462" y="173933"/>
                    <a:pt x="676971" y="238014"/>
                  </a:cubicBezTo>
                  <a:cubicBezTo>
                    <a:pt x="1163352" y="384484"/>
                    <a:pt x="1684803" y="419576"/>
                    <a:pt x="2189481" y="451616"/>
                  </a:cubicBezTo>
                  <a:cubicBezTo>
                    <a:pt x="2806988" y="491285"/>
                    <a:pt x="3444316" y="532480"/>
                    <a:pt x="4025230" y="781173"/>
                  </a:cubicBezTo>
                  <a:cubicBezTo>
                    <a:pt x="4525334" y="996301"/>
                    <a:pt x="4898887" y="1386888"/>
                    <a:pt x="5260243" y="1763743"/>
                  </a:cubicBezTo>
                  <a:cubicBezTo>
                    <a:pt x="5575858" y="2093301"/>
                    <a:pt x="5900620" y="2433538"/>
                    <a:pt x="6309242" y="2657820"/>
                  </a:cubicBezTo>
                  <a:cubicBezTo>
                    <a:pt x="6644678" y="2839382"/>
                    <a:pt x="7010608" y="2987378"/>
                    <a:pt x="7365865" y="3129271"/>
                  </a:cubicBezTo>
                  <a:cubicBezTo>
                    <a:pt x="7522910" y="3191826"/>
                    <a:pt x="7684529" y="3255906"/>
                    <a:pt x="7840049" y="3323038"/>
                  </a:cubicBezTo>
                  <a:cubicBezTo>
                    <a:pt x="7840049" y="3323038"/>
                    <a:pt x="7840049" y="3323038"/>
                    <a:pt x="8929279" y="3789445"/>
                  </a:cubicBezTo>
                  <a:lnTo>
                    <a:pt x="9059296" y="3845119"/>
                  </a:lnTo>
                  <a:lnTo>
                    <a:pt x="9059296" y="3860342"/>
                  </a:lnTo>
                  <a:lnTo>
                    <a:pt x="8995968" y="3833204"/>
                  </a:lnTo>
                  <a:cubicBezTo>
                    <a:pt x="8829966" y="3762067"/>
                    <a:pt x="8497961" y="3619793"/>
                    <a:pt x="7833950" y="3335244"/>
                  </a:cubicBezTo>
                  <a:cubicBezTo>
                    <a:pt x="7678430" y="3269638"/>
                    <a:pt x="7516811" y="3204031"/>
                    <a:pt x="7361290" y="3141477"/>
                  </a:cubicBezTo>
                  <a:cubicBezTo>
                    <a:pt x="7006034" y="2999584"/>
                    <a:pt x="6638579" y="2853114"/>
                    <a:pt x="6303144" y="2670026"/>
                  </a:cubicBezTo>
                  <a:cubicBezTo>
                    <a:pt x="5892997" y="2445744"/>
                    <a:pt x="5565184" y="2103981"/>
                    <a:pt x="5249570" y="1774423"/>
                  </a:cubicBezTo>
                  <a:cubicBezTo>
                    <a:pt x="4889739" y="1397568"/>
                    <a:pt x="4516186" y="1008507"/>
                    <a:pt x="4019131" y="794905"/>
                  </a:cubicBezTo>
                  <a:cubicBezTo>
                    <a:pt x="3441266" y="546211"/>
                    <a:pt x="2803938" y="505016"/>
                    <a:pt x="2187956" y="465347"/>
                  </a:cubicBezTo>
                  <a:cubicBezTo>
                    <a:pt x="1683278" y="433307"/>
                    <a:pt x="1161828" y="398215"/>
                    <a:pt x="673921" y="251745"/>
                  </a:cubicBezTo>
                  <a:cubicBezTo>
                    <a:pt x="446740" y="183088"/>
                    <a:pt x="221083" y="94595"/>
                    <a:pt x="0" y="0"/>
                  </a:cubicBezTo>
                  <a:close/>
                </a:path>
              </a:pathLst>
            </a:custGeom>
            <a:solidFill>
              <a:srgbClr val="C4C6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16" name="Freeform: Shape 115"/>
            <p:cNvSpPr>
              <a:spLocks/>
            </p:cNvSpPr>
            <p:nvPr userDrawn="1"/>
          </p:nvSpPr>
          <p:spPr bwMode="auto">
            <a:xfrm>
              <a:off x="3630966" y="1"/>
              <a:ext cx="8562234" cy="3661559"/>
            </a:xfrm>
            <a:custGeom>
              <a:avLst/>
              <a:gdLst>
                <a:gd name="connsiteX0" fmla="*/ 0 w 8562234"/>
                <a:gd name="connsiteY0" fmla="*/ 0 h 3661559"/>
                <a:gd name="connsiteX1" fmla="*/ 39643 w 8562234"/>
                <a:gd name="connsiteY1" fmla="*/ 0 h 3661559"/>
                <a:gd name="connsiteX2" fmla="*/ 254626 w 8562234"/>
                <a:gd name="connsiteY2" fmla="*/ 74782 h 3661559"/>
                <a:gd name="connsiteX3" fmla="*/ 1773234 w 8562234"/>
                <a:gd name="connsiteY3" fmla="*/ 363226 h 3661559"/>
                <a:gd name="connsiteX4" fmla="*/ 3612031 w 8562234"/>
                <a:gd name="connsiteY4" fmla="*/ 772237 h 3661559"/>
                <a:gd name="connsiteX5" fmla="*/ 4834846 w 8562234"/>
                <a:gd name="connsiteY5" fmla="*/ 1672671 h 3661559"/>
                <a:gd name="connsiteX6" fmla="*/ 5886894 w 8562234"/>
                <a:gd name="connsiteY6" fmla="*/ 2492219 h 3661559"/>
                <a:gd name="connsiteX7" fmla="*/ 6937417 w 8562234"/>
                <a:gd name="connsiteY7" fmla="*/ 2957698 h 3661559"/>
                <a:gd name="connsiteX8" fmla="*/ 7414650 w 8562234"/>
                <a:gd name="connsiteY8" fmla="*/ 3154572 h 3661559"/>
                <a:gd name="connsiteX9" fmla="*/ 8444833 w 8562234"/>
                <a:gd name="connsiteY9" fmla="*/ 3595961 h 3661559"/>
                <a:gd name="connsiteX10" fmla="*/ 8562234 w 8562234"/>
                <a:gd name="connsiteY10" fmla="*/ 3646262 h 3661559"/>
                <a:gd name="connsiteX11" fmla="*/ 8562234 w 8562234"/>
                <a:gd name="connsiteY11" fmla="*/ 3661559 h 3661559"/>
                <a:gd name="connsiteX12" fmla="*/ 8508056 w 8562234"/>
                <a:gd name="connsiteY12" fmla="*/ 3638365 h 3661559"/>
                <a:gd name="connsiteX13" fmla="*/ 7410076 w 8562234"/>
                <a:gd name="connsiteY13" fmla="*/ 3168308 h 3661559"/>
                <a:gd name="connsiteX14" fmla="*/ 6932843 w 8562234"/>
                <a:gd name="connsiteY14" fmla="*/ 2971433 h 3661559"/>
                <a:gd name="connsiteX15" fmla="*/ 5879270 w 8562234"/>
                <a:gd name="connsiteY15" fmla="*/ 2504428 h 3661559"/>
                <a:gd name="connsiteX16" fmla="*/ 4825698 w 8562234"/>
                <a:gd name="connsiteY16" fmla="*/ 1683354 h 3661559"/>
                <a:gd name="connsiteX17" fmla="*/ 3605932 w 8562234"/>
                <a:gd name="connsiteY17" fmla="*/ 785972 h 3661559"/>
                <a:gd name="connsiteX18" fmla="*/ 1771710 w 8562234"/>
                <a:gd name="connsiteY18" fmla="*/ 378488 h 3661559"/>
                <a:gd name="connsiteX19" fmla="*/ 250052 w 8562234"/>
                <a:gd name="connsiteY19" fmla="*/ 88517 h 3661559"/>
                <a:gd name="connsiteX20" fmla="*/ 0 w 8562234"/>
                <a:gd name="connsiteY20" fmla="*/ 0 h 3661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8562234" h="3661559">
                  <a:moveTo>
                    <a:pt x="0" y="0"/>
                  </a:moveTo>
                  <a:cubicBezTo>
                    <a:pt x="0" y="0"/>
                    <a:pt x="0" y="0"/>
                    <a:pt x="39643" y="0"/>
                  </a:cubicBezTo>
                  <a:cubicBezTo>
                    <a:pt x="111304" y="25945"/>
                    <a:pt x="182965" y="51890"/>
                    <a:pt x="254626" y="74782"/>
                  </a:cubicBezTo>
                  <a:cubicBezTo>
                    <a:pt x="744057" y="233503"/>
                    <a:pt x="1267032" y="300654"/>
                    <a:pt x="1773234" y="363226"/>
                  </a:cubicBezTo>
                  <a:cubicBezTo>
                    <a:pt x="2390741" y="441060"/>
                    <a:pt x="3028068" y="521947"/>
                    <a:pt x="3612031" y="772237"/>
                  </a:cubicBezTo>
                  <a:cubicBezTo>
                    <a:pt x="4090789" y="978269"/>
                    <a:pt x="4468917" y="1330812"/>
                    <a:pt x="4834846" y="1672671"/>
                  </a:cubicBezTo>
                  <a:cubicBezTo>
                    <a:pt x="5155034" y="1973325"/>
                    <a:pt x="5487420" y="2283135"/>
                    <a:pt x="5886894" y="2492219"/>
                  </a:cubicBezTo>
                  <a:cubicBezTo>
                    <a:pt x="6222330" y="2669254"/>
                    <a:pt x="6586734" y="2815765"/>
                    <a:pt x="6937417" y="2957698"/>
                  </a:cubicBezTo>
                  <a:cubicBezTo>
                    <a:pt x="7095986" y="3021797"/>
                    <a:pt x="7257606" y="3087421"/>
                    <a:pt x="7414650" y="3154572"/>
                  </a:cubicBezTo>
                  <a:cubicBezTo>
                    <a:pt x="7414650" y="3154572"/>
                    <a:pt x="7414650" y="3154572"/>
                    <a:pt x="8444833" y="3595961"/>
                  </a:cubicBezTo>
                  <a:lnTo>
                    <a:pt x="8562234" y="3646262"/>
                  </a:lnTo>
                  <a:lnTo>
                    <a:pt x="8562234" y="3661559"/>
                  </a:lnTo>
                  <a:lnTo>
                    <a:pt x="8508056" y="3638365"/>
                  </a:lnTo>
                  <a:cubicBezTo>
                    <a:pt x="8351202" y="3571214"/>
                    <a:pt x="8037493" y="3436912"/>
                    <a:pt x="7410076" y="3168308"/>
                  </a:cubicBezTo>
                  <a:cubicBezTo>
                    <a:pt x="7253032" y="3099631"/>
                    <a:pt x="7089888" y="3034006"/>
                    <a:pt x="6932843" y="2971433"/>
                  </a:cubicBezTo>
                  <a:cubicBezTo>
                    <a:pt x="6580636" y="2827974"/>
                    <a:pt x="6216230" y="2681463"/>
                    <a:pt x="5879270" y="2504428"/>
                  </a:cubicBezTo>
                  <a:cubicBezTo>
                    <a:pt x="5479797" y="2293818"/>
                    <a:pt x="5147411" y="1984008"/>
                    <a:pt x="4825698" y="1683354"/>
                  </a:cubicBezTo>
                  <a:cubicBezTo>
                    <a:pt x="4459768" y="1343021"/>
                    <a:pt x="4081641" y="990478"/>
                    <a:pt x="3605932" y="785972"/>
                  </a:cubicBezTo>
                  <a:cubicBezTo>
                    <a:pt x="3025019" y="535682"/>
                    <a:pt x="2387691" y="456322"/>
                    <a:pt x="1771710" y="378488"/>
                  </a:cubicBezTo>
                  <a:cubicBezTo>
                    <a:pt x="1265507" y="314389"/>
                    <a:pt x="741008" y="247238"/>
                    <a:pt x="250052" y="88517"/>
                  </a:cubicBezTo>
                  <a:cubicBezTo>
                    <a:pt x="166193" y="61046"/>
                    <a:pt x="82335" y="30523"/>
                    <a:pt x="0" y="0"/>
                  </a:cubicBezTo>
                  <a:close/>
                </a:path>
              </a:pathLst>
            </a:custGeom>
            <a:solidFill>
              <a:srgbClr val="C4C5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18" name="Freeform: Shape 117"/>
            <p:cNvSpPr>
              <a:spLocks/>
            </p:cNvSpPr>
            <p:nvPr userDrawn="1"/>
          </p:nvSpPr>
          <p:spPr bwMode="auto">
            <a:xfrm>
              <a:off x="4188958" y="1"/>
              <a:ext cx="8004242" cy="3467965"/>
            </a:xfrm>
            <a:custGeom>
              <a:avLst/>
              <a:gdLst>
                <a:gd name="connsiteX0" fmla="*/ 0 w 8004242"/>
                <a:gd name="connsiteY0" fmla="*/ 0 h 3467965"/>
                <a:gd name="connsiteX1" fmla="*/ 50316 w 8004242"/>
                <a:gd name="connsiteY1" fmla="*/ 0 h 3467965"/>
                <a:gd name="connsiteX2" fmla="*/ 1299059 w 8004242"/>
                <a:gd name="connsiteY2" fmla="*/ 276214 h 3467965"/>
                <a:gd name="connsiteX3" fmla="*/ 3136342 w 8004242"/>
                <a:gd name="connsiteY3" fmla="*/ 761495 h 3467965"/>
                <a:gd name="connsiteX4" fmla="*/ 4346967 w 8004242"/>
                <a:gd name="connsiteY4" fmla="*/ 1579454 h 3467965"/>
                <a:gd name="connsiteX5" fmla="*/ 5402071 w 8004242"/>
                <a:gd name="connsiteY5" fmla="*/ 2325689 h 3467965"/>
                <a:gd name="connsiteX6" fmla="*/ 7582416 w 8004242"/>
                <a:gd name="connsiteY6" fmla="*/ 3279466 h 3467965"/>
                <a:gd name="connsiteX7" fmla="*/ 8004242 w 8004242"/>
                <a:gd name="connsiteY7" fmla="*/ 3452516 h 3467965"/>
                <a:gd name="connsiteX8" fmla="*/ 8004242 w 8004242"/>
                <a:gd name="connsiteY8" fmla="*/ 3467965 h 3467965"/>
                <a:gd name="connsiteX9" fmla="*/ 7576316 w 8004242"/>
                <a:gd name="connsiteY9" fmla="*/ 3293200 h 3467965"/>
                <a:gd name="connsiteX10" fmla="*/ 5394447 w 8004242"/>
                <a:gd name="connsiteY10" fmla="*/ 2337897 h 3467965"/>
                <a:gd name="connsiteX11" fmla="*/ 4337818 w 8004242"/>
                <a:gd name="connsiteY11" fmla="*/ 1591663 h 3467965"/>
                <a:gd name="connsiteX12" fmla="*/ 3130243 w 8004242"/>
                <a:gd name="connsiteY12" fmla="*/ 775230 h 3467965"/>
                <a:gd name="connsiteX13" fmla="*/ 1296009 w 8004242"/>
                <a:gd name="connsiteY13" fmla="*/ 289948 h 3467965"/>
                <a:gd name="connsiteX14" fmla="*/ 0 w 8004242"/>
                <a:gd name="connsiteY14" fmla="*/ 0 h 3467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004242" h="3467965">
                  <a:moveTo>
                    <a:pt x="0" y="0"/>
                  </a:moveTo>
                  <a:cubicBezTo>
                    <a:pt x="0" y="0"/>
                    <a:pt x="0" y="0"/>
                    <a:pt x="50316" y="0"/>
                  </a:cubicBezTo>
                  <a:cubicBezTo>
                    <a:pt x="460465" y="119031"/>
                    <a:pt x="885861" y="198386"/>
                    <a:pt x="1299059" y="276214"/>
                  </a:cubicBezTo>
                  <a:cubicBezTo>
                    <a:pt x="1913519" y="390667"/>
                    <a:pt x="2550851" y="509698"/>
                    <a:pt x="3136342" y="761495"/>
                  </a:cubicBezTo>
                  <a:cubicBezTo>
                    <a:pt x="3593757" y="958355"/>
                    <a:pt x="3976461" y="1274246"/>
                    <a:pt x="4346967" y="1579454"/>
                  </a:cubicBezTo>
                  <a:cubicBezTo>
                    <a:pt x="4673256" y="1849564"/>
                    <a:pt x="5011744" y="2130356"/>
                    <a:pt x="5402071" y="2325689"/>
                  </a:cubicBezTo>
                  <a:cubicBezTo>
                    <a:pt x="6104965" y="2679731"/>
                    <a:pt x="6856650" y="2984939"/>
                    <a:pt x="7582416" y="3279466"/>
                  </a:cubicBezTo>
                  <a:lnTo>
                    <a:pt x="8004242" y="3452516"/>
                  </a:lnTo>
                  <a:lnTo>
                    <a:pt x="8004242" y="3467965"/>
                  </a:lnTo>
                  <a:lnTo>
                    <a:pt x="7576316" y="3293200"/>
                  </a:lnTo>
                  <a:cubicBezTo>
                    <a:pt x="6850552" y="2998674"/>
                    <a:pt x="6100391" y="2693465"/>
                    <a:pt x="5394447" y="2337897"/>
                  </a:cubicBezTo>
                  <a:cubicBezTo>
                    <a:pt x="5004120" y="2142564"/>
                    <a:pt x="4665632" y="1861772"/>
                    <a:pt x="4337818" y="1591663"/>
                  </a:cubicBezTo>
                  <a:cubicBezTo>
                    <a:pt x="3968837" y="1286454"/>
                    <a:pt x="3586133" y="970563"/>
                    <a:pt x="3130243" y="775230"/>
                  </a:cubicBezTo>
                  <a:cubicBezTo>
                    <a:pt x="2546277" y="523433"/>
                    <a:pt x="1910470" y="405927"/>
                    <a:pt x="1296009" y="289948"/>
                  </a:cubicBezTo>
                  <a:cubicBezTo>
                    <a:pt x="867564" y="210594"/>
                    <a:pt x="425396" y="128188"/>
                    <a:pt x="0" y="0"/>
                  </a:cubicBezTo>
                  <a:close/>
                </a:path>
              </a:pathLst>
            </a:custGeom>
            <a:solidFill>
              <a:srgbClr val="C3C5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14" name="Freeform: Shape 113"/>
            <p:cNvSpPr>
              <a:spLocks/>
            </p:cNvSpPr>
            <p:nvPr userDrawn="1"/>
          </p:nvSpPr>
          <p:spPr bwMode="auto">
            <a:xfrm>
              <a:off x="4780622" y="1"/>
              <a:ext cx="7412579" cy="3266743"/>
            </a:xfrm>
            <a:custGeom>
              <a:avLst/>
              <a:gdLst>
                <a:gd name="connsiteX0" fmla="*/ 0 w 7412579"/>
                <a:gd name="connsiteY0" fmla="*/ 0 h 3266743"/>
                <a:gd name="connsiteX1" fmla="*/ 54890 w 7412579"/>
                <a:gd name="connsiteY1" fmla="*/ 0 h 3266743"/>
                <a:gd name="connsiteX2" fmla="*/ 792845 w 7412579"/>
                <a:gd name="connsiteY2" fmla="*/ 189200 h 3266743"/>
                <a:gd name="connsiteX3" fmla="*/ 2625536 w 7412579"/>
                <a:gd name="connsiteY3" fmla="*/ 749170 h 3266743"/>
                <a:gd name="connsiteX4" fmla="*/ 3822427 w 7412579"/>
                <a:gd name="connsiteY4" fmla="*/ 1484608 h 3266743"/>
                <a:gd name="connsiteX5" fmla="*/ 4882095 w 7412579"/>
                <a:gd name="connsiteY5" fmla="*/ 2159014 h 3266743"/>
                <a:gd name="connsiteX6" fmla="*/ 7057843 w 7412579"/>
                <a:gd name="connsiteY6" fmla="*/ 3103487 h 3266743"/>
                <a:gd name="connsiteX7" fmla="*/ 7412579 w 7412579"/>
                <a:gd name="connsiteY7" fmla="*/ 3250217 h 3266743"/>
                <a:gd name="connsiteX8" fmla="*/ 7412579 w 7412579"/>
                <a:gd name="connsiteY8" fmla="*/ 3266743 h 3266743"/>
                <a:gd name="connsiteX9" fmla="*/ 7053269 w 7412579"/>
                <a:gd name="connsiteY9" fmla="*/ 3117219 h 3266743"/>
                <a:gd name="connsiteX10" fmla="*/ 4875995 w 7412579"/>
                <a:gd name="connsiteY10" fmla="*/ 2171220 h 3266743"/>
                <a:gd name="connsiteX11" fmla="*/ 3814803 w 7412579"/>
                <a:gd name="connsiteY11" fmla="*/ 1496814 h 3266743"/>
                <a:gd name="connsiteX12" fmla="*/ 2620962 w 7412579"/>
                <a:gd name="connsiteY12" fmla="*/ 761377 h 3266743"/>
                <a:gd name="connsiteX13" fmla="*/ 789796 w 7412579"/>
                <a:gd name="connsiteY13" fmla="*/ 202932 h 3266743"/>
                <a:gd name="connsiteX14" fmla="*/ 0 w 7412579"/>
                <a:gd name="connsiteY14" fmla="*/ 0 h 3266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412579" h="3266743">
                  <a:moveTo>
                    <a:pt x="0" y="0"/>
                  </a:moveTo>
                  <a:cubicBezTo>
                    <a:pt x="0" y="0"/>
                    <a:pt x="0" y="0"/>
                    <a:pt x="54890" y="0"/>
                  </a:cubicBezTo>
                  <a:cubicBezTo>
                    <a:pt x="301891" y="67135"/>
                    <a:pt x="548893" y="128168"/>
                    <a:pt x="792845" y="189200"/>
                  </a:cubicBezTo>
                  <a:cubicBezTo>
                    <a:pt x="1404250" y="340254"/>
                    <a:pt x="2037001" y="495887"/>
                    <a:pt x="2625536" y="749170"/>
                  </a:cubicBezTo>
                  <a:cubicBezTo>
                    <a:pt x="3063126" y="936844"/>
                    <a:pt x="3448875" y="1214541"/>
                    <a:pt x="3822427" y="1484608"/>
                  </a:cubicBezTo>
                  <a:cubicBezTo>
                    <a:pt x="4156337" y="1725685"/>
                    <a:pt x="4502443" y="1975917"/>
                    <a:pt x="4882095" y="2159014"/>
                  </a:cubicBezTo>
                  <a:cubicBezTo>
                    <a:pt x="5592605" y="2500794"/>
                    <a:pt x="6338185" y="2807480"/>
                    <a:pt x="7057843" y="3103487"/>
                  </a:cubicBezTo>
                  <a:lnTo>
                    <a:pt x="7412579" y="3250217"/>
                  </a:lnTo>
                  <a:lnTo>
                    <a:pt x="7412579" y="3266743"/>
                  </a:lnTo>
                  <a:lnTo>
                    <a:pt x="7053269" y="3117219"/>
                  </a:lnTo>
                  <a:cubicBezTo>
                    <a:pt x="6332085" y="2821213"/>
                    <a:pt x="5586507" y="2513000"/>
                    <a:pt x="4875995" y="2171220"/>
                  </a:cubicBezTo>
                  <a:cubicBezTo>
                    <a:pt x="4494820" y="1988123"/>
                    <a:pt x="4148713" y="1737892"/>
                    <a:pt x="3814803" y="1496814"/>
                  </a:cubicBezTo>
                  <a:cubicBezTo>
                    <a:pt x="3441252" y="1226747"/>
                    <a:pt x="3055502" y="949051"/>
                    <a:pt x="2620962" y="761377"/>
                  </a:cubicBezTo>
                  <a:cubicBezTo>
                    <a:pt x="2030903" y="509619"/>
                    <a:pt x="1399676" y="353987"/>
                    <a:pt x="789796" y="202932"/>
                  </a:cubicBezTo>
                  <a:cubicBezTo>
                    <a:pt x="529072" y="138848"/>
                    <a:pt x="263774" y="73239"/>
                    <a:pt x="0" y="0"/>
                  </a:cubicBezTo>
                  <a:close/>
                </a:path>
              </a:pathLst>
            </a:custGeom>
            <a:solidFill>
              <a:srgbClr val="C3C4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12" name="Freeform: Shape 111"/>
            <p:cNvSpPr>
              <a:spLocks/>
            </p:cNvSpPr>
            <p:nvPr userDrawn="1"/>
          </p:nvSpPr>
          <p:spPr bwMode="auto">
            <a:xfrm>
              <a:off x="5279287" y="1"/>
              <a:ext cx="6913913" cy="3065889"/>
            </a:xfrm>
            <a:custGeom>
              <a:avLst/>
              <a:gdLst>
                <a:gd name="connsiteX0" fmla="*/ 0 w 6913913"/>
                <a:gd name="connsiteY0" fmla="*/ 0 h 3065889"/>
                <a:gd name="connsiteX1" fmla="*/ 50315 w 6913913"/>
                <a:gd name="connsiteY1" fmla="*/ 0 h 3065889"/>
                <a:gd name="connsiteX2" fmla="*/ 385745 w 6913913"/>
                <a:gd name="connsiteY2" fmla="*/ 102261 h 3065889"/>
                <a:gd name="connsiteX3" fmla="*/ 2204691 w 6913913"/>
                <a:gd name="connsiteY3" fmla="*/ 731090 h 3065889"/>
                <a:gd name="connsiteX4" fmla="*/ 3387845 w 6913913"/>
                <a:gd name="connsiteY4" fmla="*/ 1387393 h 3065889"/>
                <a:gd name="connsiteX5" fmla="*/ 4456647 w 6913913"/>
                <a:gd name="connsiteY5" fmla="*/ 1993328 h 3065889"/>
                <a:gd name="connsiteX6" fmla="*/ 6621696 w 6913913"/>
                <a:gd name="connsiteY6" fmla="*/ 2927414 h 3065889"/>
                <a:gd name="connsiteX7" fmla="*/ 6913913 w 6913913"/>
                <a:gd name="connsiteY7" fmla="*/ 3049393 h 3065889"/>
                <a:gd name="connsiteX8" fmla="*/ 6913913 w 6913913"/>
                <a:gd name="connsiteY8" fmla="*/ 3065889 h 3065889"/>
                <a:gd name="connsiteX9" fmla="*/ 6617122 w 6913913"/>
                <a:gd name="connsiteY9" fmla="*/ 2941151 h 3065889"/>
                <a:gd name="connsiteX10" fmla="*/ 4450549 w 6913913"/>
                <a:gd name="connsiteY10" fmla="*/ 2005538 h 3065889"/>
                <a:gd name="connsiteX11" fmla="*/ 3380221 w 6913913"/>
                <a:gd name="connsiteY11" fmla="*/ 1399603 h 3065889"/>
                <a:gd name="connsiteX12" fmla="*/ 2200117 w 6913913"/>
                <a:gd name="connsiteY12" fmla="*/ 744827 h 3065889"/>
                <a:gd name="connsiteX13" fmla="*/ 381171 w 6913913"/>
                <a:gd name="connsiteY13" fmla="*/ 117524 h 3065889"/>
                <a:gd name="connsiteX14" fmla="*/ 0 w 6913913"/>
                <a:gd name="connsiteY14" fmla="*/ 0 h 3065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913913" h="3065889">
                  <a:moveTo>
                    <a:pt x="0" y="0"/>
                  </a:moveTo>
                  <a:cubicBezTo>
                    <a:pt x="0" y="0"/>
                    <a:pt x="0" y="0"/>
                    <a:pt x="50315" y="0"/>
                  </a:cubicBezTo>
                  <a:cubicBezTo>
                    <a:pt x="163141" y="35105"/>
                    <a:pt x="274443" y="68683"/>
                    <a:pt x="385745" y="102261"/>
                  </a:cubicBezTo>
                  <a:cubicBezTo>
                    <a:pt x="989519" y="286942"/>
                    <a:pt x="1614639" y="477727"/>
                    <a:pt x="2204691" y="731090"/>
                  </a:cubicBezTo>
                  <a:cubicBezTo>
                    <a:pt x="2622454" y="911192"/>
                    <a:pt x="3011248" y="1152345"/>
                    <a:pt x="3387845" y="1387393"/>
                  </a:cubicBezTo>
                  <a:cubicBezTo>
                    <a:pt x="3729373" y="1601073"/>
                    <a:pt x="4083100" y="1820858"/>
                    <a:pt x="4456647" y="1993328"/>
                  </a:cubicBezTo>
                  <a:cubicBezTo>
                    <a:pt x="5170199" y="2319953"/>
                    <a:pt x="5908145" y="2629789"/>
                    <a:pt x="6621696" y="2927414"/>
                  </a:cubicBezTo>
                  <a:lnTo>
                    <a:pt x="6913913" y="3049393"/>
                  </a:lnTo>
                  <a:lnTo>
                    <a:pt x="6913913" y="3065889"/>
                  </a:lnTo>
                  <a:lnTo>
                    <a:pt x="6617122" y="2941151"/>
                  </a:lnTo>
                  <a:cubicBezTo>
                    <a:pt x="5902046" y="2641999"/>
                    <a:pt x="5164099" y="2333689"/>
                    <a:pt x="4450549" y="2005538"/>
                  </a:cubicBezTo>
                  <a:cubicBezTo>
                    <a:pt x="4075477" y="1834594"/>
                    <a:pt x="3721750" y="1613283"/>
                    <a:pt x="3380221" y="1399603"/>
                  </a:cubicBezTo>
                  <a:cubicBezTo>
                    <a:pt x="3005149" y="1166082"/>
                    <a:pt x="2616355" y="923402"/>
                    <a:pt x="2200117" y="744827"/>
                  </a:cubicBezTo>
                  <a:cubicBezTo>
                    <a:pt x="1608540" y="491464"/>
                    <a:pt x="984945" y="300678"/>
                    <a:pt x="381171" y="117524"/>
                  </a:cubicBezTo>
                  <a:cubicBezTo>
                    <a:pt x="254622" y="77841"/>
                    <a:pt x="128074" y="39683"/>
                    <a:pt x="0" y="0"/>
                  </a:cubicBezTo>
                  <a:close/>
                </a:path>
              </a:pathLst>
            </a:custGeom>
            <a:solidFill>
              <a:srgbClr val="C2C4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10" name="Freeform: Shape 109"/>
            <p:cNvSpPr>
              <a:spLocks/>
            </p:cNvSpPr>
            <p:nvPr userDrawn="1"/>
          </p:nvSpPr>
          <p:spPr bwMode="auto">
            <a:xfrm>
              <a:off x="5667316" y="1"/>
              <a:ext cx="6525884" cy="2863221"/>
            </a:xfrm>
            <a:custGeom>
              <a:avLst/>
              <a:gdLst>
                <a:gd name="connsiteX0" fmla="*/ 0 w 6525884"/>
                <a:gd name="connsiteY0" fmla="*/ 0 h 2863221"/>
                <a:gd name="connsiteX1" fmla="*/ 44221 w 6525884"/>
                <a:gd name="connsiteY1" fmla="*/ 0 h 2863221"/>
                <a:gd name="connsiteX2" fmla="*/ 109790 w 6525884"/>
                <a:gd name="connsiteY2" fmla="*/ 24416 h 2863221"/>
                <a:gd name="connsiteX3" fmla="*/ 1889300 w 6525884"/>
                <a:gd name="connsiteY3" fmla="*/ 708059 h 2863221"/>
                <a:gd name="connsiteX4" fmla="*/ 3051242 w 6525884"/>
                <a:gd name="connsiteY4" fmla="*/ 1281831 h 2863221"/>
                <a:gd name="connsiteX5" fmla="*/ 4141516 w 6525884"/>
                <a:gd name="connsiteY5" fmla="*/ 1825084 h 2863221"/>
                <a:gd name="connsiteX6" fmla="*/ 6273268 w 6525884"/>
                <a:gd name="connsiteY6" fmla="*/ 2739151 h 2863221"/>
                <a:gd name="connsiteX7" fmla="*/ 6525884 w 6525884"/>
                <a:gd name="connsiteY7" fmla="*/ 2846566 h 2863221"/>
                <a:gd name="connsiteX8" fmla="*/ 6525884 w 6525884"/>
                <a:gd name="connsiteY8" fmla="*/ 2863221 h 2863221"/>
                <a:gd name="connsiteX9" fmla="*/ 6267168 w 6525884"/>
                <a:gd name="connsiteY9" fmla="*/ 2752885 h 2863221"/>
                <a:gd name="connsiteX10" fmla="*/ 4135416 w 6525884"/>
                <a:gd name="connsiteY10" fmla="*/ 1838818 h 2863221"/>
                <a:gd name="connsiteX11" fmla="*/ 3045142 w 6525884"/>
                <a:gd name="connsiteY11" fmla="*/ 1295565 h 2863221"/>
                <a:gd name="connsiteX12" fmla="*/ 1883200 w 6525884"/>
                <a:gd name="connsiteY12" fmla="*/ 721793 h 2863221"/>
                <a:gd name="connsiteX13" fmla="*/ 105215 w 6525884"/>
                <a:gd name="connsiteY13" fmla="*/ 38150 h 2863221"/>
                <a:gd name="connsiteX14" fmla="*/ 0 w 6525884"/>
                <a:gd name="connsiteY14" fmla="*/ 0 h 2863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525884" h="2863221">
                  <a:moveTo>
                    <a:pt x="0" y="0"/>
                  </a:moveTo>
                  <a:cubicBezTo>
                    <a:pt x="0" y="0"/>
                    <a:pt x="0" y="0"/>
                    <a:pt x="44221" y="0"/>
                  </a:cubicBezTo>
                  <a:cubicBezTo>
                    <a:pt x="65569" y="7630"/>
                    <a:pt x="88442" y="15260"/>
                    <a:pt x="109790" y="24416"/>
                  </a:cubicBezTo>
                  <a:cubicBezTo>
                    <a:pt x="698385" y="238054"/>
                    <a:pt x="1305279" y="457797"/>
                    <a:pt x="1889300" y="708059"/>
                  </a:cubicBezTo>
                  <a:cubicBezTo>
                    <a:pt x="2288813" y="878970"/>
                    <a:pt x="2676127" y="1083453"/>
                    <a:pt x="3051242" y="1281831"/>
                  </a:cubicBezTo>
                  <a:cubicBezTo>
                    <a:pt x="3403484" y="1469528"/>
                    <a:pt x="3769450" y="1661803"/>
                    <a:pt x="4141516" y="1825084"/>
                  </a:cubicBezTo>
                  <a:cubicBezTo>
                    <a:pt x="4849050" y="2136385"/>
                    <a:pt x="5573358" y="2443109"/>
                    <a:pt x="6273268" y="2739151"/>
                  </a:cubicBezTo>
                  <a:lnTo>
                    <a:pt x="6525884" y="2846566"/>
                  </a:lnTo>
                  <a:lnTo>
                    <a:pt x="6525884" y="2863221"/>
                  </a:lnTo>
                  <a:lnTo>
                    <a:pt x="6267168" y="2752885"/>
                  </a:lnTo>
                  <a:cubicBezTo>
                    <a:pt x="5567258" y="2456843"/>
                    <a:pt x="4842950" y="2150119"/>
                    <a:pt x="4135416" y="1838818"/>
                  </a:cubicBezTo>
                  <a:cubicBezTo>
                    <a:pt x="3761826" y="1675537"/>
                    <a:pt x="3397385" y="1481736"/>
                    <a:pt x="3045142" y="1295565"/>
                  </a:cubicBezTo>
                  <a:cubicBezTo>
                    <a:pt x="2670027" y="1097187"/>
                    <a:pt x="2281188" y="892704"/>
                    <a:pt x="1883200" y="721793"/>
                  </a:cubicBezTo>
                  <a:cubicBezTo>
                    <a:pt x="1299180" y="471531"/>
                    <a:pt x="692286" y="251788"/>
                    <a:pt x="105215" y="38150"/>
                  </a:cubicBezTo>
                  <a:cubicBezTo>
                    <a:pt x="70144" y="25942"/>
                    <a:pt x="35072" y="12208"/>
                    <a:pt x="0" y="0"/>
                  </a:cubicBezTo>
                  <a:close/>
                </a:path>
              </a:pathLst>
            </a:custGeom>
            <a:solidFill>
              <a:srgbClr val="C2C3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51" name="Freeform 40"/>
            <p:cNvSpPr>
              <a:spLocks/>
            </p:cNvSpPr>
            <p:nvPr userDrawn="1"/>
          </p:nvSpPr>
          <p:spPr bwMode="auto">
            <a:xfrm>
              <a:off x="-792" y="4832724"/>
              <a:ext cx="5053996" cy="732765"/>
            </a:xfrm>
            <a:custGeom>
              <a:avLst/>
              <a:gdLst>
                <a:gd name="T0" fmla="*/ 2531 w 3314"/>
                <a:gd name="T1" fmla="*/ 341 h 480"/>
                <a:gd name="T2" fmla="*/ 2388 w 3314"/>
                <a:gd name="T3" fmla="*/ 357 h 480"/>
                <a:gd name="T4" fmla="*/ 2141 w 3314"/>
                <a:gd name="T5" fmla="*/ 386 h 480"/>
                <a:gd name="T6" fmla="*/ 1044 w 3314"/>
                <a:gd name="T7" fmla="*/ 413 h 480"/>
                <a:gd name="T8" fmla="*/ 290 w 3314"/>
                <a:gd name="T9" fmla="*/ 132 h 480"/>
                <a:gd name="T10" fmla="*/ 18 w 3314"/>
                <a:gd name="T11" fmla="*/ 8 h 480"/>
                <a:gd name="T12" fmla="*/ 0 w 3314"/>
                <a:gd name="T13" fmla="*/ 0 h 480"/>
                <a:gd name="T14" fmla="*/ 0 w 3314"/>
                <a:gd name="T15" fmla="*/ 4 h 480"/>
                <a:gd name="T16" fmla="*/ 17 w 3314"/>
                <a:gd name="T17" fmla="*/ 11 h 480"/>
                <a:gd name="T18" fmla="*/ 288 w 3314"/>
                <a:gd name="T19" fmla="*/ 135 h 480"/>
                <a:gd name="T20" fmla="*/ 1043 w 3314"/>
                <a:gd name="T21" fmla="*/ 416 h 480"/>
                <a:gd name="T22" fmla="*/ 2142 w 3314"/>
                <a:gd name="T23" fmla="*/ 390 h 480"/>
                <a:gd name="T24" fmla="*/ 2388 w 3314"/>
                <a:gd name="T25" fmla="*/ 361 h 480"/>
                <a:gd name="T26" fmla="*/ 2532 w 3314"/>
                <a:gd name="T27" fmla="*/ 345 h 480"/>
                <a:gd name="T28" fmla="*/ 3302 w 3314"/>
                <a:gd name="T29" fmla="*/ 315 h 480"/>
                <a:gd name="T30" fmla="*/ 3314 w 3314"/>
                <a:gd name="T31" fmla="*/ 313 h 480"/>
                <a:gd name="T32" fmla="*/ 2531 w 3314"/>
                <a:gd name="T33" fmla="*/ 341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14" h="480">
                  <a:moveTo>
                    <a:pt x="2531" y="341"/>
                  </a:moveTo>
                  <a:cubicBezTo>
                    <a:pt x="2481" y="347"/>
                    <a:pt x="2434" y="352"/>
                    <a:pt x="2388" y="357"/>
                  </a:cubicBezTo>
                  <a:cubicBezTo>
                    <a:pt x="2306" y="366"/>
                    <a:pt x="2222" y="376"/>
                    <a:pt x="2141" y="386"/>
                  </a:cubicBezTo>
                  <a:cubicBezTo>
                    <a:pt x="1778" y="431"/>
                    <a:pt x="1402" y="477"/>
                    <a:pt x="1044" y="413"/>
                  </a:cubicBezTo>
                  <a:cubicBezTo>
                    <a:pt x="788" y="367"/>
                    <a:pt x="535" y="247"/>
                    <a:pt x="290" y="132"/>
                  </a:cubicBezTo>
                  <a:cubicBezTo>
                    <a:pt x="196" y="88"/>
                    <a:pt x="107" y="46"/>
                    <a:pt x="18" y="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06" y="49"/>
                    <a:pt x="194" y="91"/>
                    <a:pt x="288" y="135"/>
                  </a:cubicBezTo>
                  <a:cubicBezTo>
                    <a:pt x="533" y="251"/>
                    <a:pt x="787" y="370"/>
                    <a:pt x="1043" y="416"/>
                  </a:cubicBezTo>
                  <a:cubicBezTo>
                    <a:pt x="1402" y="480"/>
                    <a:pt x="1778" y="434"/>
                    <a:pt x="2142" y="390"/>
                  </a:cubicBezTo>
                  <a:cubicBezTo>
                    <a:pt x="2223" y="380"/>
                    <a:pt x="2307" y="370"/>
                    <a:pt x="2388" y="361"/>
                  </a:cubicBezTo>
                  <a:cubicBezTo>
                    <a:pt x="2434" y="356"/>
                    <a:pt x="2482" y="351"/>
                    <a:pt x="2532" y="345"/>
                  </a:cubicBezTo>
                  <a:cubicBezTo>
                    <a:pt x="2781" y="315"/>
                    <a:pt x="3053" y="284"/>
                    <a:pt x="3302" y="315"/>
                  </a:cubicBezTo>
                  <a:cubicBezTo>
                    <a:pt x="3314" y="313"/>
                    <a:pt x="3314" y="313"/>
                    <a:pt x="3314" y="313"/>
                  </a:cubicBezTo>
                  <a:cubicBezTo>
                    <a:pt x="3062" y="279"/>
                    <a:pt x="2785" y="311"/>
                    <a:pt x="2531" y="341"/>
                  </a:cubicBezTo>
                  <a:close/>
                </a:path>
              </a:pathLst>
            </a:custGeom>
            <a:solidFill>
              <a:srgbClr val="D3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2" name="Freeform 41"/>
            <p:cNvSpPr>
              <a:spLocks/>
            </p:cNvSpPr>
            <p:nvPr userDrawn="1"/>
          </p:nvSpPr>
          <p:spPr bwMode="auto">
            <a:xfrm>
              <a:off x="-792" y="4632296"/>
              <a:ext cx="5714608" cy="755213"/>
            </a:xfrm>
            <a:custGeom>
              <a:avLst/>
              <a:gdLst>
                <a:gd name="T0" fmla="*/ 3707 w 3747"/>
                <a:gd name="T1" fmla="*/ 348 h 495"/>
                <a:gd name="T2" fmla="*/ 2619 w 3747"/>
                <a:gd name="T3" fmla="*/ 320 h 495"/>
                <a:gd name="T4" fmla="*/ 2467 w 3747"/>
                <a:gd name="T5" fmla="*/ 342 h 495"/>
                <a:gd name="T6" fmla="*/ 2211 w 3747"/>
                <a:gd name="T7" fmla="*/ 379 h 495"/>
                <a:gd name="T8" fmla="*/ 1093 w 3747"/>
                <a:gd name="T9" fmla="*/ 431 h 495"/>
                <a:gd name="T10" fmla="*/ 336 w 3747"/>
                <a:gd name="T11" fmla="*/ 152 h 495"/>
                <a:gd name="T12" fmla="*/ 66 w 3747"/>
                <a:gd name="T13" fmla="*/ 28 h 495"/>
                <a:gd name="T14" fmla="*/ 0 w 3747"/>
                <a:gd name="T15" fmla="*/ 0 h 495"/>
                <a:gd name="T16" fmla="*/ 0 w 3747"/>
                <a:gd name="T17" fmla="*/ 4 h 495"/>
                <a:gd name="T18" fmla="*/ 64 w 3747"/>
                <a:gd name="T19" fmla="*/ 31 h 495"/>
                <a:gd name="T20" fmla="*/ 334 w 3747"/>
                <a:gd name="T21" fmla="*/ 155 h 495"/>
                <a:gd name="T22" fmla="*/ 1092 w 3747"/>
                <a:gd name="T23" fmla="*/ 435 h 495"/>
                <a:gd name="T24" fmla="*/ 2212 w 3747"/>
                <a:gd name="T25" fmla="*/ 382 h 495"/>
                <a:gd name="T26" fmla="*/ 2468 w 3747"/>
                <a:gd name="T27" fmla="*/ 346 h 495"/>
                <a:gd name="T28" fmla="*/ 2620 w 3747"/>
                <a:gd name="T29" fmla="*/ 324 h 495"/>
                <a:gd name="T30" fmla="*/ 3705 w 3747"/>
                <a:gd name="T31" fmla="*/ 351 h 495"/>
                <a:gd name="T32" fmla="*/ 3741 w 3747"/>
                <a:gd name="T33" fmla="*/ 368 h 495"/>
                <a:gd name="T34" fmla="*/ 3747 w 3747"/>
                <a:gd name="T35" fmla="*/ 367 h 495"/>
                <a:gd name="T36" fmla="*/ 3707 w 3747"/>
                <a:gd name="T37" fmla="*/ 348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747" h="495">
                  <a:moveTo>
                    <a:pt x="3707" y="348"/>
                  </a:moveTo>
                  <a:cubicBezTo>
                    <a:pt x="3390" y="209"/>
                    <a:pt x="2962" y="271"/>
                    <a:pt x="2619" y="320"/>
                  </a:cubicBezTo>
                  <a:cubicBezTo>
                    <a:pt x="2566" y="328"/>
                    <a:pt x="2516" y="335"/>
                    <a:pt x="2467" y="342"/>
                  </a:cubicBezTo>
                  <a:cubicBezTo>
                    <a:pt x="2383" y="353"/>
                    <a:pt x="2296" y="366"/>
                    <a:pt x="2211" y="379"/>
                  </a:cubicBezTo>
                  <a:cubicBezTo>
                    <a:pt x="1841" y="434"/>
                    <a:pt x="1458" y="491"/>
                    <a:pt x="1093" y="431"/>
                  </a:cubicBezTo>
                  <a:cubicBezTo>
                    <a:pt x="837" y="389"/>
                    <a:pt x="582" y="268"/>
                    <a:pt x="336" y="152"/>
                  </a:cubicBezTo>
                  <a:cubicBezTo>
                    <a:pt x="242" y="107"/>
                    <a:pt x="154" y="66"/>
                    <a:pt x="66" y="2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64" y="31"/>
                    <a:pt x="64" y="31"/>
                    <a:pt x="64" y="31"/>
                  </a:cubicBezTo>
                  <a:cubicBezTo>
                    <a:pt x="153" y="69"/>
                    <a:pt x="241" y="111"/>
                    <a:pt x="334" y="155"/>
                  </a:cubicBezTo>
                  <a:cubicBezTo>
                    <a:pt x="580" y="272"/>
                    <a:pt x="835" y="392"/>
                    <a:pt x="1092" y="435"/>
                  </a:cubicBezTo>
                  <a:cubicBezTo>
                    <a:pt x="1458" y="495"/>
                    <a:pt x="1841" y="438"/>
                    <a:pt x="2212" y="382"/>
                  </a:cubicBezTo>
                  <a:cubicBezTo>
                    <a:pt x="2296" y="370"/>
                    <a:pt x="2384" y="357"/>
                    <a:pt x="2468" y="346"/>
                  </a:cubicBezTo>
                  <a:cubicBezTo>
                    <a:pt x="2517" y="339"/>
                    <a:pt x="2567" y="332"/>
                    <a:pt x="2620" y="324"/>
                  </a:cubicBezTo>
                  <a:cubicBezTo>
                    <a:pt x="2962" y="275"/>
                    <a:pt x="3389" y="213"/>
                    <a:pt x="3705" y="351"/>
                  </a:cubicBezTo>
                  <a:cubicBezTo>
                    <a:pt x="3717" y="357"/>
                    <a:pt x="3729" y="362"/>
                    <a:pt x="3741" y="368"/>
                  </a:cubicBezTo>
                  <a:cubicBezTo>
                    <a:pt x="3747" y="367"/>
                    <a:pt x="3747" y="367"/>
                    <a:pt x="3747" y="367"/>
                  </a:cubicBezTo>
                  <a:cubicBezTo>
                    <a:pt x="3734" y="361"/>
                    <a:pt x="3720" y="354"/>
                    <a:pt x="3707" y="348"/>
                  </a:cubicBezTo>
                  <a:close/>
                </a:path>
              </a:pathLst>
            </a:custGeom>
            <a:solidFill>
              <a:srgbClr val="D3D4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3" name="Freeform 42"/>
            <p:cNvSpPr>
              <a:spLocks/>
            </p:cNvSpPr>
            <p:nvPr userDrawn="1"/>
          </p:nvSpPr>
          <p:spPr bwMode="auto">
            <a:xfrm>
              <a:off x="-792" y="4433471"/>
              <a:ext cx="6110654" cy="780868"/>
            </a:xfrm>
            <a:custGeom>
              <a:avLst/>
              <a:gdLst>
                <a:gd name="T0" fmla="*/ 3801 w 4007"/>
                <a:gd name="T1" fmla="*/ 317 h 512"/>
                <a:gd name="T2" fmla="*/ 2697 w 4007"/>
                <a:gd name="T3" fmla="*/ 307 h 512"/>
                <a:gd name="T4" fmla="*/ 2542 w 4007"/>
                <a:gd name="T5" fmla="*/ 332 h 512"/>
                <a:gd name="T6" fmla="*/ 2277 w 4007"/>
                <a:gd name="T7" fmla="*/ 376 h 512"/>
                <a:gd name="T8" fmla="*/ 1141 w 4007"/>
                <a:gd name="T9" fmla="*/ 450 h 512"/>
                <a:gd name="T10" fmla="*/ 383 w 4007"/>
                <a:gd name="T11" fmla="*/ 172 h 512"/>
                <a:gd name="T12" fmla="*/ 113 w 4007"/>
                <a:gd name="T13" fmla="*/ 48 h 512"/>
                <a:gd name="T14" fmla="*/ 0 w 4007"/>
                <a:gd name="T15" fmla="*/ 0 h 512"/>
                <a:gd name="T16" fmla="*/ 0 w 4007"/>
                <a:gd name="T17" fmla="*/ 4 h 512"/>
                <a:gd name="T18" fmla="*/ 112 w 4007"/>
                <a:gd name="T19" fmla="*/ 52 h 512"/>
                <a:gd name="T20" fmla="*/ 381 w 4007"/>
                <a:gd name="T21" fmla="*/ 176 h 512"/>
                <a:gd name="T22" fmla="*/ 1140 w 4007"/>
                <a:gd name="T23" fmla="*/ 454 h 512"/>
                <a:gd name="T24" fmla="*/ 2277 w 4007"/>
                <a:gd name="T25" fmla="*/ 380 h 512"/>
                <a:gd name="T26" fmla="*/ 2542 w 4007"/>
                <a:gd name="T27" fmla="*/ 336 h 512"/>
                <a:gd name="T28" fmla="*/ 2698 w 4007"/>
                <a:gd name="T29" fmla="*/ 311 h 512"/>
                <a:gd name="T30" fmla="*/ 3799 w 4007"/>
                <a:gd name="T31" fmla="*/ 321 h 512"/>
                <a:gd name="T32" fmla="*/ 4002 w 4007"/>
                <a:gd name="T33" fmla="*/ 453 h 512"/>
                <a:gd name="T34" fmla="*/ 4007 w 4007"/>
                <a:gd name="T35" fmla="*/ 453 h 512"/>
                <a:gd name="T36" fmla="*/ 3801 w 4007"/>
                <a:gd name="T37" fmla="*/ 317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07" h="512">
                  <a:moveTo>
                    <a:pt x="3801" y="317"/>
                  </a:moveTo>
                  <a:cubicBezTo>
                    <a:pt x="3480" y="176"/>
                    <a:pt x="3046" y="249"/>
                    <a:pt x="2697" y="307"/>
                  </a:cubicBezTo>
                  <a:cubicBezTo>
                    <a:pt x="2643" y="316"/>
                    <a:pt x="2591" y="325"/>
                    <a:pt x="2542" y="332"/>
                  </a:cubicBezTo>
                  <a:cubicBezTo>
                    <a:pt x="2455" y="346"/>
                    <a:pt x="2364" y="361"/>
                    <a:pt x="2277" y="376"/>
                  </a:cubicBezTo>
                  <a:cubicBezTo>
                    <a:pt x="1901" y="441"/>
                    <a:pt x="1512" y="508"/>
                    <a:pt x="1141" y="450"/>
                  </a:cubicBezTo>
                  <a:cubicBezTo>
                    <a:pt x="885" y="410"/>
                    <a:pt x="630" y="289"/>
                    <a:pt x="383" y="172"/>
                  </a:cubicBezTo>
                  <a:cubicBezTo>
                    <a:pt x="289" y="128"/>
                    <a:pt x="201" y="86"/>
                    <a:pt x="113" y="4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12" y="52"/>
                    <a:pt x="112" y="52"/>
                    <a:pt x="112" y="52"/>
                  </a:cubicBezTo>
                  <a:cubicBezTo>
                    <a:pt x="200" y="89"/>
                    <a:pt x="288" y="131"/>
                    <a:pt x="381" y="176"/>
                  </a:cubicBezTo>
                  <a:cubicBezTo>
                    <a:pt x="628" y="293"/>
                    <a:pt x="884" y="414"/>
                    <a:pt x="1140" y="454"/>
                  </a:cubicBezTo>
                  <a:cubicBezTo>
                    <a:pt x="1512" y="512"/>
                    <a:pt x="1901" y="445"/>
                    <a:pt x="2277" y="380"/>
                  </a:cubicBezTo>
                  <a:cubicBezTo>
                    <a:pt x="2365" y="365"/>
                    <a:pt x="2455" y="350"/>
                    <a:pt x="2542" y="336"/>
                  </a:cubicBezTo>
                  <a:cubicBezTo>
                    <a:pt x="2592" y="329"/>
                    <a:pt x="2643" y="320"/>
                    <a:pt x="2698" y="311"/>
                  </a:cubicBezTo>
                  <a:cubicBezTo>
                    <a:pt x="3046" y="253"/>
                    <a:pt x="3479" y="180"/>
                    <a:pt x="3799" y="321"/>
                  </a:cubicBezTo>
                  <a:cubicBezTo>
                    <a:pt x="3877" y="355"/>
                    <a:pt x="3944" y="400"/>
                    <a:pt x="4002" y="453"/>
                  </a:cubicBezTo>
                  <a:cubicBezTo>
                    <a:pt x="4007" y="453"/>
                    <a:pt x="4007" y="453"/>
                    <a:pt x="4007" y="453"/>
                  </a:cubicBezTo>
                  <a:cubicBezTo>
                    <a:pt x="3945" y="396"/>
                    <a:pt x="3877" y="351"/>
                    <a:pt x="3801" y="317"/>
                  </a:cubicBezTo>
                  <a:close/>
                </a:path>
              </a:pathLst>
            </a:custGeom>
            <a:solidFill>
              <a:srgbClr val="D2D4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4" name="Freeform 43"/>
            <p:cNvSpPr>
              <a:spLocks/>
            </p:cNvSpPr>
            <p:nvPr userDrawn="1"/>
          </p:nvSpPr>
          <p:spPr bwMode="auto">
            <a:xfrm>
              <a:off x="-792" y="4233043"/>
              <a:ext cx="6388046" cy="841798"/>
            </a:xfrm>
            <a:custGeom>
              <a:avLst/>
              <a:gdLst>
                <a:gd name="T0" fmla="*/ 3883 w 4189"/>
                <a:gd name="T1" fmla="*/ 299 h 552"/>
                <a:gd name="T2" fmla="*/ 2764 w 4189"/>
                <a:gd name="T3" fmla="*/ 302 h 552"/>
                <a:gd name="T4" fmla="*/ 2609 w 4189"/>
                <a:gd name="T5" fmla="*/ 330 h 552"/>
                <a:gd name="T6" fmla="*/ 2337 w 4189"/>
                <a:gd name="T7" fmla="*/ 380 h 552"/>
                <a:gd name="T8" fmla="*/ 1188 w 4189"/>
                <a:gd name="T9" fmla="*/ 471 h 552"/>
                <a:gd name="T10" fmla="*/ 431 w 4189"/>
                <a:gd name="T11" fmla="*/ 193 h 552"/>
                <a:gd name="T12" fmla="*/ 160 w 4189"/>
                <a:gd name="T13" fmla="*/ 68 h 552"/>
                <a:gd name="T14" fmla="*/ 0 w 4189"/>
                <a:gd name="T15" fmla="*/ 0 h 552"/>
                <a:gd name="T16" fmla="*/ 0 w 4189"/>
                <a:gd name="T17" fmla="*/ 4 h 552"/>
                <a:gd name="T18" fmla="*/ 159 w 4189"/>
                <a:gd name="T19" fmla="*/ 72 h 552"/>
                <a:gd name="T20" fmla="*/ 430 w 4189"/>
                <a:gd name="T21" fmla="*/ 197 h 552"/>
                <a:gd name="T22" fmla="*/ 1187 w 4189"/>
                <a:gd name="T23" fmla="*/ 475 h 552"/>
                <a:gd name="T24" fmla="*/ 2338 w 4189"/>
                <a:gd name="T25" fmla="*/ 384 h 552"/>
                <a:gd name="T26" fmla="*/ 2610 w 4189"/>
                <a:gd name="T27" fmla="*/ 334 h 552"/>
                <a:gd name="T28" fmla="*/ 2765 w 4189"/>
                <a:gd name="T29" fmla="*/ 306 h 552"/>
                <a:gd name="T30" fmla="*/ 3881 w 4189"/>
                <a:gd name="T31" fmla="*/ 303 h 552"/>
                <a:gd name="T32" fmla="*/ 4183 w 4189"/>
                <a:gd name="T33" fmla="*/ 552 h 552"/>
                <a:gd name="T34" fmla="*/ 4189 w 4189"/>
                <a:gd name="T35" fmla="*/ 551 h 552"/>
                <a:gd name="T36" fmla="*/ 3883 w 4189"/>
                <a:gd name="T37" fmla="*/ 299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189" h="552">
                  <a:moveTo>
                    <a:pt x="3883" y="299"/>
                  </a:moveTo>
                  <a:cubicBezTo>
                    <a:pt x="3557" y="156"/>
                    <a:pt x="3118" y="237"/>
                    <a:pt x="2764" y="302"/>
                  </a:cubicBezTo>
                  <a:cubicBezTo>
                    <a:pt x="2710" y="312"/>
                    <a:pt x="2659" y="322"/>
                    <a:pt x="2609" y="330"/>
                  </a:cubicBezTo>
                  <a:cubicBezTo>
                    <a:pt x="2520" y="345"/>
                    <a:pt x="2427" y="363"/>
                    <a:pt x="2337" y="380"/>
                  </a:cubicBezTo>
                  <a:cubicBezTo>
                    <a:pt x="1956" y="453"/>
                    <a:pt x="1563" y="528"/>
                    <a:pt x="1188" y="471"/>
                  </a:cubicBezTo>
                  <a:cubicBezTo>
                    <a:pt x="933" y="432"/>
                    <a:pt x="678" y="310"/>
                    <a:pt x="431" y="193"/>
                  </a:cubicBezTo>
                  <a:cubicBezTo>
                    <a:pt x="338" y="148"/>
                    <a:pt x="249" y="106"/>
                    <a:pt x="160" y="6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59" y="72"/>
                    <a:pt x="159" y="72"/>
                    <a:pt x="159" y="72"/>
                  </a:cubicBezTo>
                  <a:cubicBezTo>
                    <a:pt x="247" y="110"/>
                    <a:pt x="336" y="152"/>
                    <a:pt x="430" y="197"/>
                  </a:cubicBezTo>
                  <a:cubicBezTo>
                    <a:pt x="676" y="314"/>
                    <a:pt x="932" y="436"/>
                    <a:pt x="1187" y="475"/>
                  </a:cubicBezTo>
                  <a:cubicBezTo>
                    <a:pt x="1563" y="532"/>
                    <a:pt x="1957" y="457"/>
                    <a:pt x="2338" y="384"/>
                  </a:cubicBezTo>
                  <a:cubicBezTo>
                    <a:pt x="2428" y="367"/>
                    <a:pt x="2521" y="350"/>
                    <a:pt x="2610" y="334"/>
                  </a:cubicBezTo>
                  <a:cubicBezTo>
                    <a:pt x="2660" y="326"/>
                    <a:pt x="2711" y="316"/>
                    <a:pt x="2765" y="306"/>
                  </a:cubicBezTo>
                  <a:cubicBezTo>
                    <a:pt x="3118" y="241"/>
                    <a:pt x="3556" y="161"/>
                    <a:pt x="3881" y="303"/>
                  </a:cubicBezTo>
                  <a:cubicBezTo>
                    <a:pt x="4012" y="360"/>
                    <a:pt x="4108" y="447"/>
                    <a:pt x="4183" y="552"/>
                  </a:cubicBezTo>
                  <a:cubicBezTo>
                    <a:pt x="4189" y="551"/>
                    <a:pt x="4189" y="551"/>
                    <a:pt x="4189" y="551"/>
                  </a:cubicBezTo>
                  <a:cubicBezTo>
                    <a:pt x="4106" y="436"/>
                    <a:pt x="4005" y="353"/>
                    <a:pt x="3883" y="299"/>
                  </a:cubicBezTo>
                  <a:close/>
                </a:path>
              </a:pathLst>
            </a:custGeom>
            <a:solidFill>
              <a:srgbClr val="D2D3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5" name="Freeform 44"/>
            <p:cNvSpPr>
              <a:spLocks/>
            </p:cNvSpPr>
            <p:nvPr userDrawn="1"/>
          </p:nvSpPr>
          <p:spPr bwMode="auto">
            <a:xfrm>
              <a:off x="-792" y="4032615"/>
              <a:ext cx="6590077" cy="1006952"/>
            </a:xfrm>
            <a:custGeom>
              <a:avLst/>
              <a:gdLst>
                <a:gd name="T0" fmla="*/ 3951 w 4322"/>
                <a:gd name="T1" fmla="*/ 296 h 660"/>
                <a:gd name="T2" fmla="*/ 2820 w 4322"/>
                <a:gd name="T3" fmla="*/ 308 h 660"/>
                <a:gd name="T4" fmla="*/ 2669 w 4322"/>
                <a:gd name="T5" fmla="*/ 336 h 660"/>
                <a:gd name="T6" fmla="*/ 2391 w 4322"/>
                <a:gd name="T7" fmla="*/ 391 h 660"/>
                <a:gd name="T8" fmla="*/ 1234 w 4322"/>
                <a:gd name="T9" fmla="*/ 493 h 660"/>
                <a:gd name="T10" fmla="*/ 482 w 4322"/>
                <a:gd name="T11" fmla="*/ 214 h 660"/>
                <a:gd name="T12" fmla="*/ 208 w 4322"/>
                <a:gd name="T13" fmla="*/ 88 h 660"/>
                <a:gd name="T14" fmla="*/ 0 w 4322"/>
                <a:gd name="T15" fmla="*/ 0 h 660"/>
                <a:gd name="T16" fmla="*/ 0 w 4322"/>
                <a:gd name="T17" fmla="*/ 4 h 660"/>
                <a:gd name="T18" fmla="*/ 206 w 4322"/>
                <a:gd name="T19" fmla="*/ 92 h 660"/>
                <a:gd name="T20" fmla="*/ 480 w 4322"/>
                <a:gd name="T21" fmla="*/ 218 h 660"/>
                <a:gd name="T22" fmla="*/ 1233 w 4322"/>
                <a:gd name="T23" fmla="*/ 497 h 660"/>
                <a:gd name="T24" fmla="*/ 2392 w 4322"/>
                <a:gd name="T25" fmla="*/ 396 h 660"/>
                <a:gd name="T26" fmla="*/ 2670 w 4322"/>
                <a:gd name="T27" fmla="*/ 341 h 660"/>
                <a:gd name="T28" fmla="*/ 2821 w 4322"/>
                <a:gd name="T29" fmla="*/ 312 h 660"/>
                <a:gd name="T30" fmla="*/ 3949 w 4322"/>
                <a:gd name="T31" fmla="*/ 300 h 660"/>
                <a:gd name="T32" fmla="*/ 4317 w 4322"/>
                <a:gd name="T33" fmla="*/ 660 h 660"/>
                <a:gd name="T34" fmla="*/ 4322 w 4322"/>
                <a:gd name="T35" fmla="*/ 659 h 660"/>
                <a:gd name="T36" fmla="*/ 3951 w 4322"/>
                <a:gd name="T37" fmla="*/ 296 h 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322" h="660">
                  <a:moveTo>
                    <a:pt x="3951" y="296"/>
                  </a:moveTo>
                  <a:cubicBezTo>
                    <a:pt x="3619" y="151"/>
                    <a:pt x="3176" y="238"/>
                    <a:pt x="2820" y="308"/>
                  </a:cubicBezTo>
                  <a:cubicBezTo>
                    <a:pt x="2767" y="318"/>
                    <a:pt x="2718" y="328"/>
                    <a:pt x="2669" y="336"/>
                  </a:cubicBezTo>
                  <a:cubicBezTo>
                    <a:pt x="2578" y="353"/>
                    <a:pt x="2487" y="372"/>
                    <a:pt x="2391" y="391"/>
                  </a:cubicBezTo>
                  <a:cubicBezTo>
                    <a:pt x="2008" y="470"/>
                    <a:pt x="1611" y="552"/>
                    <a:pt x="1234" y="493"/>
                  </a:cubicBezTo>
                  <a:cubicBezTo>
                    <a:pt x="981" y="453"/>
                    <a:pt x="727" y="332"/>
                    <a:pt x="482" y="214"/>
                  </a:cubicBezTo>
                  <a:cubicBezTo>
                    <a:pt x="387" y="169"/>
                    <a:pt x="297" y="126"/>
                    <a:pt x="208" y="8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06" y="92"/>
                    <a:pt x="206" y="92"/>
                    <a:pt x="206" y="92"/>
                  </a:cubicBezTo>
                  <a:cubicBezTo>
                    <a:pt x="295" y="130"/>
                    <a:pt x="385" y="173"/>
                    <a:pt x="480" y="218"/>
                  </a:cubicBezTo>
                  <a:cubicBezTo>
                    <a:pt x="725" y="336"/>
                    <a:pt x="979" y="457"/>
                    <a:pt x="1233" y="497"/>
                  </a:cubicBezTo>
                  <a:cubicBezTo>
                    <a:pt x="1611" y="556"/>
                    <a:pt x="2008" y="475"/>
                    <a:pt x="2392" y="396"/>
                  </a:cubicBezTo>
                  <a:cubicBezTo>
                    <a:pt x="2488" y="376"/>
                    <a:pt x="2579" y="357"/>
                    <a:pt x="2670" y="341"/>
                  </a:cubicBezTo>
                  <a:cubicBezTo>
                    <a:pt x="2718" y="332"/>
                    <a:pt x="2768" y="322"/>
                    <a:pt x="2821" y="312"/>
                  </a:cubicBezTo>
                  <a:cubicBezTo>
                    <a:pt x="3176" y="242"/>
                    <a:pt x="3618" y="156"/>
                    <a:pt x="3949" y="300"/>
                  </a:cubicBezTo>
                  <a:cubicBezTo>
                    <a:pt x="4124" y="377"/>
                    <a:pt x="4237" y="505"/>
                    <a:pt x="4317" y="660"/>
                  </a:cubicBezTo>
                  <a:cubicBezTo>
                    <a:pt x="4322" y="659"/>
                    <a:pt x="4322" y="659"/>
                    <a:pt x="4322" y="659"/>
                  </a:cubicBezTo>
                  <a:cubicBezTo>
                    <a:pt x="4232" y="485"/>
                    <a:pt x="4111" y="366"/>
                    <a:pt x="3951" y="296"/>
                  </a:cubicBezTo>
                  <a:close/>
                </a:path>
              </a:pathLst>
            </a:custGeom>
            <a:solidFill>
              <a:srgbClr val="D1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6" name="Freeform 45"/>
            <p:cNvSpPr>
              <a:spLocks/>
            </p:cNvSpPr>
            <p:nvPr userDrawn="1"/>
          </p:nvSpPr>
          <p:spPr bwMode="auto">
            <a:xfrm>
              <a:off x="-792" y="3832187"/>
              <a:ext cx="6752023" cy="1178518"/>
            </a:xfrm>
            <a:custGeom>
              <a:avLst/>
              <a:gdLst>
                <a:gd name="T0" fmla="*/ 4389 w 4428"/>
                <a:gd name="T1" fmla="*/ 681 h 773"/>
                <a:gd name="T2" fmla="*/ 4010 w 4428"/>
                <a:gd name="T3" fmla="*/ 297 h 773"/>
                <a:gd name="T4" fmla="*/ 2870 w 4428"/>
                <a:gd name="T5" fmla="*/ 316 h 773"/>
                <a:gd name="T6" fmla="*/ 2723 w 4428"/>
                <a:gd name="T7" fmla="*/ 346 h 773"/>
                <a:gd name="T8" fmla="*/ 2443 w 4428"/>
                <a:gd name="T9" fmla="*/ 405 h 773"/>
                <a:gd name="T10" fmla="*/ 1280 w 4428"/>
                <a:gd name="T11" fmla="*/ 515 h 773"/>
                <a:gd name="T12" fmla="*/ 531 w 4428"/>
                <a:gd name="T13" fmla="*/ 237 h 773"/>
                <a:gd name="T14" fmla="*/ 255 w 4428"/>
                <a:gd name="T15" fmla="*/ 109 h 773"/>
                <a:gd name="T16" fmla="*/ 0 w 4428"/>
                <a:gd name="T17" fmla="*/ 0 h 773"/>
                <a:gd name="T18" fmla="*/ 0 w 4428"/>
                <a:gd name="T19" fmla="*/ 5 h 773"/>
                <a:gd name="T20" fmla="*/ 253 w 4428"/>
                <a:gd name="T21" fmla="*/ 113 h 773"/>
                <a:gd name="T22" fmla="*/ 529 w 4428"/>
                <a:gd name="T23" fmla="*/ 241 h 773"/>
                <a:gd name="T24" fmla="*/ 1279 w 4428"/>
                <a:gd name="T25" fmla="*/ 519 h 773"/>
                <a:gd name="T26" fmla="*/ 2444 w 4428"/>
                <a:gd name="T27" fmla="*/ 409 h 773"/>
                <a:gd name="T28" fmla="*/ 2724 w 4428"/>
                <a:gd name="T29" fmla="*/ 350 h 773"/>
                <a:gd name="T30" fmla="*/ 2871 w 4428"/>
                <a:gd name="T31" fmla="*/ 320 h 773"/>
                <a:gd name="T32" fmla="*/ 4008 w 4428"/>
                <a:gd name="T33" fmla="*/ 301 h 773"/>
                <a:gd name="T34" fmla="*/ 4423 w 4428"/>
                <a:gd name="T35" fmla="*/ 773 h 773"/>
                <a:gd name="T36" fmla="*/ 4428 w 4428"/>
                <a:gd name="T37" fmla="*/ 772 h 773"/>
                <a:gd name="T38" fmla="*/ 4389 w 4428"/>
                <a:gd name="T39" fmla="*/ 681 h 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428" h="773">
                  <a:moveTo>
                    <a:pt x="4389" y="681"/>
                  </a:moveTo>
                  <a:cubicBezTo>
                    <a:pt x="4301" y="495"/>
                    <a:pt x="4177" y="370"/>
                    <a:pt x="4010" y="297"/>
                  </a:cubicBezTo>
                  <a:cubicBezTo>
                    <a:pt x="3673" y="150"/>
                    <a:pt x="3228" y="242"/>
                    <a:pt x="2870" y="316"/>
                  </a:cubicBezTo>
                  <a:cubicBezTo>
                    <a:pt x="2819" y="326"/>
                    <a:pt x="2770" y="336"/>
                    <a:pt x="2723" y="346"/>
                  </a:cubicBezTo>
                  <a:cubicBezTo>
                    <a:pt x="2631" y="363"/>
                    <a:pt x="2540" y="383"/>
                    <a:pt x="2443" y="405"/>
                  </a:cubicBezTo>
                  <a:cubicBezTo>
                    <a:pt x="2057" y="489"/>
                    <a:pt x="1658" y="576"/>
                    <a:pt x="1280" y="515"/>
                  </a:cubicBezTo>
                  <a:cubicBezTo>
                    <a:pt x="1028" y="475"/>
                    <a:pt x="776" y="354"/>
                    <a:pt x="531" y="237"/>
                  </a:cubicBezTo>
                  <a:cubicBezTo>
                    <a:pt x="436" y="191"/>
                    <a:pt x="345" y="148"/>
                    <a:pt x="255" y="10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253" y="113"/>
                    <a:pt x="253" y="113"/>
                    <a:pt x="253" y="113"/>
                  </a:cubicBezTo>
                  <a:cubicBezTo>
                    <a:pt x="343" y="152"/>
                    <a:pt x="434" y="195"/>
                    <a:pt x="529" y="241"/>
                  </a:cubicBezTo>
                  <a:cubicBezTo>
                    <a:pt x="774" y="358"/>
                    <a:pt x="1027" y="479"/>
                    <a:pt x="1279" y="519"/>
                  </a:cubicBezTo>
                  <a:cubicBezTo>
                    <a:pt x="1658" y="580"/>
                    <a:pt x="2057" y="493"/>
                    <a:pt x="2444" y="409"/>
                  </a:cubicBezTo>
                  <a:cubicBezTo>
                    <a:pt x="2541" y="388"/>
                    <a:pt x="2632" y="368"/>
                    <a:pt x="2724" y="350"/>
                  </a:cubicBezTo>
                  <a:cubicBezTo>
                    <a:pt x="2771" y="341"/>
                    <a:pt x="2820" y="331"/>
                    <a:pt x="2871" y="320"/>
                  </a:cubicBezTo>
                  <a:cubicBezTo>
                    <a:pt x="3228" y="247"/>
                    <a:pt x="3672" y="155"/>
                    <a:pt x="4008" y="301"/>
                  </a:cubicBezTo>
                  <a:cubicBezTo>
                    <a:pt x="4224" y="396"/>
                    <a:pt x="4344" y="569"/>
                    <a:pt x="4423" y="773"/>
                  </a:cubicBezTo>
                  <a:cubicBezTo>
                    <a:pt x="4428" y="772"/>
                    <a:pt x="4428" y="772"/>
                    <a:pt x="4428" y="772"/>
                  </a:cubicBezTo>
                  <a:cubicBezTo>
                    <a:pt x="4416" y="741"/>
                    <a:pt x="4403" y="710"/>
                    <a:pt x="4389" y="681"/>
                  </a:cubicBezTo>
                  <a:close/>
                </a:path>
              </a:pathLst>
            </a:custGeom>
            <a:solidFill>
              <a:srgbClr val="D1D2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7" name="Freeform 46"/>
            <p:cNvSpPr>
              <a:spLocks/>
            </p:cNvSpPr>
            <p:nvPr userDrawn="1"/>
          </p:nvSpPr>
          <p:spPr bwMode="auto">
            <a:xfrm>
              <a:off x="-792" y="3631758"/>
              <a:ext cx="6878694" cy="1356498"/>
            </a:xfrm>
            <a:custGeom>
              <a:avLst/>
              <a:gdLst>
                <a:gd name="T0" fmla="*/ 4069 w 4511"/>
                <a:gd name="T1" fmla="*/ 269 h 889"/>
                <a:gd name="T2" fmla="*/ 2931 w 4511"/>
                <a:gd name="T3" fmla="*/ 304 h 889"/>
                <a:gd name="T4" fmla="*/ 2777 w 4511"/>
                <a:gd name="T5" fmla="*/ 338 h 889"/>
                <a:gd name="T6" fmla="*/ 2497 w 4511"/>
                <a:gd name="T7" fmla="*/ 401 h 889"/>
                <a:gd name="T8" fmla="*/ 1330 w 4511"/>
                <a:gd name="T9" fmla="*/ 532 h 889"/>
                <a:gd name="T10" fmla="*/ 574 w 4511"/>
                <a:gd name="T11" fmla="*/ 255 h 889"/>
                <a:gd name="T12" fmla="*/ 303 w 4511"/>
                <a:gd name="T13" fmla="*/ 129 h 889"/>
                <a:gd name="T14" fmla="*/ 0 w 4511"/>
                <a:gd name="T15" fmla="*/ 0 h 889"/>
                <a:gd name="T16" fmla="*/ 0 w 4511"/>
                <a:gd name="T17" fmla="*/ 5 h 889"/>
                <a:gd name="T18" fmla="*/ 301 w 4511"/>
                <a:gd name="T19" fmla="*/ 134 h 889"/>
                <a:gd name="T20" fmla="*/ 572 w 4511"/>
                <a:gd name="T21" fmla="*/ 259 h 889"/>
                <a:gd name="T22" fmla="*/ 1330 w 4511"/>
                <a:gd name="T23" fmla="*/ 536 h 889"/>
                <a:gd name="T24" fmla="*/ 2498 w 4511"/>
                <a:gd name="T25" fmla="*/ 406 h 889"/>
                <a:gd name="T26" fmla="*/ 2778 w 4511"/>
                <a:gd name="T27" fmla="*/ 343 h 889"/>
                <a:gd name="T28" fmla="*/ 2932 w 4511"/>
                <a:gd name="T29" fmla="*/ 309 h 889"/>
                <a:gd name="T30" fmla="*/ 4067 w 4511"/>
                <a:gd name="T31" fmla="*/ 273 h 889"/>
                <a:gd name="T32" fmla="*/ 4507 w 4511"/>
                <a:gd name="T33" fmla="*/ 889 h 889"/>
                <a:gd name="T34" fmla="*/ 4511 w 4511"/>
                <a:gd name="T35" fmla="*/ 889 h 889"/>
                <a:gd name="T36" fmla="*/ 4069 w 4511"/>
                <a:gd name="T37" fmla="*/ 269 h 8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511" h="889">
                  <a:moveTo>
                    <a:pt x="4069" y="269"/>
                  </a:moveTo>
                  <a:cubicBezTo>
                    <a:pt x="3738" y="123"/>
                    <a:pt x="3290" y="224"/>
                    <a:pt x="2931" y="304"/>
                  </a:cubicBezTo>
                  <a:cubicBezTo>
                    <a:pt x="2877" y="316"/>
                    <a:pt x="2826" y="328"/>
                    <a:pt x="2777" y="338"/>
                  </a:cubicBezTo>
                  <a:cubicBezTo>
                    <a:pt x="2686" y="357"/>
                    <a:pt x="2594" y="379"/>
                    <a:pt x="2497" y="401"/>
                  </a:cubicBezTo>
                  <a:cubicBezTo>
                    <a:pt x="2111" y="492"/>
                    <a:pt x="1711" y="585"/>
                    <a:pt x="1330" y="532"/>
                  </a:cubicBezTo>
                  <a:cubicBezTo>
                    <a:pt x="1076" y="496"/>
                    <a:pt x="821" y="373"/>
                    <a:pt x="574" y="255"/>
                  </a:cubicBezTo>
                  <a:cubicBezTo>
                    <a:pt x="480" y="210"/>
                    <a:pt x="391" y="167"/>
                    <a:pt x="303" y="12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301" y="134"/>
                    <a:pt x="301" y="134"/>
                    <a:pt x="301" y="134"/>
                  </a:cubicBezTo>
                  <a:cubicBezTo>
                    <a:pt x="389" y="171"/>
                    <a:pt x="478" y="214"/>
                    <a:pt x="572" y="259"/>
                  </a:cubicBezTo>
                  <a:cubicBezTo>
                    <a:pt x="819" y="378"/>
                    <a:pt x="1075" y="500"/>
                    <a:pt x="1330" y="536"/>
                  </a:cubicBezTo>
                  <a:cubicBezTo>
                    <a:pt x="1712" y="590"/>
                    <a:pt x="2112" y="496"/>
                    <a:pt x="2498" y="406"/>
                  </a:cubicBezTo>
                  <a:cubicBezTo>
                    <a:pt x="2595" y="383"/>
                    <a:pt x="2687" y="362"/>
                    <a:pt x="2778" y="343"/>
                  </a:cubicBezTo>
                  <a:cubicBezTo>
                    <a:pt x="2827" y="332"/>
                    <a:pt x="2878" y="321"/>
                    <a:pt x="2932" y="309"/>
                  </a:cubicBezTo>
                  <a:cubicBezTo>
                    <a:pt x="3291" y="228"/>
                    <a:pt x="3737" y="128"/>
                    <a:pt x="4067" y="273"/>
                  </a:cubicBezTo>
                  <a:cubicBezTo>
                    <a:pt x="4312" y="380"/>
                    <a:pt x="4429" y="634"/>
                    <a:pt x="4507" y="889"/>
                  </a:cubicBezTo>
                  <a:cubicBezTo>
                    <a:pt x="4511" y="889"/>
                    <a:pt x="4511" y="889"/>
                    <a:pt x="4511" y="889"/>
                  </a:cubicBezTo>
                  <a:cubicBezTo>
                    <a:pt x="4433" y="632"/>
                    <a:pt x="4316" y="377"/>
                    <a:pt x="4069" y="269"/>
                  </a:cubicBez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8" name="Freeform 47"/>
            <p:cNvSpPr>
              <a:spLocks/>
            </p:cNvSpPr>
            <p:nvPr userDrawn="1"/>
          </p:nvSpPr>
          <p:spPr bwMode="auto">
            <a:xfrm>
              <a:off x="-792" y="3431331"/>
              <a:ext cx="6998951" cy="1537685"/>
            </a:xfrm>
            <a:custGeom>
              <a:avLst/>
              <a:gdLst>
                <a:gd name="T0" fmla="*/ 4455 w 4590"/>
                <a:gd name="T1" fmla="*/ 619 h 1007"/>
                <a:gd name="T2" fmla="*/ 4114 w 4590"/>
                <a:gd name="T3" fmla="*/ 255 h 1007"/>
                <a:gd name="T4" fmla="*/ 2978 w 4590"/>
                <a:gd name="T5" fmla="*/ 303 h 1007"/>
                <a:gd name="T6" fmla="*/ 2822 w 4590"/>
                <a:gd name="T7" fmla="*/ 339 h 1007"/>
                <a:gd name="T8" fmla="*/ 2545 w 4590"/>
                <a:gd name="T9" fmla="*/ 405 h 1007"/>
                <a:gd name="T10" fmla="*/ 1379 w 4590"/>
                <a:gd name="T11" fmla="*/ 549 h 1007"/>
                <a:gd name="T12" fmla="*/ 619 w 4590"/>
                <a:gd name="T13" fmla="*/ 274 h 1007"/>
                <a:gd name="T14" fmla="*/ 350 w 4590"/>
                <a:gd name="T15" fmla="*/ 150 h 1007"/>
                <a:gd name="T16" fmla="*/ 0 w 4590"/>
                <a:gd name="T17" fmla="*/ 0 h 1007"/>
                <a:gd name="T18" fmla="*/ 0 w 4590"/>
                <a:gd name="T19" fmla="*/ 5 h 1007"/>
                <a:gd name="T20" fmla="*/ 348 w 4590"/>
                <a:gd name="T21" fmla="*/ 154 h 1007"/>
                <a:gd name="T22" fmla="*/ 617 w 4590"/>
                <a:gd name="T23" fmla="*/ 278 h 1007"/>
                <a:gd name="T24" fmla="*/ 1379 w 4590"/>
                <a:gd name="T25" fmla="*/ 554 h 1007"/>
                <a:gd name="T26" fmla="*/ 2546 w 4590"/>
                <a:gd name="T27" fmla="*/ 410 h 1007"/>
                <a:gd name="T28" fmla="*/ 2823 w 4590"/>
                <a:gd name="T29" fmla="*/ 344 h 1007"/>
                <a:gd name="T30" fmla="*/ 2979 w 4590"/>
                <a:gd name="T31" fmla="*/ 307 h 1007"/>
                <a:gd name="T32" fmla="*/ 4112 w 4590"/>
                <a:gd name="T33" fmla="*/ 259 h 1007"/>
                <a:gd name="T34" fmla="*/ 4585 w 4590"/>
                <a:gd name="T35" fmla="*/ 1007 h 1007"/>
                <a:gd name="T36" fmla="*/ 4590 w 4590"/>
                <a:gd name="T37" fmla="*/ 1006 h 1007"/>
                <a:gd name="T38" fmla="*/ 4455 w 4590"/>
                <a:gd name="T39" fmla="*/ 619 h 10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590" h="1007">
                  <a:moveTo>
                    <a:pt x="4455" y="619"/>
                  </a:moveTo>
                  <a:cubicBezTo>
                    <a:pt x="4367" y="436"/>
                    <a:pt x="4255" y="317"/>
                    <a:pt x="4114" y="255"/>
                  </a:cubicBezTo>
                  <a:cubicBezTo>
                    <a:pt x="3785" y="110"/>
                    <a:pt x="3337" y="217"/>
                    <a:pt x="2978" y="303"/>
                  </a:cubicBezTo>
                  <a:cubicBezTo>
                    <a:pt x="2923" y="316"/>
                    <a:pt x="2872" y="328"/>
                    <a:pt x="2822" y="339"/>
                  </a:cubicBezTo>
                  <a:cubicBezTo>
                    <a:pt x="2731" y="359"/>
                    <a:pt x="2641" y="381"/>
                    <a:pt x="2545" y="405"/>
                  </a:cubicBezTo>
                  <a:cubicBezTo>
                    <a:pt x="2160" y="500"/>
                    <a:pt x="1761" y="598"/>
                    <a:pt x="1379" y="549"/>
                  </a:cubicBezTo>
                  <a:cubicBezTo>
                    <a:pt x="1124" y="517"/>
                    <a:pt x="867" y="393"/>
                    <a:pt x="619" y="274"/>
                  </a:cubicBezTo>
                  <a:cubicBezTo>
                    <a:pt x="525" y="229"/>
                    <a:pt x="437" y="187"/>
                    <a:pt x="350" y="15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348" y="154"/>
                    <a:pt x="348" y="154"/>
                    <a:pt x="348" y="154"/>
                  </a:cubicBezTo>
                  <a:cubicBezTo>
                    <a:pt x="435" y="191"/>
                    <a:pt x="523" y="234"/>
                    <a:pt x="617" y="278"/>
                  </a:cubicBezTo>
                  <a:cubicBezTo>
                    <a:pt x="865" y="398"/>
                    <a:pt x="1123" y="521"/>
                    <a:pt x="1379" y="554"/>
                  </a:cubicBezTo>
                  <a:cubicBezTo>
                    <a:pt x="1762" y="603"/>
                    <a:pt x="2160" y="505"/>
                    <a:pt x="2546" y="410"/>
                  </a:cubicBezTo>
                  <a:cubicBezTo>
                    <a:pt x="2642" y="386"/>
                    <a:pt x="2732" y="364"/>
                    <a:pt x="2823" y="344"/>
                  </a:cubicBezTo>
                  <a:cubicBezTo>
                    <a:pt x="2873" y="333"/>
                    <a:pt x="2924" y="320"/>
                    <a:pt x="2979" y="307"/>
                  </a:cubicBezTo>
                  <a:cubicBezTo>
                    <a:pt x="3338" y="222"/>
                    <a:pt x="3784" y="115"/>
                    <a:pt x="4112" y="259"/>
                  </a:cubicBezTo>
                  <a:cubicBezTo>
                    <a:pt x="4394" y="383"/>
                    <a:pt x="4506" y="711"/>
                    <a:pt x="4585" y="1007"/>
                  </a:cubicBezTo>
                  <a:cubicBezTo>
                    <a:pt x="4590" y="1006"/>
                    <a:pt x="4590" y="1006"/>
                    <a:pt x="4590" y="1006"/>
                  </a:cubicBezTo>
                  <a:cubicBezTo>
                    <a:pt x="4555" y="878"/>
                    <a:pt x="4514" y="742"/>
                    <a:pt x="4455" y="619"/>
                  </a:cubicBezTo>
                  <a:close/>
                </a:path>
              </a:pathLst>
            </a:custGeom>
            <a:solidFill>
              <a:srgbClr val="D0D1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9" name="Freeform 48"/>
            <p:cNvSpPr>
              <a:spLocks/>
            </p:cNvSpPr>
            <p:nvPr userDrawn="1"/>
          </p:nvSpPr>
          <p:spPr bwMode="auto">
            <a:xfrm>
              <a:off x="-792" y="3232506"/>
              <a:ext cx="7101570" cy="1717269"/>
            </a:xfrm>
            <a:custGeom>
              <a:avLst/>
              <a:gdLst>
                <a:gd name="T0" fmla="*/ 4653 w 4657"/>
                <a:gd name="T1" fmla="*/ 1112 h 1126"/>
                <a:gd name="T2" fmla="*/ 4486 w 4657"/>
                <a:gd name="T3" fmla="*/ 618 h 1126"/>
                <a:gd name="T4" fmla="*/ 4144 w 4657"/>
                <a:gd name="T5" fmla="*/ 253 h 1126"/>
                <a:gd name="T6" fmla="*/ 3013 w 4657"/>
                <a:gd name="T7" fmla="*/ 309 h 1126"/>
                <a:gd name="T8" fmla="*/ 2860 w 4657"/>
                <a:gd name="T9" fmla="*/ 347 h 1126"/>
                <a:gd name="T10" fmla="*/ 2586 w 4657"/>
                <a:gd name="T11" fmla="*/ 415 h 1126"/>
                <a:gd name="T12" fmla="*/ 1427 w 4657"/>
                <a:gd name="T13" fmla="*/ 568 h 1126"/>
                <a:gd name="T14" fmla="*/ 665 w 4657"/>
                <a:gd name="T15" fmla="*/ 294 h 1126"/>
                <a:gd name="T16" fmla="*/ 397 w 4657"/>
                <a:gd name="T17" fmla="*/ 170 h 1126"/>
                <a:gd name="T18" fmla="*/ 0 w 4657"/>
                <a:gd name="T19" fmla="*/ 0 h 1126"/>
                <a:gd name="T20" fmla="*/ 0 w 4657"/>
                <a:gd name="T21" fmla="*/ 5 h 1126"/>
                <a:gd name="T22" fmla="*/ 395 w 4657"/>
                <a:gd name="T23" fmla="*/ 174 h 1126"/>
                <a:gd name="T24" fmla="*/ 663 w 4657"/>
                <a:gd name="T25" fmla="*/ 298 h 1126"/>
                <a:gd name="T26" fmla="*/ 1426 w 4657"/>
                <a:gd name="T27" fmla="*/ 573 h 1126"/>
                <a:gd name="T28" fmla="*/ 2587 w 4657"/>
                <a:gd name="T29" fmla="*/ 420 h 1126"/>
                <a:gd name="T30" fmla="*/ 2861 w 4657"/>
                <a:gd name="T31" fmla="*/ 352 h 1126"/>
                <a:gd name="T32" fmla="*/ 3014 w 4657"/>
                <a:gd name="T33" fmla="*/ 314 h 1126"/>
                <a:gd name="T34" fmla="*/ 4142 w 4657"/>
                <a:gd name="T35" fmla="*/ 258 h 1126"/>
                <a:gd name="T36" fmla="*/ 4648 w 4657"/>
                <a:gd name="T37" fmla="*/ 1114 h 1126"/>
                <a:gd name="T38" fmla="*/ 4652 w 4657"/>
                <a:gd name="T39" fmla="*/ 1126 h 1126"/>
                <a:gd name="T40" fmla="*/ 4657 w 4657"/>
                <a:gd name="T41" fmla="*/ 1125 h 1126"/>
                <a:gd name="T42" fmla="*/ 4653 w 4657"/>
                <a:gd name="T43" fmla="*/ 1112 h 1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657" h="1126">
                  <a:moveTo>
                    <a:pt x="4653" y="1112"/>
                  </a:moveTo>
                  <a:cubicBezTo>
                    <a:pt x="4611" y="955"/>
                    <a:pt x="4564" y="777"/>
                    <a:pt x="4486" y="618"/>
                  </a:cubicBezTo>
                  <a:cubicBezTo>
                    <a:pt x="4397" y="435"/>
                    <a:pt x="4285" y="315"/>
                    <a:pt x="4144" y="253"/>
                  </a:cubicBezTo>
                  <a:cubicBezTo>
                    <a:pt x="3817" y="109"/>
                    <a:pt x="3371" y="220"/>
                    <a:pt x="3013" y="309"/>
                  </a:cubicBezTo>
                  <a:cubicBezTo>
                    <a:pt x="2959" y="323"/>
                    <a:pt x="2908" y="335"/>
                    <a:pt x="2860" y="347"/>
                  </a:cubicBezTo>
                  <a:cubicBezTo>
                    <a:pt x="2770" y="368"/>
                    <a:pt x="2681" y="391"/>
                    <a:pt x="2586" y="415"/>
                  </a:cubicBezTo>
                  <a:cubicBezTo>
                    <a:pt x="2203" y="513"/>
                    <a:pt x="1808" y="614"/>
                    <a:pt x="1427" y="568"/>
                  </a:cubicBezTo>
                  <a:cubicBezTo>
                    <a:pt x="1172" y="537"/>
                    <a:pt x="914" y="413"/>
                    <a:pt x="665" y="294"/>
                  </a:cubicBezTo>
                  <a:cubicBezTo>
                    <a:pt x="572" y="249"/>
                    <a:pt x="484" y="207"/>
                    <a:pt x="397" y="17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395" y="174"/>
                    <a:pt x="395" y="174"/>
                    <a:pt x="395" y="174"/>
                  </a:cubicBezTo>
                  <a:cubicBezTo>
                    <a:pt x="482" y="211"/>
                    <a:pt x="570" y="254"/>
                    <a:pt x="663" y="298"/>
                  </a:cubicBezTo>
                  <a:cubicBezTo>
                    <a:pt x="912" y="418"/>
                    <a:pt x="1170" y="542"/>
                    <a:pt x="1426" y="573"/>
                  </a:cubicBezTo>
                  <a:cubicBezTo>
                    <a:pt x="1808" y="620"/>
                    <a:pt x="2204" y="518"/>
                    <a:pt x="2587" y="420"/>
                  </a:cubicBezTo>
                  <a:cubicBezTo>
                    <a:pt x="2682" y="395"/>
                    <a:pt x="2771" y="372"/>
                    <a:pt x="2861" y="352"/>
                  </a:cubicBezTo>
                  <a:cubicBezTo>
                    <a:pt x="2909" y="340"/>
                    <a:pt x="2960" y="328"/>
                    <a:pt x="3014" y="314"/>
                  </a:cubicBezTo>
                  <a:cubicBezTo>
                    <a:pt x="3372" y="225"/>
                    <a:pt x="3817" y="115"/>
                    <a:pt x="4142" y="258"/>
                  </a:cubicBezTo>
                  <a:cubicBezTo>
                    <a:pt x="4457" y="396"/>
                    <a:pt x="4567" y="811"/>
                    <a:pt x="4648" y="1114"/>
                  </a:cubicBezTo>
                  <a:cubicBezTo>
                    <a:pt x="4649" y="1118"/>
                    <a:pt x="4650" y="1122"/>
                    <a:pt x="4652" y="1126"/>
                  </a:cubicBezTo>
                  <a:cubicBezTo>
                    <a:pt x="4657" y="1125"/>
                    <a:pt x="4657" y="1125"/>
                    <a:pt x="4657" y="1125"/>
                  </a:cubicBezTo>
                  <a:cubicBezTo>
                    <a:pt x="4655" y="1121"/>
                    <a:pt x="4654" y="1117"/>
                    <a:pt x="4653" y="1112"/>
                  </a:cubicBezTo>
                  <a:close/>
                </a:path>
              </a:pathLst>
            </a:custGeom>
            <a:solidFill>
              <a:srgbClr val="CFD1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0" name="Freeform 49"/>
            <p:cNvSpPr>
              <a:spLocks/>
            </p:cNvSpPr>
            <p:nvPr userDrawn="1"/>
          </p:nvSpPr>
          <p:spPr bwMode="auto">
            <a:xfrm>
              <a:off x="-792" y="3032077"/>
              <a:ext cx="7194569" cy="1901662"/>
            </a:xfrm>
            <a:custGeom>
              <a:avLst/>
              <a:gdLst>
                <a:gd name="T0" fmla="*/ 4699 w 4718"/>
                <a:gd name="T1" fmla="*/ 1179 h 1246"/>
                <a:gd name="T2" fmla="*/ 4683 w 4718"/>
                <a:gd name="T3" fmla="*/ 1122 h 1246"/>
                <a:gd name="T4" fmla="*/ 4509 w 4718"/>
                <a:gd name="T5" fmla="*/ 628 h 1246"/>
                <a:gd name="T6" fmla="*/ 4163 w 4718"/>
                <a:gd name="T7" fmla="*/ 263 h 1246"/>
                <a:gd name="T8" fmla="*/ 3038 w 4718"/>
                <a:gd name="T9" fmla="*/ 324 h 1246"/>
                <a:gd name="T10" fmla="*/ 2891 w 4718"/>
                <a:gd name="T11" fmla="*/ 361 h 1246"/>
                <a:gd name="T12" fmla="*/ 2622 w 4718"/>
                <a:gd name="T13" fmla="*/ 430 h 1246"/>
                <a:gd name="T14" fmla="*/ 1474 w 4718"/>
                <a:gd name="T15" fmla="*/ 588 h 1246"/>
                <a:gd name="T16" fmla="*/ 712 w 4718"/>
                <a:gd name="T17" fmla="*/ 314 h 1246"/>
                <a:gd name="T18" fmla="*/ 445 w 4718"/>
                <a:gd name="T19" fmla="*/ 190 h 1246"/>
                <a:gd name="T20" fmla="*/ 0 w 4718"/>
                <a:gd name="T21" fmla="*/ 0 h 1246"/>
                <a:gd name="T22" fmla="*/ 0 w 4718"/>
                <a:gd name="T23" fmla="*/ 5 h 1246"/>
                <a:gd name="T24" fmla="*/ 443 w 4718"/>
                <a:gd name="T25" fmla="*/ 195 h 1246"/>
                <a:gd name="T26" fmla="*/ 710 w 4718"/>
                <a:gd name="T27" fmla="*/ 319 h 1246"/>
                <a:gd name="T28" fmla="*/ 1473 w 4718"/>
                <a:gd name="T29" fmla="*/ 593 h 1246"/>
                <a:gd name="T30" fmla="*/ 2623 w 4718"/>
                <a:gd name="T31" fmla="*/ 435 h 1246"/>
                <a:gd name="T32" fmla="*/ 2892 w 4718"/>
                <a:gd name="T33" fmla="*/ 366 h 1246"/>
                <a:gd name="T34" fmla="*/ 3039 w 4718"/>
                <a:gd name="T35" fmla="*/ 329 h 1246"/>
                <a:gd name="T36" fmla="*/ 4161 w 4718"/>
                <a:gd name="T37" fmla="*/ 267 h 1246"/>
                <a:gd name="T38" fmla="*/ 4678 w 4718"/>
                <a:gd name="T39" fmla="*/ 1124 h 1246"/>
                <a:gd name="T40" fmla="*/ 4694 w 4718"/>
                <a:gd name="T41" fmla="*/ 1181 h 1246"/>
                <a:gd name="T42" fmla="*/ 4712 w 4718"/>
                <a:gd name="T43" fmla="*/ 1246 h 1246"/>
                <a:gd name="T44" fmla="*/ 4718 w 4718"/>
                <a:gd name="T45" fmla="*/ 1245 h 1246"/>
                <a:gd name="T46" fmla="*/ 4699 w 4718"/>
                <a:gd name="T47" fmla="*/ 1179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718" h="1246">
                  <a:moveTo>
                    <a:pt x="4699" y="1179"/>
                  </a:moveTo>
                  <a:cubicBezTo>
                    <a:pt x="4694" y="1161"/>
                    <a:pt x="4689" y="1142"/>
                    <a:pt x="4683" y="1122"/>
                  </a:cubicBezTo>
                  <a:cubicBezTo>
                    <a:pt x="4639" y="965"/>
                    <a:pt x="4588" y="786"/>
                    <a:pt x="4509" y="628"/>
                  </a:cubicBezTo>
                  <a:cubicBezTo>
                    <a:pt x="4417" y="444"/>
                    <a:pt x="4304" y="324"/>
                    <a:pt x="4163" y="263"/>
                  </a:cubicBezTo>
                  <a:cubicBezTo>
                    <a:pt x="3837" y="119"/>
                    <a:pt x="3394" y="232"/>
                    <a:pt x="3038" y="324"/>
                  </a:cubicBezTo>
                  <a:cubicBezTo>
                    <a:pt x="2986" y="337"/>
                    <a:pt x="2937" y="349"/>
                    <a:pt x="2891" y="361"/>
                  </a:cubicBezTo>
                  <a:cubicBezTo>
                    <a:pt x="2803" y="382"/>
                    <a:pt x="2715" y="405"/>
                    <a:pt x="2622" y="430"/>
                  </a:cubicBezTo>
                  <a:cubicBezTo>
                    <a:pt x="2243" y="530"/>
                    <a:pt x="1851" y="633"/>
                    <a:pt x="1474" y="588"/>
                  </a:cubicBezTo>
                  <a:cubicBezTo>
                    <a:pt x="1219" y="558"/>
                    <a:pt x="961" y="434"/>
                    <a:pt x="712" y="314"/>
                  </a:cubicBezTo>
                  <a:cubicBezTo>
                    <a:pt x="619" y="269"/>
                    <a:pt x="532" y="227"/>
                    <a:pt x="445" y="19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443" y="195"/>
                    <a:pt x="443" y="195"/>
                    <a:pt x="443" y="195"/>
                  </a:cubicBezTo>
                  <a:cubicBezTo>
                    <a:pt x="530" y="232"/>
                    <a:pt x="617" y="274"/>
                    <a:pt x="710" y="319"/>
                  </a:cubicBezTo>
                  <a:cubicBezTo>
                    <a:pt x="960" y="439"/>
                    <a:pt x="1217" y="563"/>
                    <a:pt x="1473" y="593"/>
                  </a:cubicBezTo>
                  <a:cubicBezTo>
                    <a:pt x="1852" y="639"/>
                    <a:pt x="2244" y="535"/>
                    <a:pt x="2623" y="435"/>
                  </a:cubicBezTo>
                  <a:cubicBezTo>
                    <a:pt x="2716" y="410"/>
                    <a:pt x="2804" y="387"/>
                    <a:pt x="2892" y="366"/>
                  </a:cubicBezTo>
                  <a:cubicBezTo>
                    <a:pt x="2939" y="354"/>
                    <a:pt x="2988" y="342"/>
                    <a:pt x="3039" y="329"/>
                  </a:cubicBezTo>
                  <a:cubicBezTo>
                    <a:pt x="3394" y="238"/>
                    <a:pt x="3837" y="125"/>
                    <a:pt x="4161" y="267"/>
                  </a:cubicBezTo>
                  <a:cubicBezTo>
                    <a:pt x="4476" y="406"/>
                    <a:pt x="4588" y="804"/>
                    <a:pt x="4678" y="1124"/>
                  </a:cubicBezTo>
                  <a:cubicBezTo>
                    <a:pt x="4684" y="1143"/>
                    <a:pt x="4689" y="1162"/>
                    <a:pt x="4694" y="1181"/>
                  </a:cubicBezTo>
                  <a:cubicBezTo>
                    <a:pt x="4700" y="1202"/>
                    <a:pt x="4706" y="1224"/>
                    <a:pt x="4712" y="1246"/>
                  </a:cubicBezTo>
                  <a:cubicBezTo>
                    <a:pt x="4718" y="1245"/>
                    <a:pt x="4718" y="1245"/>
                    <a:pt x="4718" y="1245"/>
                  </a:cubicBezTo>
                  <a:cubicBezTo>
                    <a:pt x="4711" y="1223"/>
                    <a:pt x="4705" y="1201"/>
                    <a:pt x="4699" y="1179"/>
                  </a:cubicBezTo>
                  <a:close/>
                </a:path>
              </a:pathLst>
            </a:custGeom>
            <a:solidFill>
              <a:srgbClr val="CFD0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1" name="Freeform 50"/>
            <p:cNvSpPr>
              <a:spLocks/>
            </p:cNvSpPr>
            <p:nvPr userDrawn="1"/>
          </p:nvSpPr>
          <p:spPr bwMode="auto">
            <a:xfrm>
              <a:off x="-792" y="2831650"/>
              <a:ext cx="7281154" cy="2086056"/>
            </a:xfrm>
            <a:custGeom>
              <a:avLst/>
              <a:gdLst>
                <a:gd name="T0" fmla="*/ 4769 w 4775"/>
                <a:gd name="T1" fmla="*/ 1346 h 1367"/>
                <a:gd name="T2" fmla="*/ 4726 w 4775"/>
                <a:gd name="T3" fmla="*/ 1198 h 1367"/>
                <a:gd name="T4" fmla="*/ 4708 w 4775"/>
                <a:gd name="T5" fmla="*/ 1139 h 1367"/>
                <a:gd name="T6" fmla="*/ 4173 w 4775"/>
                <a:gd name="T7" fmla="*/ 281 h 1367"/>
                <a:gd name="T8" fmla="*/ 3055 w 4775"/>
                <a:gd name="T9" fmla="*/ 344 h 1367"/>
                <a:gd name="T10" fmla="*/ 2916 w 4775"/>
                <a:gd name="T11" fmla="*/ 379 h 1367"/>
                <a:gd name="T12" fmla="*/ 2654 w 4775"/>
                <a:gd name="T13" fmla="*/ 448 h 1367"/>
                <a:gd name="T14" fmla="*/ 1520 w 4775"/>
                <a:gd name="T15" fmla="*/ 609 h 1367"/>
                <a:gd name="T16" fmla="*/ 761 w 4775"/>
                <a:gd name="T17" fmla="*/ 334 h 1367"/>
                <a:gd name="T18" fmla="*/ 492 w 4775"/>
                <a:gd name="T19" fmla="*/ 210 h 1367"/>
                <a:gd name="T20" fmla="*/ 0 w 4775"/>
                <a:gd name="T21" fmla="*/ 0 h 1367"/>
                <a:gd name="T22" fmla="*/ 0 w 4775"/>
                <a:gd name="T23" fmla="*/ 6 h 1367"/>
                <a:gd name="T24" fmla="*/ 490 w 4775"/>
                <a:gd name="T25" fmla="*/ 215 h 1367"/>
                <a:gd name="T26" fmla="*/ 758 w 4775"/>
                <a:gd name="T27" fmla="*/ 339 h 1367"/>
                <a:gd name="T28" fmla="*/ 1519 w 4775"/>
                <a:gd name="T29" fmla="*/ 614 h 1367"/>
                <a:gd name="T30" fmla="*/ 2655 w 4775"/>
                <a:gd name="T31" fmla="*/ 454 h 1367"/>
                <a:gd name="T32" fmla="*/ 2918 w 4775"/>
                <a:gd name="T33" fmla="*/ 385 h 1367"/>
                <a:gd name="T34" fmla="*/ 3057 w 4775"/>
                <a:gd name="T35" fmla="*/ 349 h 1367"/>
                <a:gd name="T36" fmla="*/ 4171 w 4775"/>
                <a:gd name="T37" fmla="*/ 286 h 1367"/>
                <a:gd name="T38" fmla="*/ 4703 w 4775"/>
                <a:gd name="T39" fmla="*/ 1141 h 1367"/>
                <a:gd name="T40" fmla="*/ 4721 w 4775"/>
                <a:gd name="T41" fmla="*/ 1200 h 1367"/>
                <a:gd name="T42" fmla="*/ 4764 w 4775"/>
                <a:gd name="T43" fmla="*/ 1348 h 1367"/>
                <a:gd name="T44" fmla="*/ 4770 w 4775"/>
                <a:gd name="T45" fmla="*/ 1367 h 1367"/>
                <a:gd name="T46" fmla="*/ 4775 w 4775"/>
                <a:gd name="T47" fmla="*/ 1366 h 1367"/>
                <a:gd name="T48" fmla="*/ 4769 w 4775"/>
                <a:gd name="T49" fmla="*/ 1346 h 1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775" h="1367">
                  <a:moveTo>
                    <a:pt x="4769" y="1346"/>
                  </a:moveTo>
                  <a:cubicBezTo>
                    <a:pt x="4755" y="1295"/>
                    <a:pt x="4741" y="1246"/>
                    <a:pt x="4726" y="1198"/>
                  </a:cubicBezTo>
                  <a:cubicBezTo>
                    <a:pt x="4720" y="1179"/>
                    <a:pt x="4714" y="1160"/>
                    <a:pt x="4708" y="1139"/>
                  </a:cubicBezTo>
                  <a:cubicBezTo>
                    <a:pt x="4612" y="819"/>
                    <a:pt x="4491" y="420"/>
                    <a:pt x="4173" y="281"/>
                  </a:cubicBezTo>
                  <a:cubicBezTo>
                    <a:pt x="3847" y="138"/>
                    <a:pt x="3408" y="252"/>
                    <a:pt x="3055" y="344"/>
                  </a:cubicBezTo>
                  <a:cubicBezTo>
                    <a:pt x="3007" y="356"/>
                    <a:pt x="2961" y="368"/>
                    <a:pt x="2916" y="379"/>
                  </a:cubicBezTo>
                  <a:cubicBezTo>
                    <a:pt x="2830" y="401"/>
                    <a:pt x="2744" y="424"/>
                    <a:pt x="2654" y="448"/>
                  </a:cubicBezTo>
                  <a:cubicBezTo>
                    <a:pt x="2280" y="550"/>
                    <a:pt x="1893" y="654"/>
                    <a:pt x="1520" y="609"/>
                  </a:cubicBezTo>
                  <a:cubicBezTo>
                    <a:pt x="1266" y="578"/>
                    <a:pt x="1009" y="454"/>
                    <a:pt x="761" y="334"/>
                  </a:cubicBezTo>
                  <a:cubicBezTo>
                    <a:pt x="667" y="290"/>
                    <a:pt x="579" y="247"/>
                    <a:pt x="492" y="21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490" y="215"/>
                    <a:pt x="490" y="215"/>
                    <a:pt x="490" y="215"/>
                  </a:cubicBezTo>
                  <a:cubicBezTo>
                    <a:pt x="577" y="252"/>
                    <a:pt x="665" y="294"/>
                    <a:pt x="758" y="339"/>
                  </a:cubicBezTo>
                  <a:cubicBezTo>
                    <a:pt x="1007" y="459"/>
                    <a:pt x="1264" y="583"/>
                    <a:pt x="1519" y="614"/>
                  </a:cubicBezTo>
                  <a:cubicBezTo>
                    <a:pt x="1893" y="660"/>
                    <a:pt x="2281" y="555"/>
                    <a:pt x="2655" y="454"/>
                  </a:cubicBezTo>
                  <a:cubicBezTo>
                    <a:pt x="2746" y="429"/>
                    <a:pt x="2832" y="406"/>
                    <a:pt x="2918" y="385"/>
                  </a:cubicBezTo>
                  <a:cubicBezTo>
                    <a:pt x="2962" y="374"/>
                    <a:pt x="3008" y="362"/>
                    <a:pt x="3057" y="349"/>
                  </a:cubicBezTo>
                  <a:cubicBezTo>
                    <a:pt x="3408" y="257"/>
                    <a:pt x="3846" y="143"/>
                    <a:pt x="4171" y="286"/>
                  </a:cubicBezTo>
                  <a:cubicBezTo>
                    <a:pt x="4487" y="424"/>
                    <a:pt x="4607" y="822"/>
                    <a:pt x="4703" y="1141"/>
                  </a:cubicBezTo>
                  <a:cubicBezTo>
                    <a:pt x="4709" y="1161"/>
                    <a:pt x="4715" y="1181"/>
                    <a:pt x="4721" y="1200"/>
                  </a:cubicBezTo>
                  <a:cubicBezTo>
                    <a:pt x="4735" y="1248"/>
                    <a:pt x="4749" y="1296"/>
                    <a:pt x="4764" y="1348"/>
                  </a:cubicBezTo>
                  <a:cubicBezTo>
                    <a:pt x="4766" y="1354"/>
                    <a:pt x="4768" y="1360"/>
                    <a:pt x="4770" y="1367"/>
                  </a:cubicBezTo>
                  <a:cubicBezTo>
                    <a:pt x="4775" y="1366"/>
                    <a:pt x="4775" y="1366"/>
                    <a:pt x="4775" y="1366"/>
                  </a:cubicBezTo>
                  <a:cubicBezTo>
                    <a:pt x="4773" y="1359"/>
                    <a:pt x="4771" y="1353"/>
                    <a:pt x="4769" y="1346"/>
                  </a:cubicBezTo>
                  <a:close/>
                </a:path>
              </a:pathLst>
            </a:custGeom>
            <a:solidFill>
              <a:srgbClr val="CED0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2" name="Freeform 51"/>
            <p:cNvSpPr>
              <a:spLocks/>
            </p:cNvSpPr>
            <p:nvPr userDrawn="1"/>
          </p:nvSpPr>
          <p:spPr bwMode="auto">
            <a:xfrm>
              <a:off x="-792" y="2632825"/>
              <a:ext cx="7369342" cy="2270450"/>
            </a:xfrm>
            <a:custGeom>
              <a:avLst/>
              <a:gdLst>
                <a:gd name="T0" fmla="*/ 4796 w 4833"/>
                <a:gd name="T1" fmla="*/ 1369 h 1488"/>
                <a:gd name="T2" fmla="*/ 4749 w 4833"/>
                <a:gd name="T3" fmla="*/ 1221 h 1488"/>
                <a:gd name="T4" fmla="*/ 4730 w 4833"/>
                <a:gd name="T5" fmla="*/ 1162 h 1488"/>
                <a:gd name="T6" fmla="*/ 4175 w 4833"/>
                <a:gd name="T7" fmla="*/ 306 h 1488"/>
                <a:gd name="T8" fmla="*/ 3066 w 4833"/>
                <a:gd name="T9" fmla="*/ 369 h 1488"/>
                <a:gd name="T10" fmla="*/ 2938 w 4833"/>
                <a:gd name="T11" fmla="*/ 402 h 1488"/>
                <a:gd name="T12" fmla="*/ 2682 w 4833"/>
                <a:gd name="T13" fmla="*/ 471 h 1488"/>
                <a:gd name="T14" fmla="*/ 1565 w 4833"/>
                <a:gd name="T15" fmla="*/ 630 h 1488"/>
                <a:gd name="T16" fmla="*/ 810 w 4833"/>
                <a:gd name="T17" fmla="*/ 355 h 1488"/>
                <a:gd name="T18" fmla="*/ 540 w 4833"/>
                <a:gd name="T19" fmla="*/ 230 h 1488"/>
                <a:gd name="T20" fmla="*/ 0 w 4833"/>
                <a:gd name="T21" fmla="*/ 0 h 1488"/>
                <a:gd name="T22" fmla="*/ 0 w 4833"/>
                <a:gd name="T23" fmla="*/ 6 h 1488"/>
                <a:gd name="T24" fmla="*/ 537 w 4833"/>
                <a:gd name="T25" fmla="*/ 235 h 1488"/>
                <a:gd name="T26" fmla="*/ 807 w 4833"/>
                <a:gd name="T27" fmla="*/ 360 h 1488"/>
                <a:gd name="T28" fmla="*/ 1564 w 4833"/>
                <a:gd name="T29" fmla="*/ 636 h 1488"/>
                <a:gd name="T30" fmla="*/ 2683 w 4833"/>
                <a:gd name="T31" fmla="*/ 476 h 1488"/>
                <a:gd name="T32" fmla="*/ 2939 w 4833"/>
                <a:gd name="T33" fmla="*/ 408 h 1488"/>
                <a:gd name="T34" fmla="*/ 3067 w 4833"/>
                <a:gd name="T35" fmla="*/ 374 h 1488"/>
                <a:gd name="T36" fmla="*/ 4173 w 4833"/>
                <a:gd name="T37" fmla="*/ 311 h 1488"/>
                <a:gd name="T38" fmla="*/ 4724 w 4833"/>
                <a:gd name="T39" fmla="*/ 1164 h 1488"/>
                <a:gd name="T40" fmla="*/ 4743 w 4833"/>
                <a:gd name="T41" fmla="*/ 1223 h 1488"/>
                <a:gd name="T42" fmla="*/ 4790 w 4833"/>
                <a:gd name="T43" fmla="*/ 1371 h 1488"/>
                <a:gd name="T44" fmla="*/ 4827 w 4833"/>
                <a:gd name="T45" fmla="*/ 1488 h 1488"/>
                <a:gd name="T46" fmla="*/ 4833 w 4833"/>
                <a:gd name="T47" fmla="*/ 1487 h 1488"/>
                <a:gd name="T48" fmla="*/ 4796 w 4833"/>
                <a:gd name="T49" fmla="*/ 1369 h 1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833" h="1488">
                  <a:moveTo>
                    <a:pt x="4796" y="1369"/>
                  </a:moveTo>
                  <a:cubicBezTo>
                    <a:pt x="4780" y="1317"/>
                    <a:pt x="4764" y="1269"/>
                    <a:pt x="4749" y="1221"/>
                  </a:cubicBezTo>
                  <a:cubicBezTo>
                    <a:pt x="4742" y="1202"/>
                    <a:pt x="4736" y="1182"/>
                    <a:pt x="4730" y="1162"/>
                  </a:cubicBezTo>
                  <a:cubicBezTo>
                    <a:pt x="4626" y="843"/>
                    <a:pt x="4496" y="446"/>
                    <a:pt x="4175" y="306"/>
                  </a:cubicBezTo>
                  <a:cubicBezTo>
                    <a:pt x="3848" y="163"/>
                    <a:pt x="3414" y="277"/>
                    <a:pt x="3066" y="369"/>
                  </a:cubicBezTo>
                  <a:cubicBezTo>
                    <a:pt x="3021" y="381"/>
                    <a:pt x="2979" y="392"/>
                    <a:pt x="2938" y="402"/>
                  </a:cubicBezTo>
                  <a:cubicBezTo>
                    <a:pt x="2854" y="423"/>
                    <a:pt x="2770" y="446"/>
                    <a:pt x="2682" y="471"/>
                  </a:cubicBezTo>
                  <a:cubicBezTo>
                    <a:pt x="2313" y="572"/>
                    <a:pt x="1932" y="677"/>
                    <a:pt x="1565" y="630"/>
                  </a:cubicBezTo>
                  <a:cubicBezTo>
                    <a:pt x="1312" y="598"/>
                    <a:pt x="1057" y="475"/>
                    <a:pt x="810" y="355"/>
                  </a:cubicBezTo>
                  <a:cubicBezTo>
                    <a:pt x="716" y="310"/>
                    <a:pt x="627" y="267"/>
                    <a:pt x="540" y="23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537" y="235"/>
                    <a:pt x="537" y="235"/>
                    <a:pt x="537" y="235"/>
                  </a:cubicBezTo>
                  <a:cubicBezTo>
                    <a:pt x="625" y="273"/>
                    <a:pt x="714" y="315"/>
                    <a:pt x="807" y="360"/>
                  </a:cubicBezTo>
                  <a:cubicBezTo>
                    <a:pt x="1055" y="480"/>
                    <a:pt x="1311" y="603"/>
                    <a:pt x="1564" y="636"/>
                  </a:cubicBezTo>
                  <a:cubicBezTo>
                    <a:pt x="1933" y="683"/>
                    <a:pt x="2314" y="578"/>
                    <a:pt x="2683" y="476"/>
                  </a:cubicBezTo>
                  <a:cubicBezTo>
                    <a:pt x="2772" y="452"/>
                    <a:pt x="2855" y="429"/>
                    <a:pt x="2939" y="408"/>
                  </a:cubicBezTo>
                  <a:cubicBezTo>
                    <a:pt x="2980" y="397"/>
                    <a:pt x="3023" y="386"/>
                    <a:pt x="3067" y="374"/>
                  </a:cubicBezTo>
                  <a:cubicBezTo>
                    <a:pt x="3415" y="283"/>
                    <a:pt x="3847" y="169"/>
                    <a:pt x="4173" y="311"/>
                  </a:cubicBezTo>
                  <a:cubicBezTo>
                    <a:pt x="4492" y="450"/>
                    <a:pt x="4621" y="846"/>
                    <a:pt x="4724" y="1164"/>
                  </a:cubicBezTo>
                  <a:cubicBezTo>
                    <a:pt x="4731" y="1184"/>
                    <a:pt x="4737" y="1204"/>
                    <a:pt x="4743" y="1223"/>
                  </a:cubicBezTo>
                  <a:cubicBezTo>
                    <a:pt x="4759" y="1271"/>
                    <a:pt x="4774" y="1319"/>
                    <a:pt x="4790" y="1371"/>
                  </a:cubicBezTo>
                  <a:cubicBezTo>
                    <a:pt x="4802" y="1409"/>
                    <a:pt x="4814" y="1448"/>
                    <a:pt x="4827" y="1488"/>
                  </a:cubicBezTo>
                  <a:cubicBezTo>
                    <a:pt x="4833" y="1487"/>
                    <a:pt x="4833" y="1487"/>
                    <a:pt x="4833" y="1487"/>
                  </a:cubicBezTo>
                  <a:cubicBezTo>
                    <a:pt x="4820" y="1447"/>
                    <a:pt x="4808" y="1408"/>
                    <a:pt x="4796" y="1369"/>
                  </a:cubicBezTo>
                  <a:close/>
                </a:path>
              </a:pathLst>
            </a:custGeom>
            <a:solidFill>
              <a:srgbClr val="CECF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3" name="Freeform 52"/>
            <p:cNvSpPr>
              <a:spLocks/>
            </p:cNvSpPr>
            <p:nvPr userDrawn="1"/>
          </p:nvSpPr>
          <p:spPr bwMode="auto">
            <a:xfrm>
              <a:off x="-792" y="2430793"/>
              <a:ext cx="7462341" cy="2454844"/>
            </a:xfrm>
            <a:custGeom>
              <a:avLst/>
              <a:gdLst>
                <a:gd name="T0" fmla="*/ 4819 w 4894"/>
                <a:gd name="T1" fmla="*/ 1395 h 1609"/>
                <a:gd name="T2" fmla="*/ 4768 w 4894"/>
                <a:gd name="T3" fmla="*/ 1248 h 1609"/>
                <a:gd name="T4" fmla="*/ 4749 w 4894"/>
                <a:gd name="T5" fmla="*/ 1191 h 1609"/>
                <a:gd name="T6" fmla="*/ 4172 w 4894"/>
                <a:gd name="T7" fmla="*/ 337 h 1609"/>
                <a:gd name="T8" fmla="*/ 3072 w 4894"/>
                <a:gd name="T9" fmla="*/ 398 h 1609"/>
                <a:gd name="T10" fmla="*/ 2956 w 4894"/>
                <a:gd name="T11" fmla="*/ 429 h 1609"/>
                <a:gd name="T12" fmla="*/ 2707 w 4894"/>
                <a:gd name="T13" fmla="*/ 496 h 1609"/>
                <a:gd name="T14" fmla="*/ 1610 w 4894"/>
                <a:gd name="T15" fmla="*/ 653 h 1609"/>
                <a:gd name="T16" fmla="*/ 860 w 4894"/>
                <a:gd name="T17" fmla="*/ 378 h 1609"/>
                <a:gd name="T18" fmla="*/ 587 w 4894"/>
                <a:gd name="T19" fmla="*/ 251 h 1609"/>
                <a:gd name="T20" fmla="*/ 0 w 4894"/>
                <a:gd name="T21" fmla="*/ 0 h 1609"/>
                <a:gd name="T22" fmla="*/ 0 w 4894"/>
                <a:gd name="T23" fmla="*/ 7 h 1609"/>
                <a:gd name="T24" fmla="*/ 585 w 4894"/>
                <a:gd name="T25" fmla="*/ 256 h 1609"/>
                <a:gd name="T26" fmla="*/ 857 w 4894"/>
                <a:gd name="T27" fmla="*/ 383 h 1609"/>
                <a:gd name="T28" fmla="*/ 1609 w 4894"/>
                <a:gd name="T29" fmla="*/ 658 h 1609"/>
                <a:gd name="T30" fmla="*/ 2709 w 4894"/>
                <a:gd name="T31" fmla="*/ 502 h 1609"/>
                <a:gd name="T32" fmla="*/ 2957 w 4894"/>
                <a:gd name="T33" fmla="*/ 434 h 1609"/>
                <a:gd name="T34" fmla="*/ 3073 w 4894"/>
                <a:gd name="T35" fmla="*/ 404 h 1609"/>
                <a:gd name="T36" fmla="*/ 4169 w 4894"/>
                <a:gd name="T37" fmla="*/ 342 h 1609"/>
                <a:gd name="T38" fmla="*/ 4743 w 4894"/>
                <a:gd name="T39" fmla="*/ 1193 h 1609"/>
                <a:gd name="T40" fmla="*/ 4763 w 4894"/>
                <a:gd name="T41" fmla="*/ 1250 h 1609"/>
                <a:gd name="T42" fmla="*/ 4814 w 4894"/>
                <a:gd name="T43" fmla="*/ 1397 h 1609"/>
                <a:gd name="T44" fmla="*/ 4888 w 4894"/>
                <a:gd name="T45" fmla="*/ 1609 h 1609"/>
                <a:gd name="T46" fmla="*/ 4894 w 4894"/>
                <a:gd name="T47" fmla="*/ 1608 h 1609"/>
                <a:gd name="T48" fmla="*/ 4819 w 4894"/>
                <a:gd name="T49" fmla="*/ 1395 h 1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894" h="1609">
                  <a:moveTo>
                    <a:pt x="4819" y="1395"/>
                  </a:moveTo>
                  <a:cubicBezTo>
                    <a:pt x="4802" y="1344"/>
                    <a:pt x="4785" y="1295"/>
                    <a:pt x="4768" y="1248"/>
                  </a:cubicBezTo>
                  <a:cubicBezTo>
                    <a:pt x="4762" y="1229"/>
                    <a:pt x="4755" y="1210"/>
                    <a:pt x="4749" y="1191"/>
                  </a:cubicBezTo>
                  <a:cubicBezTo>
                    <a:pt x="4637" y="874"/>
                    <a:pt x="4497" y="478"/>
                    <a:pt x="4172" y="337"/>
                  </a:cubicBezTo>
                  <a:cubicBezTo>
                    <a:pt x="3843" y="194"/>
                    <a:pt x="3416" y="307"/>
                    <a:pt x="3072" y="398"/>
                  </a:cubicBezTo>
                  <a:cubicBezTo>
                    <a:pt x="3032" y="409"/>
                    <a:pt x="2993" y="419"/>
                    <a:pt x="2956" y="429"/>
                  </a:cubicBezTo>
                  <a:cubicBezTo>
                    <a:pt x="2875" y="449"/>
                    <a:pt x="2793" y="472"/>
                    <a:pt x="2707" y="496"/>
                  </a:cubicBezTo>
                  <a:cubicBezTo>
                    <a:pt x="2345" y="597"/>
                    <a:pt x="1970" y="702"/>
                    <a:pt x="1610" y="653"/>
                  </a:cubicBezTo>
                  <a:cubicBezTo>
                    <a:pt x="1359" y="618"/>
                    <a:pt x="1105" y="496"/>
                    <a:pt x="860" y="378"/>
                  </a:cubicBezTo>
                  <a:cubicBezTo>
                    <a:pt x="765" y="332"/>
                    <a:pt x="675" y="289"/>
                    <a:pt x="587" y="2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585" y="256"/>
                    <a:pt x="585" y="256"/>
                    <a:pt x="585" y="256"/>
                  </a:cubicBezTo>
                  <a:cubicBezTo>
                    <a:pt x="673" y="294"/>
                    <a:pt x="763" y="337"/>
                    <a:pt x="857" y="383"/>
                  </a:cubicBezTo>
                  <a:cubicBezTo>
                    <a:pt x="1103" y="501"/>
                    <a:pt x="1357" y="624"/>
                    <a:pt x="1609" y="658"/>
                  </a:cubicBezTo>
                  <a:cubicBezTo>
                    <a:pt x="1971" y="708"/>
                    <a:pt x="2346" y="603"/>
                    <a:pt x="2709" y="502"/>
                  </a:cubicBezTo>
                  <a:cubicBezTo>
                    <a:pt x="2795" y="478"/>
                    <a:pt x="2876" y="455"/>
                    <a:pt x="2957" y="434"/>
                  </a:cubicBezTo>
                  <a:cubicBezTo>
                    <a:pt x="2995" y="425"/>
                    <a:pt x="3033" y="415"/>
                    <a:pt x="3073" y="404"/>
                  </a:cubicBezTo>
                  <a:cubicBezTo>
                    <a:pt x="3416" y="313"/>
                    <a:pt x="3843" y="200"/>
                    <a:pt x="4169" y="342"/>
                  </a:cubicBezTo>
                  <a:cubicBezTo>
                    <a:pt x="4493" y="482"/>
                    <a:pt x="4632" y="877"/>
                    <a:pt x="4743" y="1193"/>
                  </a:cubicBezTo>
                  <a:cubicBezTo>
                    <a:pt x="4750" y="1212"/>
                    <a:pt x="4757" y="1231"/>
                    <a:pt x="4763" y="1250"/>
                  </a:cubicBezTo>
                  <a:cubicBezTo>
                    <a:pt x="4780" y="1297"/>
                    <a:pt x="4796" y="1346"/>
                    <a:pt x="4814" y="1397"/>
                  </a:cubicBezTo>
                  <a:cubicBezTo>
                    <a:pt x="4837" y="1466"/>
                    <a:pt x="4861" y="1538"/>
                    <a:pt x="4888" y="1609"/>
                  </a:cubicBezTo>
                  <a:cubicBezTo>
                    <a:pt x="4894" y="1608"/>
                    <a:pt x="4894" y="1608"/>
                    <a:pt x="4894" y="1608"/>
                  </a:cubicBezTo>
                  <a:cubicBezTo>
                    <a:pt x="4867" y="1537"/>
                    <a:pt x="4843" y="1465"/>
                    <a:pt x="4819" y="1395"/>
                  </a:cubicBezTo>
                  <a:close/>
                </a:path>
              </a:pathLst>
            </a:custGeom>
            <a:solidFill>
              <a:srgbClr val="CDCF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4" name="Freeform 53"/>
            <p:cNvSpPr>
              <a:spLocks/>
            </p:cNvSpPr>
            <p:nvPr userDrawn="1"/>
          </p:nvSpPr>
          <p:spPr bwMode="auto">
            <a:xfrm>
              <a:off x="-792" y="2230365"/>
              <a:ext cx="7563356" cy="2637635"/>
            </a:xfrm>
            <a:custGeom>
              <a:avLst/>
              <a:gdLst>
                <a:gd name="T0" fmla="*/ 4841 w 4960"/>
                <a:gd name="T1" fmla="*/ 1422 h 1728"/>
                <a:gd name="T2" fmla="*/ 4786 w 4960"/>
                <a:gd name="T3" fmla="*/ 1275 h 1728"/>
                <a:gd name="T4" fmla="*/ 4766 w 4960"/>
                <a:gd name="T5" fmla="*/ 1222 h 1728"/>
                <a:gd name="T6" fmla="*/ 4165 w 4960"/>
                <a:gd name="T7" fmla="*/ 370 h 1728"/>
                <a:gd name="T8" fmla="*/ 3074 w 4960"/>
                <a:gd name="T9" fmla="*/ 429 h 1728"/>
                <a:gd name="T10" fmla="*/ 2972 w 4960"/>
                <a:gd name="T11" fmla="*/ 456 h 1728"/>
                <a:gd name="T12" fmla="*/ 2731 w 4960"/>
                <a:gd name="T13" fmla="*/ 522 h 1728"/>
                <a:gd name="T14" fmla="*/ 1654 w 4960"/>
                <a:gd name="T15" fmla="*/ 675 h 1728"/>
                <a:gd name="T16" fmla="*/ 910 w 4960"/>
                <a:gd name="T17" fmla="*/ 399 h 1728"/>
                <a:gd name="T18" fmla="*/ 634 w 4960"/>
                <a:gd name="T19" fmla="*/ 271 h 1728"/>
                <a:gd name="T20" fmla="*/ 0 w 4960"/>
                <a:gd name="T21" fmla="*/ 0 h 1728"/>
                <a:gd name="T22" fmla="*/ 0 w 4960"/>
                <a:gd name="T23" fmla="*/ 7 h 1728"/>
                <a:gd name="T24" fmla="*/ 632 w 4960"/>
                <a:gd name="T25" fmla="*/ 277 h 1728"/>
                <a:gd name="T26" fmla="*/ 907 w 4960"/>
                <a:gd name="T27" fmla="*/ 404 h 1728"/>
                <a:gd name="T28" fmla="*/ 1653 w 4960"/>
                <a:gd name="T29" fmla="*/ 680 h 1728"/>
                <a:gd name="T30" fmla="*/ 2733 w 4960"/>
                <a:gd name="T31" fmla="*/ 528 h 1728"/>
                <a:gd name="T32" fmla="*/ 2974 w 4960"/>
                <a:gd name="T33" fmla="*/ 462 h 1728"/>
                <a:gd name="T34" fmla="*/ 3076 w 4960"/>
                <a:gd name="T35" fmla="*/ 435 h 1728"/>
                <a:gd name="T36" fmla="*/ 4163 w 4960"/>
                <a:gd name="T37" fmla="*/ 375 h 1728"/>
                <a:gd name="T38" fmla="*/ 4761 w 4960"/>
                <a:gd name="T39" fmla="*/ 1224 h 1728"/>
                <a:gd name="T40" fmla="*/ 4781 w 4960"/>
                <a:gd name="T41" fmla="*/ 1277 h 1728"/>
                <a:gd name="T42" fmla="*/ 4836 w 4960"/>
                <a:gd name="T43" fmla="*/ 1424 h 1728"/>
                <a:gd name="T44" fmla="*/ 4954 w 4960"/>
                <a:gd name="T45" fmla="*/ 1728 h 1728"/>
                <a:gd name="T46" fmla="*/ 4960 w 4960"/>
                <a:gd name="T47" fmla="*/ 1727 h 1728"/>
                <a:gd name="T48" fmla="*/ 4841 w 4960"/>
                <a:gd name="T49" fmla="*/ 1422 h 1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960" h="1728">
                  <a:moveTo>
                    <a:pt x="4841" y="1422"/>
                  </a:moveTo>
                  <a:cubicBezTo>
                    <a:pt x="4823" y="1371"/>
                    <a:pt x="4805" y="1322"/>
                    <a:pt x="4786" y="1275"/>
                  </a:cubicBezTo>
                  <a:cubicBezTo>
                    <a:pt x="4780" y="1257"/>
                    <a:pt x="4773" y="1240"/>
                    <a:pt x="4766" y="1222"/>
                  </a:cubicBezTo>
                  <a:cubicBezTo>
                    <a:pt x="4646" y="906"/>
                    <a:pt x="4496" y="513"/>
                    <a:pt x="4165" y="370"/>
                  </a:cubicBezTo>
                  <a:cubicBezTo>
                    <a:pt x="3835" y="227"/>
                    <a:pt x="3413" y="339"/>
                    <a:pt x="3074" y="429"/>
                  </a:cubicBezTo>
                  <a:cubicBezTo>
                    <a:pt x="3040" y="438"/>
                    <a:pt x="3006" y="447"/>
                    <a:pt x="2972" y="456"/>
                  </a:cubicBezTo>
                  <a:cubicBezTo>
                    <a:pt x="2894" y="476"/>
                    <a:pt x="2815" y="499"/>
                    <a:pt x="2731" y="522"/>
                  </a:cubicBezTo>
                  <a:cubicBezTo>
                    <a:pt x="2376" y="623"/>
                    <a:pt x="2008" y="727"/>
                    <a:pt x="1654" y="675"/>
                  </a:cubicBezTo>
                  <a:cubicBezTo>
                    <a:pt x="1406" y="638"/>
                    <a:pt x="1154" y="517"/>
                    <a:pt x="910" y="399"/>
                  </a:cubicBezTo>
                  <a:cubicBezTo>
                    <a:pt x="814" y="353"/>
                    <a:pt x="724" y="309"/>
                    <a:pt x="634" y="27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632" y="277"/>
                    <a:pt x="632" y="277"/>
                    <a:pt x="632" y="277"/>
                  </a:cubicBezTo>
                  <a:cubicBezTo>
                    <a:pt x="721" y="315"/>
                    <a:pt x="812" y="358"/>
                    <a:pt x="907" y="404"/>
                  </a:cubicBezTo>
                  <a:cubicBezTo>
                    <a:pt x="1151" y="522"/>
                    <a:pt x="1404" y="644"/>
                    <a:pt x="1653" y="680"/>
                  </a:cubicBezTo>
                  <a:cubicBezTo>
                    <a:pt x="2008" y="733"/>
                    <a:pt x="2377" y="629"/>
                    <a:pt x="2733" y="528"/>
                  </a:cubicBezTo>
                  <a:cubicBezTo>
                    <a:pt x="2816" y="504"/>
                    <a:pt x="2895" y="482"/>
                    <a:pt x="2974" y="462"/>
                  </a:cubicBezTo>
                  <a:cubicBezTo>
                    <a:pt x="3007" y="453"/>
                    <a:pt x="3041" y="444"/>
                    <a:pt x="3076" y="435"/>
                  </a:cubicBezTo>
                  <a:cubicBezTo>
                    <a:pt x="3414" y="345"/>
                    <a:pt x="3834" y="234"/>
                    <a:pt x="4163" y="375"/>
                  </a:cubicBezTo>
                  <a:cubicBezTo>
                    <a:pt x="4491" y="517"/>
                    <a:pt x="4641" y="909"/>
                    <a:pt x="4761" y="1224"/>
                  </a:cubicBezTo>
                  <a:cubicBezTo>
                    <a:pt x="4768" y="1242"/>
                    <a:pt x="4774" y="1260"/>
                    <a:pt x="4781" y="1277"/>
                  </a:cubicBezTo>
                  <a:cubicBezTo>
                    <a:pt x="4799" y="1324"/>
                    <a:pt x="4817" y="1373"/>
                    <a:pt x="4836" y="1424"/>
                  </a:cubicBezTo>
                  <a:cubicBezTo>
                    <a:pt x="4872" y="1524"/>
                    <a:pt x="4910" y="1627"/>
                    <a:pt x="4954" y="1728"/>
                  </a:cubicBezTo>
                  <a:cubicBezTo>
                    <a:pt x="4960" y="1727"/>
                    <a:pt x="4960" y="1727"/>
                    <a:pt x="4960" y="1727"/>
                  </a:cubicBezTo>
                  <a:cubicBezTo>
                    <a:pt x="4916" y="1626"/>
                    <a:pt x="4878" y="1522"/>
                    <a:pt x="4841" y="1422"/>
                  </a:cubicBezTo>
                  <a:close/>
                </a:path>
              </a:pathLst>
            </a:custGeom>
            <a:solidFill>
              <a:srgbClr val="CDCE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5" name="Freeform 54"/>
            <p:cNvSpPr>
              <a:spLocks/>
            </p:cNvSpPr>
            <p:nvPr userDrawn="1"/>
          </p:nvSpPr>
          <p:spPr bwMode="auto">
            <a:xfrm>
              <a:off x="-792" y="2031540"/>
              <a:ext cx="7677200" cy="2817218"/>
            </a:xfrm>
            <a:custGeom>
              <a:avLst/>
              <a:gdLst>
                <a:gd name="T0" fmla="*/ 4863 w 5034"/>
                <a:gd name="T1" fmla="*/ 1450 h 1846"/>
                <a:gd name="T2" fmla="*/ 4804 w 5034"/>
                <a:gd name="T3" fmla="*/ 1303 h 1846"/>
                <a:gd name="T4" fmla="*/ 4784 w 5034"/>
                <a:gd name="T5" fmla="*/ 1255 h 1846"/>
                <a:gd name="T6" fmla="*/ 4157 w 5034"/>
                <a:gd name="T7" fmla="*/ 404 h 1846"/>
                <a:gd name="T8" fmla="*/ 3075 w 5034"/>
                <a:gd name="T9" fmla="*/ 461 h 1846"/>
                <a:gd name="T10" fmla="*/ 2988 w 5034"/>
                <a:gd name="T11" fmla="*/ 484 h 1846"/>
                <a:gd name="T12" fmla="*/ 2755 w 5034"/>
                <a:gd name="T13" fmla="*/ 549 h 1846"/>
                <a:gd name="T14" fmla="*/ 1699 w 5034"/>
                <a:gd name="T15" fmla="*/ 697 h 1846"/>
                <a:gd name="T16" fmla="*/ 960 w 5034"/>
                <a:gd name="T17" fmla="*/ 421 h 1846"/>
                <a:gd name="T18" fmla="*/ 682 w 5034"/>
                <a:gd name="T19" fmla="*/ 291 h 1846"/>
                <a:gd name="T20" fmla="*/ 0 w 5034"/>
                <a:gd name="T21" fmla="*/ 0 h 1846"/>
                <a:gd name="T22" fmla="*/ 0 w 5034"/>
                <a:gd name="T23" fmla="*/ 7 h 1846"/>
                <a:gd name="T24" fmla="*/ 679 w 5034"/>
                <a:gd name="T25" fmla="*/ 297 h 1846"/>
                <a:gd name="T26" fmla="*/ 958 w 5034"/>
                <a:gd name="T27" fmla="*/ 426 h 1846"/>
                <a:gd name="T28" fmla="*/ 1698 w 5034"/>
                <a:gd name="T29" fmla="*/ 703 h 1846"/>
                <a:gd name="T30" fmla="*/ 2756 w 5034"/>
                <a:gd name="T31" fmla="*/ 555 h 1846"/>
                <a:gd name="T32" fmla="*/ 2990 w 5034"/>
                <a:gd name="T33" fmla="*/ 490 h 1846"/>
                <a:gd name="T34" fmla="*/ 3076 w 5034"/>
                <a:gd name="T35" fmla="*/ 467 h 1846"/>
                <a:gd name="T36" fmla="*/ 4155 w 5034"/>
                <a:gd name="T37" fmla="*/ 410 h 1846"/>
                <a:gd name="T38" fmla="*/ 4778 w 5034"/>
                <a:gd name="T39" fmla="*/ 1257 h 1846"/>
                <a:gd name="T40" fmla="*/ 4798 w 5034"/>
                <a:gd name="T41" fmla="*/ 1305 h 1846"/>
                <a:gd name="T42" fmla="*/ 4857 w 5034"/>
                <a:gd name="T43" fmla="*/ 1452 h 1846"/>
                <a:gd name="T44" fmla="*/ 5028 w 5034"/>
                <a:gd name="T45" fmla="*/ 1846 h 1846"/>
                <a:gd name="T46" fmla="*/ 5034 w 5034"/>
                <a:gd name="T47" fmla="*/ 1845 h 1846"/>
                <a:gd name="T48" fmla="*/ 4863 w 5034"/>
                <a:gd name="T49" fmla="*/ 1450 h 18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034" h="1846">
                  <a:moveTo>
                    <a:pt x="4863" y="1450"/>
                  </a:moveTo>
                  <a:cubicBezTo>
                    <a:pt x="4842" y="1398"/>
                    <a:pt x="4823" y="1350"/>
                    <a:pt x="4804" y="1303"/>
                  </a:cubicBezTo>
                  <a:cubicBezTo>
                    <a:pt x="4797" y="1287"/>
                    <a:pt x="4791" y="1271"/>
                    <a:pt x="4784" y="1255"/>
                  </a:cubicBezTo>
                  <a:cubicBezTo>
                    <a:pt x="4655" y="940"/>
                    <a:pt x="4494" y="549"/>
                    <a:pt x="4157" y="404"/>
                  </a:cubicBezTo>
                  <a:cubicBezTo>
                    <a:pt x="3825" y="262"/>
                    <a:pt x="3409" y="372"/>
                    <a:pt x="3075" y="461"/>
                  </a:cubicBezTo>
                  <a:cubicBezTo>
                    <a:pt x="3045" y="469"/>
                    <a:pt x="3016" y="477"/>
                    <a:pt x="2988" y="484"/>
                  </a:cubicBezTo>
                  <a:cubicBezTo>
                    <a:pt x="2912" y="504"/>
                    <a:pt x="2836" y="526"/>
                    <a:pt x="2755" y="549"/>
                  </a:cubicBezTo>
                  <a:cubicBezTo>
                    <a:pt x="2406" y="648"/>
                    <a:pt x="2045" y="751"/>
                    <a:pt x="1699" y="697"/>
                  </a:cubicBezTo>
                  <a:cubicBezTo>
                    <a:pt x="1452" y="658"/>
                    <a:pt x="1202" y="537"/>
                    <a:pt x="960" y="421"/>
                  </a:cubicBezTo>
                  <a:cubicBezTo>
                    <a:pt x="864" y="374"/>
                    <a:pt x="772" y="330"/>
                    <a:pt x="682" y="29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679" y="297"/>
                    <a:pt x="679" y="297"/>
                    <a:pt x="679" y="297"/>
                  </a:cubicBezTo>
                  <a:cubicBezTo>
                    <a:pt x="770" y="336"/>
                    <a:pt x="861" y="380"/>
                    <a:pt x="958" y="426"/>
                  </a:cubicBezTo>
                  <a:cubicBezTo>
                    <a:pt x="1200" y="543"/>
                    <a:pt x="1450" y="664"/>
                    <a:pt x="1698" y="703"/>
                  </a:cubicBezTo>
                  <a:cubicBezTo>
                    <a:pt x="2045" y="758"/>
                    <a:pt x="2407" y="654"/>
                    <a:pt x="2756" y="555"/>
                  </a:cubicBezTo>
                  <a:cubicBezTo>
                    <a:pt x="2837" y="532"/>
                    <a:pt x="2914" y="510"/>
                    <a:pt x="2990" y="490"/>
                  </a:cubicBezTo>
                  <a:cubicBezTo>
                    <a:pt x="3018" y="483"/>
                    <a:pt x="3047" y="475"/>
                    <a:pt x="3076" y="467"/>
                  </a:cubicBezTo>
                  <a:cubicBezTo>
                    <a:pt x="3409" y="378"/>
                    <a:pt x="3824" y="268"/>
                    <a:pt x="4155" y="410"/>
                  </a:cubicBezTo>
                  <a:cubicBezTo>
                    <a:pt x="4489" y="554"/>
                    <a:pt x="4649" y="944"/>
                    <a:pt x="4778" y="1257"/>
                  </a:cubicBezTo>
                  <a:cubicBezTo>
                    <a:pt x="4785" y="1273"/>
                    <a:pt x="4792" y="1289"/>
                    <a:pt x="4798" y="1305"/>
                  </a:cubicBezTo>
                  <a:cubicBezTo>
                    <a:pt x="4818" y="1352"/>
                    <a:pt x="4837" y="1401"/>
                    <a:pt x="4857" y="1452"/>
                  </a:cubicBezTo>
                  <a:cubicBezTo>
                    <a:pt x="4908" y="1581"/>
                    <a:pt x="4962" y="1718"/>
                    <a:pt x="5028" y="1846"/>
                  </a:cubicBezTo>
                  <a:cubicBezTo>
                    <a:pt x="5034" y="1845"/>
                    <a:pt x="5034" y="1845"/>
                    <a:pt x="5034" y="1845"/>
                  </a:cubicBezTo>
                  <a:cubicBezTo>
                    <a:pt x="4968" y="1716"/>
                    <a:pt x="4914" y="1579"/>
                    <a:pt x="4863" y="1450"/>
                  </a:cubicBezTo>
                  <a:close/>
                </a:path>
              </a:pathLst>
            </a:custGeom>
            <a:solidFill>
              <a:srgbClr val="CCCE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6" name="Freeform 55"/>
            <p:cNvSpPr>
              <a:spLocks/>
            </p:cNvSpPr>
            <p:nvPr userDrawn="1"/>
          </p:nvSpPr>
          <p:spPr bwMode="auto">
            <a:xfrm>
              <a:off x="-792" y="1831112"/>
              <a:ext cx="7800664" cy="2995199"/>
            </a:xfrm>
            <a:custGeom>
              <a:avLst/>
              <a:gdLst>
                <a:gd name="T0" fmla="*/ 4862 w 5116"/>
                <a:gd name="T1" fmla="*/ 1408 h 1963"/>
                <a:gd name="T2" fmla="*/ 4150 w 5116"/>
                <a:gd name="T3" fmla="*/ 438 h 1963"/>
                <a:gd name="T4" fmla="*/ 3074 w 5116"/>
                <a:gd name="T5" fmla="*/ 493 h 1963"/>
                <a:gd name="T6" fmla="*/ 3004 w 5116"/>
                <a:gd name="T7" fmla="*/ 512 h 1963"/>
                <a:gd name="T8" fmla="*/ 2779 w 5116"/>
                <a:gd name="T9" fmla="*/ 575 h 1963"/>
                <a:gd name="T10" fmla="*/ 1743 w 5116"/>
                <a:gd name="T11" fmla="*/ 719 h 1963"/>
                <a:gd name="T12" fmla="*/ 1011 w 5116"/>
                <a:gd name="T13" fmla="*/ 442 h 1963"/>
                <a:gd name="T14" fmla="*/ 729 w 5116"/>
                <a:gd name="T15" fmla="*/ 312 h 1963"/>
                <a:gd name="T16" fmla="*/ 0 w 5116"/>
                <a:gd name="T17" fmla="*/ 0 h 1963"/>
                <a:gd name="T18" fmla="*/ 0 w 5116"/>
                <a:gd name="T19" fmla="*/ 7 h 1963"/>
                <a:gd name="T20" fmla="*/ 727 w 5116"/>
                <a:gd name="T21" fmla="*/ 317 h 1963"/>
                <a:gd name="T22" fmla="*/ 1008 w 5116"/>
                <a:gd name="T23" fmla="*/ 448 h 1963"/>
                <a:gd name="T24" fmla="*/ 1742 w 5116"/>
                <a:gd name="T25" fmla="*/ 725 h 1963"/>
                <a:gd name="T26" fmla="*/ 2780 w 5116"/>
                <a:gd name="T27" fmla="*/ 581 h 1963"/>
                <a:gd name="T28" fmla="*/ 3006 w 5116"/>
                <a:gd name="T29" fmla="*/ 518 h 1963"/>
                <a:gd name="T30" fmla="*/ 3076 w 5116"/>
                <a:gd name="T31" fmla="*/ 499 h 1963"/>
                <a:gd name="T32" fmla="*/ 4147 w 5116"/>
                <a:gd name="T33" fmla="*/ 444 h 1963"/>
                <a:gd name="T34" fmla="*/ 4856 w 5116"/>
                <a:gd name="T35" fmla="*/ 1411 h 1963"/>
                <a:gd name="T36" fmla="*/ 5109 w 5116"/>
                <a:gd name="T37" fmla="*/ 1963 h 1963"/>
                <a:gd name="T38" fmla="*/ 5116 w 5116"/>
                <a:gd name="T39" fmla="*/ 1962 h 1963"/>
                <a:gd name="T40" fmla="*/ 4862 w 5116"/>
                <a:gd name="T41" fmla="*/ 1408 h 1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16" h="1963">
                  <a:moveTo>
                    <a:pt x="4862" y="1408"/>
                  </a:moveTo>
                  <a:cubicBezTo>
                    <a:pt x="4708" y="1015"/>
                    <a:pt x="4548" y="609"/>
                    <a:pt x="4150" y="438"/>
                  </a:cubicBezTo>
                  <a:cubicBezTo>
                    <a:pt x="3815" y="295"/>
                    <a:pt x="3422" y="400"/>
                    <a:pt x="3074" y="493"/>
                  </a:cubicBezTo>
                  <a:cubicBezTo>
                    <a:pt x="3051" y="499"/>
                    <a:pt x="3027" y="506"/>
                    <a:pt x="3004" y="512"/>
                  </a:cubicBezTo>
                  <a:cubicBezTo>
                    <a:pt x="2931" y="531"/>
                    <a:pt x="2857" y="552"/>
                    <a:pt x="2779" y="575"/>
                  </a:cubicBezTo>
                  <a:cubicBezTo>
                    <a:pt x="2436" y="674"/>
                    <a:pt x="2082" y="776"/>
                    <a:pt x="1743" y="719"/>
                  </a:cubicBezTo>
                  <a:cubicBezTo>
                    <a:pt x="1499" y="677"/>
                    <a:pt x="1251" y="558"/>
                    <a:pt x="1011" y="442"/>
                  </a:cubicBezTo>
                  <a:cubicBezTo>
                    <a:pt x="913" y="395"/>
                    <a:pt x="821" y="351"/>
                    <a:pt x="729" y="3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727" y="317"/>
                    <a:pt x="727" y="317"/>
                    <a:pt x="727" y="317"/>
                  </a:cubicBezTo>
                  <a:cubicBezTo>
                    <a:pt x="818" y="356"/>
                    <a:pt x="911" y="401"/>
                    <a:pt x="1008" y="448"/>
                  </a:cubicBezTo>
                  <a:cubicBezTo>
                    <a:pt x="1248" y="564"/>
                    <a:pt x="1497" y="683"/>
                    <a:pt x="1742" y="725"/>
                  </a:cubicBezTo>
                  <a:cubicBezTo>
                    <a:pt x="2083" y="783"/>
                    <a:pt x="2437" y="680"/>
                    <a:pt x="2780" y="581"/>
                  </a:cubicBezTo>
                  <a:cubicBezTo>
                    <a:pt x="2858" y="558"/>
                    <a:pt x="2932" y="537"/>
                    <a:pt x="3006" y="518"/>
                  </a:cubicBezTo>
                  <a:cubicBezTo>
                    <a:pt x="3029" y="512"/>
                    <a:pt x="3052" y="505"/>
                    <a:pt x="3076" y="499"/>
                  </a:cubicBezTo>
                  <a:cubicBezTo>
                    <a:pt x="3422" y="406"/>
                    <a:pt x="3815" y="301"/>
                    <a:pt x="4147" y="444"/>
                  </a:cubicBezTo>
                  <a:cubicBezTo>
                    <a:pt x="4544" y="614"/>
                    <a:pt x="4702" y="1019"/>
                    <a:pt x="4856" y="1411"/>
                  </a:cubicBezTo>
                  <a:cubicBezTo>
                    <a:pt x="4930" y="1600"/>
                    <a:pt x="5006" y="1794"/>
                    <a:pt x="5109" y="1963"/>
                  </a:cubicBezTo>
                  <a:cubicBezTo>
                    <a:pt x="5116" y="1962"/>
                    <a:pt x="5116" y="1962"/>
                    <a:pt x="5116" y="1962"/>
                  </a:cubicBezTo>
                  <a:cubicBezTo>
                    <a:pt x="5012" y="1793"/>
                    <a:pt x="4936" y="1599"/>
                    <a:pt x="4862" y="1408"/>
                  </a:cubicBezTo>
                  <a:close/>
                </a:path>
              </a:pathLst>
            </a:custGeom>
            <a:solidFill>
              <a:srgbClr val="CCCE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7" name="Freeform 56"/>
            <p:cNvSpPr>
              <a:spLocks/>
            </p:cNvSpPr>
            <p:nvPr userDrawn="1"/>
          </p:nvSpPr>
          <p:spPr bwMode="auto">
            <a:xfrm>
              <a:off x="-792" y="1630683"/>
              <a:ext cx="7949782" cy="3169972"/>
            </a:xfrm>
            <a:custGeom>
              <a:avLst/>
              <a:gdLst>
                <a:gd name="T0" fmla="*/ 4880 w 5213"/>
                <a:gd name="T1" fmla="*/ 1433 h 2077"/>
                <a:gd name="T2" fmla="*/ 4145 w 5213"/>
                <a:gd name="T3" fmla="*/ 469 h 2077"/>
                <a:gd name="T4" fmla="*/ 3076 w 5213"/>
                <a:gd name="T5" fmla="*/ 523 h 2077"/>
                <a:gd name="T6" fmla="*/ 3022 w 5213"/>
                <a:gd name="T7" fmla="*/ 538 h 2077"/>
                <a:gd name="T8" fmla="*/ 2804 w 5213"/>
                <a:gd name="T9" fmla="*/ 600 h 2077"/>
                <a:gd name="T10" fmla="*/ 1788 w 5213"/>
                <a:gd name="T11" fmla="*/ 740 h 2077"/>
                <a:gd name="T12" fmla="*/ 1062 w 5213"/>
                <a:gd name="T13" fmla="*/ 464 h 2077"/>
                <a:gd name="T14" fmla="*/ 777 w 5213"/>
                <a:gd name="T15" fmla="*/ 332 h 2077"/>
                <a:gd name="T16" fmla="*/ 0 w 5213"/>
                <a:gd name="T17" fmla="*/ 0 h 2077"/>
                <a:gd name="T18" fmla="*/ 0 w 5213"/>
                <a:gd name="T19" fmla="*/ 7 h 2077"/>
                <a:gd name="T20" fmla="*/ 774 w 5213"/>
                <a:gd name="T21" fmla="*/ 338 h 2077"/>
                <a:gd name="T22" fmla="*/ 1059 w 5213"/>
                <a:gd name="T23" fmla="*/ 470 h 2077"/>
                <a:gd name="T24" fmla="*/ 1787 w 5213"/>
                <a:gd name="T25" fmla="*/ 747 h 2077"/>
                <a:gd name="T26" fmla="*/ 2805 w 5213"/>
                <a:gd name="T27" fmla="*/ 606 h 2077"/>
                <a:gd name="T28" fmla="*/ 3024 w 5213"/>
                <a:gd name="T29" fmla="*/ 544 h 2077"/>
                <a:gd name="T30" fmla="*/ 3078 w 5213"/>
                <a:gd name="T31" fmla="*/ 529 h 2077"/>
                <a:gd name="T32" fmla="*/ 4143 w 5213"/>
                <a:gd name="T33" fmla="*/ 475 h 2077"/>
                <a:gd name="T34" fmla="*/ 4874 w 5213"/>
                <a:gd name="T35" fmla="*/ 1436 h 2077"/>
                <a:gd name="T36" fmla="*/ 5206 w 5213"/>
                <a:gd name="T37" fmla="*/ 2077 h 2077"/>
                <a:gd name="T38" fmla="*/ 5213 w 5213"/>
                <a:gd name="T39" fmla="*/ 2076 h 2077"/>
                <a:gd name="T40" fmla="*/ 4880 w 5213"/>
                <a:gd name="T41" fmla="*/ 1433 h 20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213" h="2077">
                  <a:moveTo>
                    <a:pt x="4880" y="1433"/>
                  </a:moveTo>
                  <a:cubicBezTo>
                    <a:pt x="4716" y="1044"/>
                    <a:pt x="4547" y="641"/>
                    <a:pt x="4145" y="469"/>
                  </a:cubicBezTo>
                  <a:cubicBezTo>
                    <a:pt x="3809" y="326"/>
                    <a:pt x="3419" y="431"/>
                    <a:pt x="3076" y="523"/>
                  </a:cubicBezTo>
                  <a:cubicBezTo>
                    <a:pt x="3058" y="528"/>
                    <a:pt x="3040" y="533"/>
                    <a:pt x="3022" y="538"/>
                  </a:cubicBezTo>
                  <a:cubicBezTo>
                    <a:pt x="2951" y="557"/>
                    <a:pt x="2879" y="578"/>
                    <a:pt x="2804" y="600"/>
                  </a:cubicBezTo>
                  <a:cubicBezTo>
                    <a:pt x="2468" y="698"/>
                    <a:pt x="2120" y="800"/>
                    <a:pt x="1788" y="740"/>
                  </a:cubicBezTo>
                  <a:cubicBezTo>
                    <a:pt x="1545" y="697"/>
                    <a:pt x="1299" y="578"/>
                    <a:pt x="1062" y="464"/>
                  </a:cubicBezTo>
                  <a:cubicBezTo>
                    <a:pt x="963" y="416"/>
                    <a:pt x="869" y="371"/>
                    <a:pt x="777" y="3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774" y="338"/>
                    <a:pt x="774" y="338"/>
                    <a:pt x="774" y="338"/>
                  </a:cubicBezTo>
                  <a:cubicBezTo>
                    <a:pt x="867" y="377"/>
                    <a:pt x="960" y="422"/>
                    <a:pt x="1059" y="470"/>
                  </a:cubicBezTo>
                  <a:cubicBezTo>
                    <a:pt x="1297" y="584"/>
                    <a:pt x="1543" y="703"/>
                    <a:pt x="1787" y="747"/>
                  </a:cubicBezTo>
                  <a:cubicBezTo>
                    <a:pt x="2120" y="807"/>
                    <a:pt x="2469" y="705"/>
                    <a:pt x="2805" y="606"/>
                  </a:cubicBezTo>
                  <a:cubicBezTo>
                    <a:pt x="2881" y="584"/>
                    <a:pt x="2952" y="563"/>
                    <a:pt x="3024" y="544"/>
                  </a:cubicBezTo>
                  <a:cubicBezTo>
                    <a:pt x="3041" y="539"/>
                    <a:pt x="3060" y="534"/>
                    <a:pt x="3078" y="529"/>
                  </a:cubicBezTo>
                  <a:cubicBezTo>
                    <a:pt x="3420" y="437"/>
                    <a:pt x="3808" y="332"/>
                    <a:pt x="4143" y="475"/>
                  </a:cubicBezTo>
                  <a:cubicBezTo>
                    <a:pt x="4542" y="646"/>
                    <a:pt x="4711" y="1047"/>
                    <a:pt x="4874" y="1436"/>
                  </a:cubicBezTo>
                  <a:cubicBezTo>
                    <a:pt x="4968" y="1660"/>
                    <a:pt x="5065" y="1889"/>
                    <a:pt x="5206" y="2077"/>
                  </a:cubicBezTo>
                  <a:cubicBezTo>
                    <a:pt x="5213" y="2076"/>
                    <a:pt x="5213" y="2076"/>
                    <a:pt x="5213" y="2076"/>
                  </a:cubicBezTo>
                  <a:cubicBezTo>
                    <a:pt x="5071" y="1888"/>
                    <a:pt x="4975" y="1658"/>
                    <a:pt x="4880" y="1433"/>
                  </a:cubicBezTo>
                  <a:close/>
                </a:path>
              </a:pathLst>
            </a:custGeom>
            <a:solidFill>
              <a:srgbClr val="CBCD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8" name="Freeform 57"/>
            <p:cNvSpPr>
              <a:spLocks/>
            </p:cNvSpPr>
            <p:nvPr userDrawn="1"/>
          </p:nvSpPr>
          <p:spPr bwMode="auto">
            <a:xfrm>
              <a:off x="-792" y="1431859"/>
              <a:ext cx="8122952" cy="3338331"/>
            </a:xfrm>
            <a:custGeom>
              <a:avLst/>
              <a:gdLst>
                <a:gd name="T0" fmla="*/ 4902 w 5327"/>
                <a:gd name="T1" fmla="*/ 1456 h 2188"/>
                <a:gd name="T2" fmla="*/ 4146 w 5327"/>
                <a:gd name="T3" fmla="*/ 496 h 2188"/>
                <a:gd name="T4" fmla="*/ 2889 w 5327"/>
                <a:gd name="T5" fmla="*/ 597 h 2188"/>
                <a:gd name="T6" fmla="*/ 1833 w 5327"/>
                <a:gd name="T7" fmla="*/ 762 h 2188"/>
                <a:gd name="T8" fmla="*/ 1112 w 5327"/>
                <a:gd name="T9" fmla="*/ 485 h 2188"/>
                <a:gd name="T10" fmla="*/ 824 w 5327"/>
                <a:gd name="T11" fmla="*/ 352 h 2188"/>
                <a:gd name="T12" fmla="*/ 0 w 5327"/>
                <a:gd name="T13" fmla="*/ 0 h 2188"/>
                <a:gd name="T14" fmla="*/ 0 w 5327"/>
                <a:gd name="T15" fmla="*/ 7 h 2188"/>
                <a:gd name="T16" fmla="*/ 821 w 5327"/>
                <a:gd name="T17" fmla="*/ 358 h 2188"/>
                <a:gd name="T18" fmla="*/ 1109 w 5327"/>
                <a:gd name="T19" fmla="*/ 491 h 2188"/>
                <a:gd name="T20" fmla="*/ 1832 w 5327"/>
                <a:gd name="T21" fmla="*/ 768 h 2188"/>
                <a:gd name="T22" fmla="*/ 2891 w 5327"/>
                <a:gd name="T23" fmla="*/ 603 h 2188"/>
                <a:gd name="T24" fmla="*/ 4143 w 5327"/>
                <a:gd name="T25" fmla="*/ 502 h 2188"/>
                <a:gd name="T26" fmla="*/ 4896 w 5327"/>
                <a:gd name="T27" fmla="*/ 1459 h 2188"/>
                <a:gd name="T28" fmla="*/ 5319 w 5327"/>
                <a:gd name="T29" fmla="*/ 2188 h 2188"/>
                <a:gd name="T30" fmla="*/ 5327 w 5327"/>
                <a:gd name="T31" fmla="*/ 2187 h 2188"/>
                <a:gd name="T32" fmla="*/ 4902 w 5327"/>
                <a:gd name="T33" fmla="*/ 1456 h 2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27" h="2188">
                  <a:moveTo>
                    <a:pt x="4902" y="1456"/>
                  </a:moveTo>
                  <a:cubicBezTo>
                    <a:pt x="4729" y="1069"/>
                    <a:pt x="4550" y="668"/>
                    <a:pt x="4146" y="496"/>
                  </a:cubicBezTo>
                  <a:cubicBezTo>
                    <a:pt x="3736" y="321"/>
                    <a:pt x="3306" y="461"/>
                    <a:pt x="2889" y="597"/>
                  </a:cubicBezTo>
                  <a:cubicBezTo>
                    <a:pt x="2541" y="710"/>
                    <a:pt x="2181" y="827"/>
                    <a:pt x="1833" y="762"/>
                  </a:cubicBezTo>
                  <a:cubicBezTo>
                    <a:pt x="1592" y="717"/>
                    <a:pt x="1348" y="599"/>
                    <a:pt x="1112" y="485"/>
                  </a:cubicBezTo>
                  <a:cubicBezTo>
                    <a:pt x="1012" y="437"/>
                    <a:pt x="918" y="392"/>
                    <a:pt x="824" y="35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821" y="358"/>
                    <a:pt x="821" y="358"/>
                    <a:pt x="821" y="358"/>
                  </a:cubicBezTo>
                  <a:cubicBezTo>
                    <a:pt x="915" y="398"/>
                    <a:pt x="1009" y="443"/>
                    <a:pt x="1109" y="491"/>
                  </a:cubicBezTo>
                  <a:cubicBezTo>
                    <a:pt x="1345" y="605"/>
                    <a:pt x="1590" y="723"/>
                    <a:pt x="1832" y="768"/>
                  </a:cubicBezTo>
                  <a:cubicBezTo>
                    <a:pt x="2182" y="834"/>
                    <a:pt x="2542" y="717"/>
                    <a:pt x="2891" y="603"/>
                  </a:cubicBezTo>
                  <a:cubicBezTo>
                    <a:pt x="3306" y="468"/>
                    <a:pt x="3736" y="328"/>
                    <a:pt x="4143" y="502"/>
                  </a:cubicBezTo>
                  <a:cubicBezTo>
                    <a:pt x="4545" y="674"/>
                    <a:pt x="4723" y="1073"/>
                    <a:pt x="4896" y="1459"/>
                  </a:cubicBezTo>
                  <a:cubicBezTo>
                    <a:pt x="5012" y="1720"/>
                    <a:pt x="5131" y="1987"/>
                    <a:pt x="5319" y="2188"/>
                  </a:cubicBezTo>
                  <a:cubicBezTo>
                    <a:pt x="5327" y="2187"/>
                    <a:pt x="5327" y="2187"/>
                    <a:pt x="5327" y="2187"/>
                  </a:cubicBezTo>
                  <a:cubicBezTo>
                    <a:pt x="5138" y="1986"/>
                    <a:pt x="5018" y="1718"/>
                    <a:pt x="4902" y="1456"/>
                  </a:cubicBezTo>
                  <a:close/>
                </a:path>
              </a:pathLst>
            </a:custGeom>
            <a:solidFill>
              <a:srgbClr val="CBCD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9" name="Freeform 58"/>
            <p:cNvSpPr>
              <a:spLocks/>
            </p:cNvSpPr>
            <p:nvPr userDrawn="1"/>
          </p:nvSpPr>
          <p:spPr bwMode="auto">
            <a:xfrm>
              <a:off x="-792" y="1231431"/>
              <a:ext cx="8329794" cy="3501881"/>
            </a:xfrm>
            <a:custGeom>
              <a:avLst/>
              <a:gdLst>
                <a:gd name="T0" fmla="*/ 4928 w 5463"/>
                <a:gd name="T1" fmla="*/ 1476 h 2295"/>
                <a:gd name="T2" fmla="*/ 4153 w 5463"/>
                <a:gd name="T3" fmla="*/ 516 h 2295"/>
                <a:gd name="T4" fmla="*/ 2920 w 5463"/>
                <a:gd name="T5" fmla="*/ 618 h 2295"/>
                <a:gd name="T6" fmla="*/ 1879 w 5463"/>
                <a:gd name="T7" fmla="*/ 783 h 2295"/>
                <a:gd name="T8" fmla="*/ 1161 w 5463"/>
                <a:gd name="T9" fmla="*/ 506 h 2295"/>
                <a:gd name="T10" fmla="*/ 871 w 5463"/>
                <a:gd name="T11" fmla="*/ 372 h 2295"/>
                <a:gd name="T12" fmla="*/ 0 w 5463"/>
                <a:gd name="T13" fmla="*/ 0 h 2295"/>
                <a:gd name="T14" fmla="*/ 0 w 5463"/>
                <a:gd name="T15" fmla="*/ 7 h 2295"/>
                <a:gd name="T16" fmla="*/ 869 w 5463"/>
                <a:gd name="T17" fmla="*/ 378 h 2295"/>
                <a:gd name="T18" fmla="*/ 1158 w 5463"/>
                <a:gd name="T19" fmla="*/ 512 h 2295"/>
                <a:gd name="T20" fmla="*/ 1878 w 5463"/>
                <a:gd name="T21" fmla="*/ 789 h 2295"/>
                <a:gd name="T22" fmla="*/ 2922 w 5463"/>
                <a:gd name="T23" fmla="*/ 625 h 2295"/>
                <a:gd name="T24" fmla="*/ 4150 w 5463"/>
                <a:gd name="T25" fmla="*/ 523 h 2295"/>
                <a:gd name="T26" fmla="*/ 4921 w 5463"/>
                <a:gd name="T27" fmla="*/ 1479 h 2295"/>
                <a:gd name="T28" fmla="*/ 5454 w 5463"/>
                <a:gd name="T29" fmla="*/ 2295 h 2295"/>
                <a:gd name="T30" fmla="*/ 5463 w 5463"/>
                <a:gd name="T31" fmla="*/ 2294 h 2295"/>
                <a:gd name="T32" fmla="*/ 4928 w 5463"/>
                <a:gd name="T33" fmla="*/ 1476 h 2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463" h="2295">
                  <a:moveTo>
                    <a:pt x="4928" y="1476"/>
                  </a:moveTo>
                  <a:cubicBezTo>
                    <a:pt x="4747" y="1090"/>
                    <a:pt x="4561" y="690"/>
                    <a:pt x="4153" y="516"/>
                  </a:cubicBezTo>
                  <a:cubicBezTo>
                    <a:pt x="3748" y="344"/>
                    <a:pt x="3327" y="483"/>
                    <a:pt x="2920" y="618"/>
                  </a:cubicBezTo>
                  <a:cubicBezTo>
                    <a:pt x="2578" y="732"/>
                    <a:pt x="2224" y="849"/>
                    <a:pt x="1879" y="783"/>
                  </a:cubicBezTo>
                  <a:cubicBezTo>
                    <a:pt x="1639" y="737"/>
                    <a:pt x="1396" y="619"/>
                    <a:pt x="1161" y="506"/>
                  </a:cubicBezTo>
                  <a:cubicBezTo>
                    <a:pt x="1060" y="458"/>
                    <a:pt x="966" y="412"/>
                    <a:pt x="871" y="37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869" y="378"/>
                    <a:pt x="869" y="378"/>
                    <a:pt x="869" y="378"/>
                  </a:cubicBezTo>
                  <a:cubicBezTo>
                    <a:pt x="963" y="418"/>
                    <a:pt x="1057" y="464"/>
                    <a:pt x="1158" y="512"/>
                  </a:cubicBezTo>
                  <a:cubicBezTo>
                    <a:pt x="1393" y="626"/>
                    <a:pt x="1637" y="743"/>
                    <a:pt x="1878" y="789"/>
                  </a:cubicBezTo>
                  <a:cubicBezTo>
                    <a:pt x="2224" y="856"/>
                    <a:pt x="2579" y="738"/>
                    <a:pt x="2922" y="625"/>
                  </a:cubicBezTo>
                  <a:cubicBezTo>
                    <a:pt x="3328" y="490"/>
                    <a:pt x="3748" y="351"/>
                    <a:pt x="4150" y="523"/>
                  </a:cubicBezTo>
                  <a:cubicBezTo>
                    <a:pt x="4555" y="695"/>
                    <a:pt x="4741" y="1094"/>
                    <a:pt x="4921" y="1479"/>
                  </a:cubicBezTo>
                  <a:cubicBezTo>
                    <a:pt x="5062" y="1780"/>
                    <a:pt x="5206" y="2089"/>
                    <a:pt x="5454" y="2295"/>
                  </a:cubicBezTo>
                  <a:cubicBezTo>
                    <a:pt x="5463" y="2294"/>
                    <a:pt x="5463" y="2294"/>
                    <a:pt x="5463" y="2294"/>
                  </a:cubicBezTo>
                  <a:cubicBezTo>
                    <a:pt x="5213" y="2088"/>
                    <a:pt x="5068" y="1778"/>
                    <a:pt x="4928" y="1476"/>
                  </a:cubicBezTo>
                  <a:close/>
                </a:path>
              </a:pathLst>
            </a:custGeom>
            <a:solidFill>
              <a:srgbClr val="CBCC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0" name="Freeform 59"/>
            <p:cNvSpPr>
              <a:spLocks/>
            </p:cNvSpPr>
            <p:nvPr userDrawn="1"/>
          </p:nvSpPr>
          <p:spPr bwMode="auto">
            <a:xfrm>
              <a:off x="-792" y="1029400"/>
              <a:ext cx="8578325" cy="3662224"/>
            </a:xfrm>
            <a:custGeom>
              <a:avLst/>
              <a:gdLst>
                <a:gd name="T0" fmla="*/ 5621 w 5625"/>
                <a:gd name="T1" fmla="*/ 2395 h 2399"/>
                <a:gd name="T2" fmla="*/ 4960 w 5625"/>
                <a:gd name="T3" fmla="*/ 1494 h 2399"/>
                <a:gd name="T4" fmla="*/ 4169 w 5625"/>
                <a:gd name="T5" fmla="*/ 529 h 2399"/>
                <a:gd name="T6" fmla="*/ 2953 w 5625"/>
                <a:gd name="T7" fmla="*/ 636 h 2399"/>
                <a:gd name="T8" fmla="*/ 1925 w 5625"/>
                <a:gd name="T9" fmla="*/ 804 h 2399"/>
                <a:gd name="T10" fmla="*/ 1208 w 5625"/>
                <a:gd name="T11" fmla="*/ 527 h 2399"/>
                <a:gd name="T12" fmla="*/ 919 w 5625"/>
                <a:gd name="T13" fmla="*/ 393 h 2399"/>
                <a:gd name="T14" fmla="*/ 0 w 5625"/>
                <a:gd name="T15" fmla="*/ 0 h 2399"/>
                <a:gd name="T16" fmla="*/ 0 w 5625"/>
                <a:gd name="T17" fmla="*/ 8 h 2399"/>
                <a:gd name="T18" fmla="*/ 916 w 5625"/>
                <a:gd name="T19" fmla="*/ 399 h 2399"/>
                <a:gd name="T20" fmla="*/ 1205 w 5625"/>
                <a:gd name="T21" fmla="*/ 534 h 2399"/>
                <a:gd name="T22" fmla="*/ 1924 w 5625"/>
                <a:gd name="T23" fmla="*/ 811 h 2399"/>
                <a:gd name="T24" fmla="*/ 2956 w 5625"/>
                <a:gd name="T25" fmla="*/ 643 h 2399"/>
                <a:gd name="T26" fmla="*/ 4166 w 5625"/>
                <a:gd name="T27" fmla="*/ 536 h 2399"/>
                <a:gd name="T28" fmla="*/ 4953 w 5625"/>
                <a:gd name="T29" fmla="*/ 1497 h 2399"/>
                <a:gd name="T30" fmla="*/ 5614 w 5625"/>
                <a:gd name="T31" fmla="*/ 2399 h 2399"/>
                <a:gd name="T32" fmla="*/ 5625 w 5625"/>
                <a:gd name="T33" fmla="*/ 2397 h 2399"/>
                <a:gd name="T34" fmla="*/ 5621 w 5625"/>
                <a:gd name="T35" fmla="*/ 2395 h 2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625" h="2399">
                  <a:moveTo>
                    <a:pt x="5621" y="2395"/>
                  </a:moveTo>
                  <a:cubicBezTo>
                    <a:pt x="5297" y="2195"/>
                    <a:pt x="5125" y="1839"/>
                    <a:pt x="4960" y="1494"/>
                  </a:cubicBezTo>
                  <a:cubicBezTo>
                    <a:pt x="4773" y="1106"/>
                    <a:pt x="4580" y="704"/>
                    <a:pt x="4169" y="529"/>
                  </a:cubicBezTo>
                  <a:cubicBezTo>
                    <a:pt x="3768" y="359"/>
                    <a:pt x="3354" y="500"/>
                    <a:pt x="2953" y="636"/>
                  </a:cubicBezTo>
                  <a:cubicBezTo>
                    <a:pt x="2616" y="751"/>
                    <a:pt x="2267" y="869"/>
                    <a:pt x="1925" y="804"/>
                  </a:cubicBezTo>
                  <a:cubicBezTo>
                    <a:pt x="1686" y="758"/>
                    <a:pt x="1443" y="641"/>
                    <a:pt x="1208" y="527"/>
                  </a:cubicBezTo>
                  <a:cubicBezTo>
                    <a:pt x="1108" y="479"/>
                    <a:pt x="1013" y="433"/>
                    <a:pt x="919" y="39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16" y="399"/>
                    <a:pt x="916" y="399"/>
                    <a:pt x="916" y="399"/>
                  </a:cubicBezTo>
                  <a:cubicBezTo>
                    <a:pt x="1010" y="440"/>
                    <a:pt x="1105" y="485"/>
                    <a:pt x="1205" y="534"/>
                  </a:cubicBezTo>
                  <a:cubicBezTo>
                    <a:pt x="1440" y="647"/>
                    <a:pt x="1684" y="764"/>
                    <a:pt x="1924" y="811"/>
                  </a:cubicBezTo>
                  <a:cubicBezTo>
                    <a:pt x="2268" y="877"/>
                    <a:pt x="2617" y="758"/>
                    <a:pt x="2956" y="643"/>
                  </a:cubicBezTo>
                  <a:cubicBezTo>
                    <a:pt x="3355" y="507"/>
                    <a:pt x="3768" y="366"/>
                    <a:pt x="4166" y="536"/>
                  </a:cubicBezTo>
                  <a:cubicBezTo>
                    <a:pt x="4575" y="709"/>
                    <a:pt x="4767" y="1110"/>
                    <a:pt x="4953" y="1497"/>
                  </a:cubicBezTo>
                  <a:cubicBezTo>
                    <a:pt x="5119" y="1842"/>
                    <a:pt x="5291" y="2198"/>
                    <a:pt x="5614" y="2399"/>
                  </a:cubicBezTo>
                  <a:cubicBezTo>
                    <a:pt x="5625" y="2397"/>
                    <a:pt x="5625" y="2397"/>
                    <a:pt x="5625" y="2397"/>
                  </a:cubicBezTo>
                  <a:cubicBezTo>
                    <a:pt x="5623" y="2396"/>
                    <a:pt x="5622" y="2396"/>
                    <a:pt x="5621" y="2395"/>
                  </a:cubicBezTo>
                  <a:close/>
                </a:path>
              </a:pathLst>
            </a:custGeom>
            <a:solidFill>
              <a:srgbClr val="CACC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1" name="Freeform 60"/>
            <p:cNvSpPr>
              <a:spLocks/>
            </p:cNvSpPr>
            <p:nvPr userDrawn="1"/>
          </p:nvSpPr>
          <p:spPr bwMode="auto">
            <a:xfrm>
              <a:off x="-792" y="830575"/>
              <a:ext cx="8862131" cy="3809739"/>
            </a:xfrm>
            <a:custGeom>
              <a:avLst/>
              <a:gdLst>
                <a:gd name="T0" fmla="*/ 5668 w 5812"/>
                <a:gd name="T1" fmla="*/ 2414 h 2497"/>
                <a:gd name="T2" fmla="*/ 4999 w 5812"/>
                <a:gd name="T3" fmla="*/ 1506 h 2497"/>
                <a:gd name="T4" fmla="*/ 4196 w 5812"/>
                <a:gd name="T5" fmla="*/ 531 h 2497"/>
                <a:gd name="T6" fmla="*/ 2990 w 5812"/>
                <a:gd name="T7" fmla="*/ 647 h 2497"/>
                <a:gd name="T8" fmla="*/ 1973 w 5812"/>
                <a:gd name="T9" fmla="*/ 823 h 2497"/>
                <a:gd name="T10" fmla="*/ 1254 w 5812"/>
                <a:gd name="T11" fmla="*/ 547 h 2497"/>
                <a:gd name="T12" fmla="*/ 966 w 5812"/>
                <a:gd name="T13" fmla="*/ 413 h 2497"/>
                <a:gd name="T14" fmla="*/ 0 w 5812"/>
                <a:gd name="T15" fmla="*/ 0 h 2497"/>
                <a:gd name="T16" fmla="*/ 0 w 5812"/>
                <a:gd name="T17" fmla="*/ 8 h 2497"/>
                <a:gd name="T18" fmla="*/ 963 w 5812"/>
                <a:gd name="T19" fmla="*/ 420 h 2497"/>
                <a:gd name="T20" fmla="*/ 1251 w 5812"/>
                <a:gd name="T21" fmla="*/ 554 h 2497"/>
                <a:gd name="T22" fmla="*/ 1971 w 5812"/>
                <a:gd name="T23" fmla="*/ 830 h 2497"/>
                <a:gd name="T24" fmla="*/ 2993 w 5812"/>
                <a:gd name="T25" fmla="*/ 653 h 2497"/>
                <a:gd name="T26" fmla="*/ 4193 w 5812"/>
                <a:gd name="T27" fmla="*/ 538 h 2497"/>
                <a:gd name="T28" fmla="*/ 4993 w 5812"/>
                <a:gd name="T29" fmla="*/ 1509 h 2497"/>
                <a:gd name="T30" fmla="*/ 5664 w 5812"/>
                <a:gd name="T31" fmla="*/ 2420 h 2497"/>
                <a:gd name="T32" fmla="*/ 5801 w 5812"/>
                <a:gd name="T33" fmla="*/ 2497 h 2497"/>
                <a:gd name="T34" fmla="*/ 5812 w 5812"/>
                <a:gd name="T35" fmla="*/ 2495 h 2497"/>
                <a:gd name="T36" fmla="*/ 5668 w 5812"/>
                <a:gd name="T37" fmla="*/ 2414 h 2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12" h="2497">
                  <a:moveTo>
                    <a:pt x="5668" y="2414"/>
                  </a:moveTo>
                  <a:cubicBezTo>
                    <a:pt x="5344" y="2212"/>
                    <a:pt x="5168" y="1853"/>
                    <a:pt x="4999" y="1506"/>
                  </a:cubicBezTo>
                  <a:cubicBezTo>
                    <a:pt x="4808" y="1113"/>
                    <a:pt x="4610" y="707"/>
                    <a:pt x="4196" y="531"/>
                  </a:cubicBezTo>
                  <a:cubicBezTo>
                    <a:pt x="3797" y="362"/>
                    <a:pt x="3387" y="506"/>
                    <a:pt x="2990" y="647"/>
                  </a:cubicBezTo>
                  <a:cubicBezTo>
                    <a:pt x="2657" y="764"/>
                    <a:pt x="2312" y="886"/>
                    <a:pt x="1973" y="823"/>
                  </a:cubicBezTo>
                  <a:cubicBezTo>
                    <a:pt x="1733" y="778"/>
                    <a:pt x="1490" y="661"/>
                    <a:pt x="1254" y="547"/>
                  </a:cubicBezTo>
                  <a:cubicBezTo>
                    <a:pt x="1154" y="499"/>
                    <a:pt x="1060" y="453"/>
                    <a:pt x="966" y="4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63" y="420"/>
                    <a:pt x="963" y="420"/>
                    <a:pt x="963" y="420"/>
                  </a:cubicBezTo>
                  <a:cubicBezTo>
                    <a:pt x="1057" y="460"/>
                    <a:pt x="1151" y="505"/>
                    <a:pt x="1251" y="554"/>
                  </a:cubicBezTo>
                  <a:cubicBezTo>
                    <a:pt x="1487" y="667"/>
                    <a:pt x="1731" y="785"/>
                    <a:pt x="1971" y="830"/>
                  </a:cubicBezTo>
                  <a:cubicBezTo>
                    <a:pt x="2312" y="894"/>
                    <a:pt x="2658" y="771"/>
                    <a:pt x="2993" y="653"/>
                  </a:cubicBezTo>
                  <a:cubicBezTo>
                    <a:pt x="3388" y="514"/>
                    <a:pt x="3797" y="369"/>
                    <a:pt x="4193" y="538"/>
                  </a:cubicBezTo>
                  <a:cubicBezTo>
                    <a:pt x="4605" y="713"/>
                    <a:pt x="4802" y="1117"/>
                    <a:pt x="4993" y="1509"/>
                  </a:cubicBezTo>
                  <a:cubicBezTo>
                    <a:pt x="5162" y="1857"/>
                    <a:pt x="5338" y="2217"/>
                    <a:pt x="5664" y="2420"/>
                  </a:cubicBezTo>
                  <a:cubicBezTo>
                    <a:pt x="5708" y="2447"/>
                    <a:pt x="5754" y="2473"/>
                    <a:pt x="5801" y="2497"/>
                  </a:cubicBezTo>
                  <a:cubicBezTo>
                    <a:pt x="5812" y="2495"/>
                    <a:pt x="5812" y="2495"/>
                    <a:pt x="5812" y="2495"/>
                  </a:cubicBezTo>
                  <a:cubicBezTo>
                    <a:pt x="5763" y="2470"/>
                    <a:pt x="5714" y="2443"/>
                    <a:pt x="5668" y="2414"/>
                  </a:cubicBezTo>
                  <a:close/>
                </a:path>
              </a:pathLst>
            </a:custGeom>
            <a:solidFill>
              <a:srgbClr val="CACB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2" name="Freeform 61"/>
            <p:cNvSpPr>
              <a:spLocks/>
            </p:cNvSpPr>
            <p:nvPr userDrawn="1"/>
          </p:nvSpPr>
          <p:spPr bwMode="auto">
            <a:xfrm>
              <a:off x="-792" y="630146"/>
              <a:ext cx="9171592" cy="3957254"/>
            </a:xfrm>
            <a:custGeom>
              <a:avLst/>
              <a:gdLst>
                <a:gd name="T0" fmla="*/ 5717 w 6015"/>
                <a:gd name="T1" fmla="*/ 2433 h 2593"/>
                <a:gd name="T2" fmla="*/ 5048 w 6015"/>
                <a:gd name="T3" fmla="*/ 1512 h 2593"/>
                <a:gd name="T4" fmla="*/ 4236 w 6015"/>
                <a:gd name="T5" fmla="*/ 521 h 2593"/>
                <a:gd name="T6" fmla="*/ 3031 w 6015"/>
                <a:gd name="T7" fmla="*/ 650 h 2593"/>
                <a:gd name="T8" fmla="*/ 2021 w 6015"/>
                <a:gd name="T9" fmla="*/ 841 h 2593"/>
                <a:gd name="T10" fmla="*/ 1299 w 6015"/>
                <a:gd name="T11" fmla="*/ 566 h 2593"/>
                <a:gd name="T12" fmla="*/ 1014 w 6015"/>
                <a:gd name="T13" fmla="*/ 433 h 2593"/>
                <a:gd name="T14" fmla="*/ 0 w 6015"/>
                <a:gd name="T15" fmla="*/ 0 h 2593"/>
                <a:gd name="T16" fmla="*/ 0 w 6015"/>
                <a:gd name="T17" fmla="*/ 8 h 2593"/>
                <a:gd name="T18" fmla="*/ 1011 w 6015"/>
                <a:gd name="T19" fmla="*/ 440 h 2593"/>
                <a:gd name="T20" fmla="*/ 1296 w 6015"/>
                <a:gd name="T21" fmla="*/ 573 h 2593"/>
                <a:gd name="T22" fmla="*/ 2020 w 6015"/>
                <a:gd name="T23" fmla="*/ 848 h 2593"/>
                <a:gd name="T24" fmla="*/ 3034 w 6015"/>
                <a:gd name="T25" fmla="*/ 657 h 2593"/>
                <a:gd name="T26" fmla="*/ 4233 w 6015"/>
                <a:gd name="T27" fmla="*/ 528 h 2593"/>
                <a:gd name="T28" fmla="*/ 5041 w 6015"/>
                <a:gd name="T29" fmla="*/ 1515 h 2593"/>
                <a:gd name="T30" fmla="*/ 5713 w 6015"/>
                <a:gd name="T31" fmla="*/ 2439 h 2593"/>
                <a:gd name="T32" fmla="*/ 6002 w 6015"/>
                <a:gd name="T33" fmla="*/ 2593 h 2593"/>
                <a:gd name="T34" fmla="*/ 6015 w 6015"/>
                <a:gd name="T35" fmla="*/ 2590 h 2593"/>
                <a:gd name="T36" fmla="*/ 5717 w 6015"/>
                <a:gd name="T37" fmla="*/ 2433 h 25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015" h="2593">
                  <a:moveTo>
                    <a:pt x="5717" y="2433"/>
                  </a:moveTo>
                  <a:cubicBezTo>
                    <a:pt x="5394" y="2227"/>
                    <a:pt x="5218" y="1864"/>
                    <a:pt x="5048" y="1512"/>
                  </a:cubicBezTo>
                  <a:cubicBezTo>
                    <a:pt x="4854" y="1112"/>
                    <a:pt x="4654" y="698"/>
                    <a:pt x="4236" y="521"/>
                  </a:cubicBezTo>
                  <a:cubicBezTo>
                    <a:pt x="3838" y="352"/>
                    <a:pt x="3428" y="503"/>
                    <a:pt x="3031" y="650"/>
                  </a:cubicBezTo>
                  <a:cubicBezTo>
                    <a:pt x="2700" y="773"/>
                    <a:pt x="2358" y="900"/>
                    <a:pt x="2021" y="841"/>
                  </a:cubicBezTo>
                  <a:cubicBezTo>
                    <a:pt x="1781" y="799"/>
                    <a:pt x="1536" y="681"/>
                    <a:pt x="1299" y="566"/>
                  </a:cubicBezTo>
                  <a:cubicBezTo>
                    <a:pt x="1200" y="518"/>
                    <a:pt x="1106" y="473"/>
                    <a:pt x="1014" y="43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011" y="440"/>
                    <a:pt x="1011" y="440"/>
                    <a:pt x="1011" y="440"/>
                  </a:cubicBezTo>
                  <a:cubicBezTo>
                    <a:pt x="1103" y="479"/>
                    <a:pt x="1197" y="525"/>
                    <a:pt x="1296" y="573"/>
                  </a:cubicBezTo>
                  <a:cubicBezTo>
                    <a:pt x="1533" y="687"/>
                    <a:pt x="1778" y="806"/>
                    <a:pt x="2020" y="848"/>
                  </a:cubicBezTo>
                  <a:cubicBezTo>
                    <a:pt x="2358" y="907"/>
                    <a:pt x="2702" y="780"/>
                    <a:pt x="3034" y="657"/>
                  </a:cubicBezTo>
                  <a:cubicBezTo>
                    <a:pt x="3429" y="511"/>
                    <a:pt x="3838" y="359"/>
                    <a:pt x="4233" y="528"/>
                  </a:cubicBezTo>
                  <a:cubicBezTo>
                    <a:pt x="4648" y="704"/>
                    <a:pt x="4848" y="1117"/>
                    <a:pt x="5041" y="1515"/>
                  </a:cubicBezTo>
                  <a:cubicBezTo>
                    <a:pt x="5212" y="1868"/>
                    <a:pt x="5388" y="2232"/>
                    <a:pt x="5713" y="2439"/>
                  </a:cubicBezTo>
                  <a:cubicBezTo>
                    <a:pt x="5803" y="2497"/>
                    <a:pt x="5900" y="2547"/>
                    <a:pt x="6002" y="2593"/>
                  </a:cubicBezTo>
                  <a:cubicBezTo>
                    <a:pt x="6015" y="2590"/>
                    <a:pt x="6015" y="2590"/>
                    <a:pt x="6015" y="2590"/>
                  </a:cubicBezTo>
                  <a:cubicBezTo>
                    <a:pt x="5910" y="2543"/>
                    <a:pt x="5809" y="2492"/>
                    <a:pt x="5717" y="2433"/>
                  </a:cubicBezTo>
                  <a:close/>
                </a:path>
              </a:pathLst>
            </a:custGeom>
            <a:solidFill>
              <a:srgbClr val="C9CB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3" name="Freeform 62"/>
            <p:cNvSpPr>
              <a:spLocks/>
            </p:cNvSpPr>
            <p:nvPr userDrawn="1"/>
          </p:nvSpPr>
          <p:spPr bwMode="auto">
            <a:xfrm>
              <a:off x="-792" y="429718"/>
              <a:ext cx="9501898" cy="4099958"/>
            </a:xfrm>
            <a:custGeom>
              <a:avLst/>
              <a:gdLst>
                <a:gd name="T0" fmla="*/ 5766 w 6231"/>
                <a:gd name="T1" fmla="*/ 2451 h 2686"/>
                <a:gd name="T2" fmla="*/ 5137 w 6231"/>
                <a:gd name="T3" fmla="*/ 1595 h 2686"/>
                <a:gd name="T4" fmla="*/ 5049 w 6231"/>
                <a:gd name="T5" fmla="*/ 1426 h 2686"/>
                <a:gd name="T6" fmla="*/ 5007 w 6231"/>
                <a:gd name="T7" fmla="*/ 1347 h 2686"/>
                <a:gd name="T8" fmla="*/ 4291 w 6231"/>
                <a:gd name="T9" fmla="*/ 497 h 2686"/>
                <a:gd name="T10" fmla="*/ 3257 w 6231"/>
                <a:gd name="T11" fmla="*/ 595 h 2686"/>
                <a:gd name="T12" fmla="*/ 3225 w 6231"/>
                <a:gd name="T13" fmla="*/ 606 h 2686"/>
                <a:gd name="T14" fmla="*/ 3032 w 6231"/>
                <a:gd name="T15" fmla="*/ 674 h 2686"/>
                <a:gd name="T16" fmla="*/ 2071 w 6231"/>
                <a:gd name="T17" fmla="*/ 858 h 2686"/>
                <a:gd name="T18" fmla="*/ 1341 w 6231"/>
                <a:gd name="T19" fmla="*/ 584 h 2686"/>
                <a:gd name="T20" fmla="*/ 1061 w 6231"/>
                <a:gd name="T21" fmla="*/ 453 h 2686"/>
                <a:gd name="T22" fmla="*/ 0 w 6231"/>
                <a:gd name="T23" fmla="*/ 0 h 2686"/>
                <a:gd name="T24" fmla="*/ 0 w 6231"/>
                <a:gd name="T25" fmla="*/ 8 h 2686"/>
                <a:gd name="T26" fmla="*/ 1058 w 6231"/>
                <a:gd name="T27" fmla="*/ 460 h 2686"/>
                <a:gd name="T28" fmla="*/ 1338 w 6231"/>
                <a:gd name="T29" fmla="*/ 591 h 2686"/>
                <a:gd name="T30" fmla="*/ 2070 w 6231"/>
                <a:gd name="T31" fmla="*/ 865 h 2686"/>
                <a:gd name="T32" fmla="*/ 3035 w 6231"/>
                <a:gd name="T33" fmla="*/ 681 h 2686"/>
                <a:gd name="T34" fmla="*/ 3228 w 6231"/>
                <a:gd name="T35" fmla="*/ 613 h 2686"/>
                <a:gd name="T36" fmla="*/ 3259 w 6231"/>
                <a:gd name="T37" fmla="*/ 602 h 2686"/>
                <a:gd name="T38" fmla="*/ 4288 w 6231"/>
                <a:gd name="T39" fmla="*/ 504 h 2686"/>
                <a:gd name="T40" fmla="*/ 5000 w 6231"/>
                <a:gd name="T41" fmla="*/ 1350 h 2686"/>
                <a:gd name="T42" fmla="*/ 5042 w 6231"/>
                <a:gd name="T43" fmla="*/ 1430 h 2686"/>
                <a:gd name="T44" fmla="*/ 5130 w 6231"/>
                <a:gd name="T45" fmla="*/ 1598 h 2686"/>
                <a:gd name="T46" fmla="*/ 5762 w 6231"/>
                <a:gd name="T47" fmla="*/ 2457 h 2686"/>
                <a:gd name="T48" fmla="*/ 6217 w 6231"/>
                <a:gd name="T49" fmla="*/ 2686 h 2686"/>
                <a:gd name="T50" fmla="*/ 6231 w 6231"/>
                <a:gd name="T51" fmla="*/ 2683 h 2686"/>
                <a:gd name="T52" fmla="*/ 5766 w 6231"/>
                <a:gd name="T53" fmla="*/ 2451 h 2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231" h="2686">
                  <a:moveTo>
                    <a:pt x="5766" y="2451"/>
                  </a:moveTo>
                  <a:cubicBezTo>
                    <a:pt x="5475" y="2257"/>
                    <a:pt x="5295" y="1905"/>
                    <a:pt x="5137" y="1595"/>
                  </a:cubicBezTo>
                  <a:cubicBezTo>
                    <a:pt x="5106" y="1536"/>
                    <a:pt x="5078" y="1481"/>
                    <a:pt x="5049" y="1426"/>
                  </a:cubicBezTo>
                  <a:cubicBezTo>
                    <a:pt x="5035" y="1400"/>
                    <a:pt x="5021" y="1374"/>
                    <a:pt x="5007" y="1347"/>
                  </a:cubicBezTo>
                  <a:cubicBezTo>
                    <a:pt x="4833" y="1017"/>
                    <a:pt x="4636" y="643"/>
                    <a:pt x="4291" y="497"/>
                  </a:cubicBezTo>
                  <a:cubicBezTo>
                    <a:pt x="3960" y="356"/>
                    <a:pt x="3587" y="483"/>
                    <a:pt x="3257" y="595"/>
                  </a:cubicBezTo>
                  <a:cubicBezTo>
                    <a:pt x="3225" y="606"/>
                    <a:pt x="3225" y="606"/>
                    <a:pt x="3225" y="606"/>
                  </a:cubicBezTo>
                  <a:cubicBezTo>
                    <a:pt x="3162" y="627"/>
                    <a:pt x="3099" y="650"/>
                    <a:pt x="3032" y="674"/>
                  </a:cubicBezTo>
                  <a:cubicBezTo>
                    <a:pt x="2717" y="789"/>
                    <a:pt x="2391" y="907"/>
                    <a:pt x="2071" y="858"/>
                  </a:cubicBezTo>
                  <a:cubicBezTo>
                    <a:pt x="1829" y="821"/>
                    <a:pt x="1581" y="700"/>
                    <a:pt x="1341" y="584"/>
                  </a:cubicBezTo>
                  <a:cubicBezTo>
                    <a:pt x="1244" y="537"/>
                    <a:pt x="1152" y="492"/>
                    <a:pt x="1061" y="45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058" y="460"/>
                    <a:pt x="1058" y="460"/>
                    <a:pt x="1058" y="460"/>
                  </a:cubicBezTo>
                  <a:cubicBezTo>
                    <a:pt x="1149" y="499"/>
                    <a:pt x="1241" y="544"/>
                    <a:pt x="1338" y="591"/>
                  </a:cubicBezTo>
                  <a:cubicBezTo>
                    <a:pt x="1578" y="707"/>
                    <a:pt x="1826" y="828"/>
                    <a:pt x="2070" y="865"/>
                  </a:cubicBezTo>
                  <a:cubicBezTo>
                    <a:pt x="2392" y="915"/>
                    <a:pt x="2719" y="796"/>
                    <a:pt x="3035" y="681"/>
                  </a:cubicBezTo>
                  <a:cubicBezTo>
                    <a:pt x="3102" y="657"/>
                    <a:pt x="3165" y="634"/>
                    <a:pt x="3228" y="613"/>
                  </a:cubicBezTo>
                  <a:cubicBezTo>
                    <a:pt x="3259" y="602"/>
                    <a:pt x="3259" y="602"/>
                    <a:pt x="3259" y="602"/>
                  </a:cubicBezTo>
                  <a:cubicBezTo>
                    <a:pt x="3588" y="490"/>
                    <a:pt x="3960" y="364"/>
                    <a:pt x="4288" y="504"/>
                  </a:cubicBezTo>
                  <a:cubicBezTo>
                    <a:pt x="4631" y="649"/>
                    <a:pt x="4827" y="1022"/>
                    <a:pt x="5000" y="1350"/>
                  </a:cubicBezTo>
                  <a:cubicBezTo>
                    <a:pt x="5015" y="1377"/>
                    <a:pt x="5029" y="1404"/>
                    <a:pt x="5042" y="1430"/>
                  </a:cubicBezTo>
                  <a:cubicBezTo>
                    <a:pt x="5071" y="1484"/>
                    <a:pt x="5100" y="1540"/>
                    <a:pt x="5130" y="1598"/>
                  </a:cubicBezTo>
                  <a:cubicBezTo>
                    <a:pt x="5289" y="1909"/>
                    <a:pt x="5470" y="2262"/>
                    <a:pt x="5762" y="2457"/>
                  </a:cubicBezTo>
                  <a:cubicBezTo>
                    <a:pt x="5899" y="2548"/>
                    <a:pt x="6056" y="2620"/>
                    <a:pt x="6217" y="2686"/>
                  </a:cubicBezTo>
                  <a:cubicBezTo>
                    <a:pt x="6231" y="2683"/>
                    <a:pt x="6231" y="2683"/>
                    <a:pt x="6231" y="2683"/>
                  </a:cubicBezTo>
                  <a:cubicBezTo>
                    <a:pt x="6066" y="2617"/>
                    <a:pt x="5905" y="2544"/>
                    <a:pt x="5766" y="2451"/>
                  </a:cubicBezTo>
                  <a:close/>
                </a:path>
              </a:pathLst>
            </a:custGeom>
            <a:solidFill>
              <a:srgbClr val="C9CA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4" name="Freeform 63"/>
            <p:cNvSpPr>
              <a:spLocks/>
            </p:cNvSpPr>
            <p:nvPr userDrawn="1"/>
          </p:nvSpPr>
          <p:spPr bwMode="auto">
            <a:xfrm>
              <a:off x="-792" y="230893"/>
              <a:ext cx="9849841" cy="4237854"/>
            </a:xfrm>
            <a:custGeom>
              <a:avLst/>
              <a:gdLst>
                <a:gd name="T0" fmla="*/ 5815 w 6459"/>
                <a:gd name="T1" fmla="*/ 2469 h 2777"/>
                <a:gd name="T2" fmla="*/ 5184 w 6459"/>
                <a:gd name="T3" fmla="*/ 1614 h 2777"/>
                <a:gd name="T4" fmla="*/ 5096 w 6459"/>
                <a:gd name="T5" fmla="*/ 1447 h 2777"/>
                <a:gd name="T6" fmla="*/ 5050 w 6459"/>
                <a:gd name="T7" fmla="*/ 1361 h 2777"/>
                <a:gd name="T8" fmla="*/ 4338 w 6459"/>
                <a:gd name="T9" fmla="*/ 518 h 2777"/>
                <a:gd name="T10" fmla="*/ 3311 w 6459"/>
                <a:gd name="T11" fmla="*/ 614 h 2777"/>
                <a:gd name="T12" fmla="*/ 3272 w 6459"/>
                <a:gd name="T13" fmla="*/ 627 h 2777"/>
                <a:gd name="T14" fmla="*/ 3080 w 6459"/>
                <a:gd name="T15" fmla="*/ 694 h 2777"/>
                <a:gd name="T16" fmla="*/ 2120 w 6459"/>
                <a:gd name="T17" fmla="*/ 876 h 2777"/>
                <a:gd name="T18" fmla="*/ 1385 w 6459"/>
                <a:gd name="T19" fmla="*/ 603 h 2777"/>
                <a:gd name="T20" fmla="*/ 1108 w 6459"/>
                <a:gd name="T21" fmla="*/ 473 h 2777"/>
                <a:gd name="T22" fmla="*/ 0 w 6459"/>
                <a:gd name="T23" fmla="*/ 0 h 2777"/>
                <a:gd name="T24" fmla="*/ 0 w 6459"/>
                <a:gd name="T25" fmla="*/ 8 h 2777"/>
                <a:gd name="T26" fmla="*/ 1105 w 6459"/>
                <a:gd name="T27" fmla="*/ 480 h 2777"/>
                <a:gd name="T28" fmla="*/ 1382 w 6459"/>
                <a:gd name="T29" fmla="*/ 610 h 2777"/>
                <a:gd name="T30" fmla="*/ 2119 w 6459"/>
                <a:gd name="T31" fmla="*/ 883 h 2777"/>
                <a:gd name="T32" fmla="*/ 3082 w 6459"/>
                <a:gd name="T33" fmla="*/ 701 h 2777"/>
                <a:gd name="T34" fmla="*/ 3274 w 6459"/>
                <a:gd name="T35" fmla="*/ 634 h 2777"/>
                <a:gd name="T36" fmla="*/ 3313 w 6459"/>
                <a:gd name="T37" fmla="*/ 621 h 2777"/>
                <a:gd name="T38" fmla="*/ 4335 w 6459"/>
                <a:gd name="T39" fmla="*/ 525 h 2777"/>
                <a:gd name="T40" fmla="*/ 5043 w 6459"/>
                <a:gd name="T41" fmla="*/ 1365 h 2777"/>
                <a:gd name="T42" fmla="*/ 5089 w 6459"/>
                <a:gd name="T43" fmla="*/ 1451 h 2777"/>
                <a:gd name="T44" fmla="*/ 5177 w 6459"/>
                <a:gd name="T45" fmla="*/ 1618 h 2777"/>
                <a:gd name="T46" fmla="*/ 5810 w 6459"/>
                <a:gd name="T47" fmla="*/ 2475 h 2777"/>
                <a:gd name="T48" fmla="*/ 6445 w 6459"/>
                <a:gd name="T49" fmla="*/ 2777 h 2777"/>
                <a:gd name="T50" fmla="*/ 6459 w 6459"/>
                <a:gd name="T51" fmla="*/ 2774 h 2777"/>
                <a:gd name="T52" fmla="*/ 5815 w 6459"/>
                <a:gd name="T53" fmla="*/ 2469 h 2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459" h="2777">
                  <a:moveTo>
                    <a:pt x="5815" y="2469"/>
                  </a:moveTo>
                  <a:cubicBezTo>
                    <a:pt x="5526" y="2272"/>
                    <a:pt x="5344" y="1923"/>
                    <a:pt x="5184" y="1614"/>
                  </a:cubicBezTo>
                  <a:cubicBezTo>
                    <a:pt x="5154" y="1556"/>
                    <a:pt x="5125" y="1501"/>
                    <a:pt x="5096" y="1447"/>
                  </a:cubicBezTo>
                  <a:cubicBezTo>
                    <a:pt x="5081" y="1419"/>
                    <a:pt x="5066" y="1390"/>
                    <a:pt x="5050" y="1361"/>
                  </a:cubicBezTo>
                  <a:cubicBezTo>
                    <a:pt x="4884" y="1050"/>
                    <a:pt x="4677" y="662"/>
                    <a:pt x="4338" y="518"/>
                  </a:cubicBezTo>
                  <a:cubicBezTo>
                    <a:pt x="4013" y="379"/>
                    <a:pt x="3623" y="509"/>
                    <a:pt x="3311" y="614"/>
                  </a:cubicBezTo>
                  <a:cubicBezTo>
                    <a:pt x="3272" y="627"/>
                    <a:pt x="3272" y="627"/>
                    <a:pt x="3272" y="627"/>
                  </a:cubicBezTo>
                  <a:cubicBezTo>
                    <a:pt x="3209" y="648"/>
                    <a:pt x="3146" y="670"/>
                    <a:pt x="3080" y="694"/>
                  </a:cubicBezTo>
                  <a:cubicBezTo>
                    <a:pt x="2765" y="806"/>
                    <a:pt x="2440" y="922"/>
                    <a:pt x="2120" y="876"/>
                  </a:cubicBezTo>
                  <a:cubicBezTo>
                    <a:pt x="1876" y="841"/>
                    <a:pt x="1626" y="720"/>
                    <a:pt x="1385" y="603"/>
                  </a:cubicBezTo>
                  <a:cubicBezTo>
                    <a:pt x="1289" y="556"/>
                    <a:pt x="1198" y="512"/>
                    <a:pt x="1108" y="47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105" y="480"/>
                    <a:pt x="1105" y="480"/>
                    <a:pt x="1105" y="480"/>
                  </a:cubicBezTo>
                  <a:cubicBezTo>
                    <a:pt x="1195" y="519"/>
                    <a:pt x="1286" y="563"/>
                    <a:pt x="1382" y="610"/>
                  </a:cubicBezTo>
                  <a:cubicBezTo>
                    <a:pt x="1624" y="727"/>
                    <a:pt x="1873" y="848"/>
                    <a:pt x="2119" y="883"/>
                  </a:cubicBezTo>
                  <a:cubicBezTo>
                    <a:pt x="2441" y="930"/>
                    <a:pt x="2767" y="813"/>
                    <a:pt x="3082" y="701"/>
                  </a:cubicBezTo>
                  <a:cubicBezTo>
                    <a:pt x="3149" y="677"/>
                    <a:pt x="3212" y="655"/>
                    <a:pt x="3274" y="634"/>
                  </a:cubicBezTo>
                  <a:cubicBezTo>
                    <a:pt x="3313" y="621"/>
                    <a:pt x="3313" y="621"/>
                    <a:pt x="3313" y="621"/>
                  </a:cubicBezTo>
                  <a:cubicBezTo>
                    <a:pt x="3625" y="517"/>
                    <a:pt x="4012" y="388"/>
                    <a:pt x="4335" y="525"/>
                  </a:cubicBezTo>
                  <a:cubicBezTo>
                    <a:pt x="4672" y="668"/>
                    <a:pt x="4878" y="1054"/>
                    <a:pt x="5043" y="1365"/>
                  </a:cubicBezTo>
                  <a:cubicBezTo>
                    <a:pt x="5059" y="1394"/>
                    <a:pt x="5074" y="1423"/>
                    <a:pt x="5089" y="1451"/>
                  </a:cubicBezTo>
                  <a:cubicBezTo>
                    <a:pt x="5119" y="1505"/>
                    <a:pt x="5147" y="1560"/>
                    <a:pt x="5177" y="1618"/>
                  </a:cubicBezTo>
                  <a:cubicBezTo>
                    <a:pt x="5338" y="1927"/>
                    <a:pt x="5520" y="2277"/>
                    <a:pt x="5810" y="2475"/>
                  </a:cubicBezTo>
                  <a:cubicBezTo>
                    <a:pt x="5996" y="2602"/>
                    <a:pt x="6221" y="2692"/>
                    <a:pt x="6445" y="2777"/>
                  </a:cubicBezTo>
                  <a:cubicBezTo>
                    <a:pt x="6459" y="2774"/>
                    <a:pt x="6459" y="2774"/>
                    <a:pt x="6459" y="2774"/>
                  </a:cubicBezTo>
                  <a:cubicBezTo>
                    <a:pt x="6233" y="2688"/>
                    <a:pt x="6002" y="2597"/>
                    <a:pt x="5815" y="2469"/>
                  </a:cubicBezTo>
                  <a:close/>
                </a:path>
              </a:pathLst>
            </a:custGeom>
            <a:solidFill>
              <a:srgbClr val="C8CA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4079776" y="0"/>
            <a:ext cx="8112224" cy="6861600"/>
          </a:xfrm>
          <a:custGeom>
            <a:avLst/>
            <a:gdLst>
              <a:gd name="connsiteX0" fmla="*/ 0 w 6120000"/>
              <a:gd name="connsiteY0" fmla="*/ 6855351 h 6861600"/>
              <a:gd name="connsiteX1" fmla="*/ 6120000 w 6120000"/>
              <a:gd name="connsiteY1" fmla="*/ 6856413 h 6861600"/>
              <a:gd name="connsiteX2" fmla="*/ 6120000 w 6120000"/>
              <a:gd name="connsiteY2" fmla="*/ 6861600 h 6861600"/>
              <a:gd name="connsiteX3" fmla="*/ 0 w 6120000"/>
              <a:gd name="connsiteY3" fmla="*/ 6861600 h 6861600"/>
              <a:gd name="connsiteX4" fmla="*/ 0 w 6120000"/>
              <a:gd name="connsiteY4" fmla="*/ 0 h 6861600"/>
              <a:gd name="connsiteX5" fmla="*/ 6120000 w 6120000"/>
              <a:gd name="connsiteY5" fmla="*/ 0 h 6861600"/>
              <a:gd name="connsiteX6" fmla="*/ 6120000 w 6120000"/>
              <a:gd name="connsiteY6" fmla="*/ 6856413 h 6861600"/>
              <a:gd name="connsiteX7" fmla="*/ 30350 w 6120000"/>
              <a:gd name="connsiteY7" fmla="*/ 5778500 h 6861600"/>
              <a:gd name="connsiteX8" fmla="*/ 0 w 6120000"/>
              <a:gd name="connsiteY8" fmla="*/ 5783848 h 6861600"/>
              <a:gd name="connsiteX0" fmla="*/ 0 w 6120000"/>
              <a:gd name="connsiteY0" fmla="*/ 6855351 h 6861600"/>
              <a:gd name="connsiteX1" fmla="*/ 6120000 w 6120000"/>
              <a:gd name="connsiteY1" fmla="*/ 6856413 h 6861600"/>
              <a:gd name="connsiteX2" fmla="*/ 6120000 w 6120000"/>
              <a:gd name="connsiteY2" fmla="*/ 6861600 h 6861600"/>
              <a:gd name="connsiteX3" fmla="*/ 0 w 6120000"/>
              <a:gd name="connsiteY3" fmla="*/ 6861600 h 6861600"/>
              <a:gd name="connsiteX4" fmla="*/ 0 w 6120000"/>
              <a:gd name="connsiteY4" fmla="*/ 6855351 h 6861600"/>
              <a:gd name="connsiteX5" fmla="*/ 0 w 6120000"/>
              <a:gd name="connsiteY5" fmla="*/ 0 h 6861600"/>
              <a:gd name="connsiteX6" fmla="*/ 6120000 w 6120000"/>
              <a:gd name="connsiteY6" fmla="*/ 0 h 6861600"/>
              <a:gd name="connsiteX7" fmla="*/ 6120000 w 6120000"/>
              <a:gd name="connsiteY7" fmla="*/ 6856413 h 6861600"/>
              <a:gd name="connsiteX8" fmla="*/ 30350 w 6120000"/>
              <a:gd name="connsiteY8" fmla="*/ 5778500 h 6861600"/>
              <a:gd name="connsiteX9" fmla="*/ 0 w 6120000"/>
              <a:gd name="connsiteY9" fmla="*/ 5461580 h 6861600"/>
              <a:gd name="connsiteX10" fmla="*/ 0 w 6120000"/>
              <a:gd name="connsiteY10" fmla="*/ 0 h 6861600"/>
              <a:gd name="connsiteX0" fmla="*/ 0 w 6120000"/>
              <a:gd name="connsiteY0" fmla="*/ 6855351 h 6861600"/>
              <a:gd name="connsiteX1" fmla="*/ 6120000 w 6120000"/>
              <a:gd name="connsiteY1" fmla="*/ 6856413 h 6861600"/>
              <a:gd name="connsiteX2" fmla="*/ 6120000 w 6120000"/>
              <a:gd name="connsiteY2" fmla="*/ 6861600 h 6861600"/>
              <a:gd name="connsiteX3" fmla="*/ 0 w 6120000"/>
              <a:gd name="connsiteY3" fmla="*/ 6861600 h 6861600"/>
              <a:gd name="connsiteX4" fmla="*/ 0 w 6120000"/>
              <a:gd name="connsiteY4" fmla="*/ 6855351 h 6861600"/>
              <a:gd name="connsiteX5" fmla="*/ 0 w 6120000"/>
              <a:gd name="connsiteY5" fmla="*/ 0 h 6861600"/>
              <a:gd name="connsiteX6" fmla="*/ 6120000 w 6120000"/>
              <a:gd name="connsiteY6" fmla="*/ 0 h 6861600"/>
              <a:gd name="connsiteX7" fmla="*/ 6120000 w 6120000"/>
              <a:gd name="connsiteY7" fmla="*/ 6856413 h 6861600"/>
              <a:gd name="connsiteX8" fmla="*/ 0 w 6120000"/>
              <a:gd name="connsiteY8" fmla="*/ 5461580 h 6861600"/>
              <a:gd name="connsiteX9" fmla="*/ 0 w 6120000"/>
              <a:gd name="connsiteY9" fmla="*/ 0 h 6861600"/>
              <a:gd name="connsiteX0" fmla="*/ 0 w 6120000"/>
              <a:gd name="connsiteY0" fmla="*/ 6861600 h 6861600"/>
              <a:gd name="connsiteX1" fmla="*/ 6120000 w 6120000"/>
              <a:gd name="connsiteY1" fmla="*/ 6856413 h 6861600"/>
              <a:gd name="connsiteX2" fmla="*/ 6120000 w 6120000"/>
              <a:gd name="connsiteY2" fmla="*/ 6861600 h 6861600"/>
              <a:gd name="connsiteX3" fmla="*/ 0 w 6120000"/>
              <a:gd name="connsiteY3" fmla="*/ 6861600 h 6861600"/>
              <a:gd name="connsiteX4" fmla="*/ 0 w 6120000"/>
              <a:gd name="connsiteY4" fmla="*/ 0 h 6861600"/>
              <a:gd name="connsiteX5" fmla="*/ 6120000 w 6120000"/>
              <a:gd name="connsiteY5" fmla="*/ 0 h 6861600"/>
              <a:gd name="connsiteX6" fmla="*/ 6120000 w 6120000"/>
              <a:gd name="connsiteY6" fmla="*/ 6856413 h 6861600"/>
              <a:gd name="connsiteX7" fmla="*/ 0 w 6120000"/>
              <a:gd name="connsiteY7" fmla="*/ 5461580 h 6861600"/>
              <a:gd name="connsiteX8" fmla="*/ 0 w 6120000"/>
              <a:gd name="connsiteY8" fmla="*/ 0 h 6861600"/>
              <a:gd name="connsiteX0" fmla="*/ 6120000 w 6120000"/>
              <a:gd name="connsiteY0" fmla="*/ 6861600 h 6861600"/>
              <a:gd name="connsiteX1" fmla="*/ 6120000 w 6120000"/>
              <a:gd name="connsiteY1" fmla="*/ 6856413 h 6861600"/>
              <a:gd name="connsiteX2" fmla="*/ 6120000 w 6120000"/>
              <a:gd name="connsiteY2" fmla="*/ 6861600 h 6861600"/>
              <a:gd name="connsiteX3" fmla="*/ 0 w 6120000"/>
              <a:gd name="connsiteY3" fmla="*/ 0 h 6861600"/>
              <a:gd name="connsiteX4" fmla="*/ 6120000 w 6120000"/>
              <a:gd name="connsiteY4" fmla="*/ 0 h 6861600"/>
              <a:gd name="connsiteX5" fmla="*/ 6120000 w 6120000"/>
              <a:gd name="connsiteY5" fmla="*/ 6856413 h 6861600"/>
              <a:gd name="connsiteX6" fmla="*/ 0 w 6120000"/>
              <a:gd name="connsiteY6" fmla="*/ 5461580 h 6861600"/>
              <a:gd name="connsiteX7" fmla="*/ 0 w 6120000"/>
              <a:gd name="connsiteY7" fmla="*/ 0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120000" h="6861600">
                <a:moveTo>
                  <a:pt x="6120000" y="6861600"/>
                </a:moveTo>
                <a:lnTo>
                  <a:pt x="6120000" y="6856413"/>
                </a:lnTo>
                <a:lnTo>
                  <a:pt x="6120000" y="6861600"/>
                </a:lnTo>
                <a:close/>
                <a:moveTo>
                  <a:pt x="0" y="0"/>
                </a:moveTo>
                <a:lnTo>
                  <a:pt x="6120000" y="0"/>
                </a:lnTo>
                <a:lnTo>
                  <a:pt x="6120000" y="6856413"/>
                </a:lnTo>
                <a:lnTo>
                  <a:pt x="0" y="546158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alpha val="90000"/>
            </a:schemeClr>
          </a:solidFill>
        </p:spPr>
        <p:txBody>
          <a:bodyPr wrap="square" lIns="666000" tIns="2304000" rIns="489600" bIns="2538000" anchor="t" anchorCtr="0">
            <a:noAutofit/>
          </a:bodyPr>
          <a:lstStyle>
            <a:lvl1pPr>
              <a:lnSpc>
                <a:spcPct val="87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Præsentationstitel i maksimum to linjer</a:t>
            </a:r>
            <a:endParaRPr lang="da-DK"/>
          </a:p>
        </p:txBody>
      </p:sp>
      <p:sp>
        <p:nvSpPr>
          <p:cNvPr id="3" name="Undertitel 2"/>
          <p:cNvSpPr>
            <a:spLocks noGrp="1"/>
          </p:cNvSpPr>
          <p:nvPr>
            <p:ph type="subTitle" idx="1" hasCustomPrompt="1"/>
          </p:nvPr>
        </p:nvSpPr>
        <p:spPr>
          <a:xfrm>
            <a:off x="4077409" y="3512868"/>
            <a:ext cx="7441491" cy="498834"/>
          </a:xfrm>
        </p:spPr>
        <p:txBody>
          <a:bodyPr lIns="684000" rIns="511200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Klik, og tilføj undertitel</a:t>
            </a:r>
            <a:endParaRPr lang="da-DK"/>
          </a:p>
        </p:txBody>
      </p:sp>
      <p:sp>
        <p:nvSpPr>
          <p:cNvPr id="6" name="Indsæt TitleName"/>
          <p:cNvSpPr>
            <a:spLocks noGrp="1"/>
          </p:cNvSpPr>
          <p:nvPr>
            <p:ph type="body" sz="quarter" idx="14" hasCustomPrompt="1"/>
          </p:nvPr>
        </p:nvSpPr>
        <p:spPr>
          <a:xfrm>
            <a:off x="4079775" y="1349645"/>
            <a:ext cx="7439125" cy="360040"/>
          </a:xfrm>
        </p:spPr>
        <p:txBody>
          <a:bodyPr lIns="684000" anchor="b" anchorCtr="0"/>
          <a:lstStyle>
            <a:lvl1pPr>
              <a:lnSpc>
                <a:spcPct val="115000"/>
              </a:lnSpc>
              <a:defRPr sz="10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Indsæt titel, navn</a:t>
            </a:r>
            <a:endParaRPr lang="da-DK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445224"/>
            <a:ext cx="12192000" cy="1411191"/>
          </a:xfrm>
          <a:custGeom>
            <a:avLst/>
            <a:gdLst>
              <a:gd name="connsiteX0" fmla="*/ 3054350 w 9144000"/>
              <a:gd name="connsiteY0" fmla="*/ 0 h 1077913"/>
              <a:gd name="connsiteX1" fmla="*/ 9144000 w 9144000"/>
              <a:gd name="connsiteY1" fmla="*/ 1077913 h 1077913"/>
              <a:gd name="connsiteX2" fmla="*/ 0 w 9144000"/>
              <a:gd name="connsiteY2" fmla="*/ 1076326 h 1077913"/>
              <a:gd name="connsiteX3" fmla="*/ 0 w 9144000"/>
              <a:gd name="connsiteY3" fmla="*/ 538163 h 1077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1077913">
                <a:moveTo>
                  <a:pt x="3054350" y="0"/>
                </a:moveTo>
                <a:lnTo>
                  <a:pt x="9144000" y="1077913"/>
                </a:lnTo>
                <a:lnTo>
                  <a:pt x="0" y="1076326"/>
                </a:lnTo>
                <a:lnTo>
                  <a:pt x="0" y="53816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079776" y="4041068"/>
            <a:ext cx="8109858" cy="2823852"/>
          </a:xfrm>
          <a:custGeom>
            <a:avLst/>
            <a:gdLst>
              <a:gd name="connsiteX0" fmla="*/ 6116484 w 6118225"/>
              <a:gd name="connsiteY0" fmla="*/ 0 h 2159720"/>
              <a:gd name="connsiteX1" fmla="*/ 6118225 w 6118225"/>
              <a:gd name="connsiteY1" fmla="*/ 0 h 2159720"/>
              <a:gd name="connsiteX2" fmla="*/ 6118225 w 6118225"/>
              <a:gd name="connsiteY2" fmla="*/ 2159720 h 2159720"/>
              <a:gd name="connsiteX3" fmla="*/ 0 w 6118225"/>
              <a:gd name="connsiteY3" fmla="*/ 1078913 h 2159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18225" h="2159720">
                <a:moveTo>
                  <a:pt x="6116484" y="0"/>
                </a:moveTo>
                <a:lnTo>
                  <a:pt x="6118225" y="0"/>
                </a:lnTo>
                <a:lnTo>
                  <a:pt x="6118225" y="2159720"/>
                </a:lnTo>
                <a:lnTo>
                  <a:pt x="0" y="1078913"/>
                </a:lnTo>
                <a:close/>
              </a:path>
            </a:pathLst>
          </a:custGeom>
          <a:solidFill>
            <a:srgbClr val="27A1BD"/>
          </a:solidFill>
        </p:spPr>
        <p:txBody>
          <a:bodyPr wrap="square">
            <a:noAutofit/>
          </a:bodyPr>
          <a:lstStyle>
            <a:lvl1pPr marL="0" indent="0">
              <a:buNone/>
              <a:defRPr sz="100"/>
            </a:lvl1pPr>
            <a:lvl2pPr marL="0" indent="0">
              <a:buNone/>
              <a:defRPr sz="100"/>
            </a:lvl2pPr>
            <a:lvl3pPr marL="216000" indent="0">
              <a:buNone/>
              <a:defRPr sz="100"/>
            </a:lvl3pPr>
            <a:lvl4pPr marL="432000" indent="0">
              <a:buNone/>
              <a:defRPr sz="100"/>
            </a:lvl4pPr>
            <a:lvl5pPr marL="648000" indent="0">
              <a:buNone/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122" name="Text Placeholder 3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4764088" y="345600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6342675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med tekstboks 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2" hasCustomPrompt="1"/>
          </p:nvPr>
        </p:nvSpPr>
        <p:spPr>
          <a:xfrm>
            <a:off x="-4800" y="-3600"/>
            <a:ext cx="12201600" cy="6865200"/>
          </a:xfrm>
          <a:solidFill>
            <a:schemeClr val="bg2"/>
          </a:solidFill>
        </p:spPr>
        <p:txBody>
          <a:bodyPr bIns="1044000" anchor="ctr" anchorCtr="0"/>
          <a:lstStyle>
            <a:lvl1pPr algn="ctr">
              <a:defRPr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8508268" y="3871519"/>
            <a:ext cx="3337657" cy="1933969"/>
          </a:xfrm>
          <a:solidFill>
            <a:schemeClr val="accent4">
              <a:alpha val="90000"/>
            </a:schemeClr>
          </a:solidFill>
        </p:spPr>
        <p:txBody>
          <a:bodyPr wrap="square" lIns="342000" tIns="342000" rIns="342000" bIns="342000" anchor="b" anchorCtr="0">
            <a:spAutoFit/>
          </a:bodyPr>
          <a:lstStyle>
            <a:lvl1pPr marL="0" indent="0">
              <a:lnSpc>
                <a:spcPct val="118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lnSpc>
                <a:spcPct val="118000"/>
              </a:lnSpc>
              <a:spcBef>
                <a:spcPts val="300"/>
              </a:spcBef>
              <a:defRPr sz="1200">
                <a:solidFill>
                  <a:schemeClr val="bg1"/>
                </a:solidFill>
              </a:defRPr>
            </a:lvl2pPr>
            <a:lvl3pPr marL="324000">
              <a:lnSpc>
                <a:spcPct val="118000"/>
              </a:lnSpc>
              <a:spcBef>
                <a:spcPts val="300"/>
              </a:spcBef>
              <a:defRPr sz="1200">
                <a:solidFill>
                  <a:schemeClr val="bg1"/>
                </a:solidFill>
              </a:defRPr>
            </a:lvl3pPr>
            <a:lvl4pPr marL="360000">
              <a:lnSpc>
                <a:spcPct val="118000"/>
              </a:lnSpc>
              <a:spcBef>
                <a:spcPts val="300"/>
              </a:spcBef>
              <a:defRPr sz="1200">
                <a:solidFill>
                  <a:schemeClr val="bg1"/>
                </a:solidFill>
              </a:defRPr>
            </a:lvl4pPr>
            <a:lvl5pPr marL="360000">
              <a:lnSpc>
                <a:spcPct val="118000"/>
              </a:lnSpc>
              <a:spcBef>
                <a:spcPts val="300"/>
              </a:spcBef>
              <a:defRPr sz="1200">
                <a:solidFill>
                  <a:schemeClr val="bg1"/>
                </a:solidFill>
              </a:defRPr>
            </a:lvl5pPr>
            <a:lvl6pPr marL="252000" indent="0">
              <a:lnSpc>
                <a:spcPct val="110000"/>
              </a:lnSpc>
              <a:spcBef>
                <a:spcPts val="300"/>
              </a:spcBef>
              <a:buNone/>
              <a:defRPr sz="1000">
                <a:solidFill>
                  <a:schemeClr val="bg1"/>
                </a:solidFill>
              </a:defRPr>
            </a:lvl6pPr>
            <a:lvl7pPr marL="360000">
              <a:lnSpc>
                <a:spcPct val="110000"/>
              </a:lnSpc>
              <a:spcBef>
                <a:spcPts val="300"/>
              </a:spcBef>
              <a:defRPr sz="1000">
                <a:solidFill>
                  <a:schemeClr val="bg1"/>
                </a:solidFill>
              </a:defRPr>
            </a:lvl7pPr>
            <a:lvl8pPr marL="360000">
              <a:lnSpc>
                <a:spcPct val="110000"/>
              </a:lnSpc>
              <a:spcBef>
                <a:spcPts val="300"/>
              </a:spcBef>
              <a:defRPr sz="1000">
                <a:solidFill>
                  <a:schemeClr val="bg1"/>
                </a:solidFill>
              </a:defRPr>
            </a:lvl8pPr>
            <a:lvl9pPr marL="360000">
              <a:lnSpc>
                <a:spcPct val="110000"/>
              </a:lnSpc>
              <a:spcBef>
                <a:spcPts val="300"/>
              </a:spcBef>
              <a:defRPr sz="1000"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Edit Master </a:t>
            </a:r>
            <a:r>
              <a:rPr lang="da-DK" dirty="0" err="1"/>
              <a:t>text</a:t>
            </a:r>
            <a:r>
              <a:rPr lang="da-DK" dirty="0"/>
              <a:t> styles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7" name="Text Placeholder 3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684000" y="345600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3313203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t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Grey"/>
          <p:cNvSpPr>
            <a:spLocks/>
          </p:cNvSpPr>
          <p:nvPr userDrawn="1"/>
        </p:nvSpPr>
        <p:spPr bwMode="auto">
          <a:xfrm>
            <a:off x="4037726" y="6129302"/>
            <a:ext cx="8154276" cy="728490"/>
          </a:xfrm>
          <a:custGeom>
            <a:avLst/>
            <a:gdLst>
              <a:gd name="connsiteX0" fmla="*/ 3051740 w 6115707"/>
              <a:gd name="connsiteY0" fmla="*/ 0 h 541429"/>
              <a:gd name="connsiteX1" fmla="*/ 6115707 w 6115707"/>
              <a:gd name="connsiteY1" fmla="*/ 541429 h 541429"/>
              <a:gd name="connsiteX2" fmla="*/ 0 w 6115707"/>
              <a:gd name="connsiteY2" fmla="*/ 541429 h 541429"/>
              <a:gd name="connsiteX3" fmla="*/ 0 w 6115707"/>
              <a:gd name="connsiteY3" fmla="*/ 538966 h 5414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15707" h="541429">
                <a:moveTo>
                  <a:pt x="3051740" y="0"/>
                </a:moveTo>
                <a:lnTo>
                  <a:pt x="6115707" y="541429"/>
                </a:lnTo>
                <a:lnTo>
                  <a:pt x="0" y="541429"/>
                </a:lnTo>
                <a:lnTo>
                  <a:pt x="0" y="53896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a-DK" sz="1800" dirty="0"/>
          </a:p>
        </p:txBody>
      </p:sp>
      <p:sp>
        <p:nvSpPr>
          <p:cNvPr id="27" name="Picture Placeholder 2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7792 h 6858000"/>
              <a:gd name="connsiteX3" fmla="*/ 8106713 w 12192000"/>
              <a:gd name="connsiteY3" fmla="*/ 6129302 h 6858000"/>
              <a:gd name="connsiteX4" fmla="*/ 4037726 w 12192000"/>
              <a:gd name="connsiteY4" fmla="*/ 6854478 h 6858000"/>
              <a:gd name="connsiteX5" fmla="*/ 4037726 w 12192000"/>
              <a:gd name="connsiteY5" fmla="*/ 6857792 h 6858000"/>
              <a:gd name="connsiteX6" fmla="*/ 12192000 w 12192000"/>
              <a:gd name="connsiteY6" fmla="*/ 6857792 h 6858000"/>
              <a:gd name="connsiteX7" fmla="*/ 12192000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7792"/>
                </a:lnTo>
                <a:lnTo>
                  <a:pt x="8106713" y="6129302"/>
                </a:lnTo>
                <a:lnTo>
                  <a:pt x="4037726" y="6854478"/>
                </a:lnTo>
                <a:lnTo>
                  <a:pt x="4037726" y="6857792"/>
                </a:lnTo>
                <a:lnTo>
                  <a:pt x="12192000" y="6857792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504000" bIns="1044000" anchor="ctr" anchorCtr="0">
            <a:noAutofit/>
          </a:bodyPr>
          <a:lstStyle>
            <a:lvl1pPr algn="l">
              <a:defRPr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&lt;</a:t>
            </a:r>
            <a:endParaRPr lang="da-DK"/>
          </a:p>
        </p:txBody>
      </p: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>
          <a:xfrm>
            <a:off x="8113185" y="1455410"/>
            <a:ext cx="4082400" cy="4671791"/>
          </a:xfrm>
          <a:custGeom>
            <a:avLst/>
            <a:gdLst>
              <a:gd name="connsiteX0" fmla="*/ 4054602 w 4078815"/>
              <a:gd name="connsiteY0" fmla="*/ 0 h 4671791"/>
              <a:gd name="connsiteX1" fmla="*/ 4078815 w 4078815"/>
              <a:gd name="connsiteY1" fmla="*/ 0 h 4671791"/>
              <a:gd name="connsiteX2" fmla="*/ 4075382 w 4078815"/>
              <a:gd name="connsiteY2" fmla="*/ 3976900 h 4671791"/>
              <a:gd name="connsiteX3" fmla="*/ 13427 w 4078815"/>
              <a:gd name="connsiteY3" fmla="*/ 4671791 h 4671791"/>
              <a:gd name="connsiteX4" fmla="*/ 0 w 4078815"/>
              <a:gd name="connsiteY4" fmla="*/ 4671791 h 4671791"/>
              <a:gd name="connsiteX5" fmla="*/ 0 w 4078815"/>
              <a:gd name="connsiteY5" fmla="*/ 694290 h 4671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78815" h="4671791">
                <a:moveTo>
                  <a:pt x="4054602" y="0"/>
                </a:moveTo>
                <a:lnTo>
                  <a:pt x="4078815" y="0"/>
                </a:lnTo>
                <a:cubicBezTo>
                  <a:pt x="4077671" y="1325634"/>
                  <a:pt x="4076526" y="2651266"/>
                  <a:pt x="4075382" y="3976900"/>
                </a:cubicBezTo>
                <a:lnTo>
                  <a:pt x="13427" y="4671791"/>
                </a:lnTo>
                <a:lnTo>
                  <a:pt x="0" y="4671791"/>
                </a:lnTo>
                <a:lnTo>
                  <a:pt x="0" y="694290"/>
                </a:lnTo>
                <a:close/>
              </a:path>
            </a:pathLst>
          </a:custGeom>
          <a:solidFill>
            <a:schemeClr val="accent1">
              <a:alpha val="90000"/>
            </a:schemeClr>
          </a:solidFill>
        </p:spPr>
        <p:txBody>
          <a:bodyPr wrap="square" lIns="684000" tIns="2109600" rIns="684000" bIns="0" anchor="t" anchorCtr="0">
            <a:noAutofit/>
          </a:bodyPr>
          <a:lstStyle>
            <a:lvl1pPr>
              <a:lnSpc>
                <a:spcPct val="92000"/>
              </a:lnSpc>
              <a:defRPr sz="12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5" name="USR_Name"/>
          <p:cNvSpPr>
            <a:spLocks noGrp="1"/>
          </p:cNvSpPr>
          <p:nvPr>
            <p:ph type="body" sz="quarter" idx="17" hasCustomPrompt="1"/>
          </p:nvPr>
        </p:nvSpPr>
        <p:spPr>
          <a:xfrm>
            <a:off x="8109589" y="3780000"/>
            <a:ext cx="4078800" cy="407904"/>
          </a:xfrm>
        </p:spPr>
        <p:txBody>
          <a:bodyPr lIns="684000" rIns="684000" anchor="b" anchorCtr="0"/>
          <a:lstStyle>
            <a:lvl1pPr marL="0" indent="0">
              <a:lnSpc>
                <a:spcPct val="110000"/>
              </a:lnSpc>
              <a:spcBef>
                <a:spcPts val="0"/>
              </a:spcBef>
              <a:defRPr sz="1200" cap="all" baseline="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spcBef>
                <a:spcPts val="300"/>
              </a:spcBef>
              <a:defRPr sz="1200" cap="all" baseline="0"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spcBef>
                <a:spcPts val="300"/>
              </a:spcBef>
              <a:defRPr sz="1200" cap="all" baseline="0"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spcBef>
                <a:spcPts val="300"/>
              </a:spcBef>
              <a:defRPr sz="1200" cap="all" baseline="0"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spcBef>
                <a:spcPts val="300"/>
              </a:spcBef>
              <a:defRPr sz="1200" cap="all" baseline="0">
                <a:solidFill>
                  <a:schemeClr val="bg1"/>
                </a:solidFill>
              </a:defRPr>
            </a:lvl5pPr>
            <a:lvl6pPr marL="648000" indent="0">
              <a:lnSpc>
                <a:spcPct val="110000"/>
              </a:lnSpc>
              <a:spcBef>
                <a:spcPts val="300"/>
              </a:spcBef>
              <a:buNone/>
              <a:defRPr cap="all" baseline="0">
                <a:solidFill>
                  <a:schemeClr val="bg1"/>
                </a:solidFill>
              </a:defRPr>
            </a:lvl6pPr>
            <a:lvl7pPr>
              <a:lnSpc>
                <a:spcPct val="110000"/>
              </a:lnSpc>
              <a:spcBef>
                <a:spcPts val="300"/>
              </a:spcBef>
              <a:defRPr>
                <a:solidFill>
                  <a:schemeClr val="bg1"/>
                </a:solidFill>
              </a:defRPr>
            </a:lvl7pPr>
            <a:lvl8pPr>
              <a:lnSpc>
                <a:spcPct val="110000"/>
              </a:lnSpc>
              <a:spcBef>
                <a:spcPts val="300"/>
              </a:spcBef>
              <a:defRPr>
                <a:solidFill>
                  <a:schemeClr val="bg1"/>
                </a:solidFill>
              </a:defRPr>
            </a:lvl8pPr>
            <a:lvl9pPr>
              <a:lnSpc>
                <a:spcPct val="110000"/>
              </a:lnSpc>
              <a:spcBef>
                <a:spcPts val="300"/>
              </a:spcBef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/>
              <a:t>Henrik Hommelgaard</a:t>
            </a:r>
          </a:p>
        </p:txBody>
      </p:sp>
      <p:sp>
        <p:nvSpPr>
          <p:cNvPr id="8" name="USR_DirectPhone"/>
          <p:cNvSpPr>
            <a:spLocks noGrp="1"/>
          </p:cNvSpPr>
          <p:nvPr>
            <p:ph type="body" sz="quarter" idx="20" hasCustomPrompt="1"/>
          </p:nvPr>
        </p:nvSpPr>
        <p:spPr>
          <a:xfrm>
            <a:off x="8109588" y="4201200"/>
            <a:ext cx="4078816" cy="233567"/>
          </a:xfrm>
        </p:spPr>
        <p:txBody>
          <a:bodyPr lIns="684000" rIns="684000"/>
          <a:lstStyle>
            <a:lvl1pPr marL="0" indent="0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+45 2270 9213</a:t>
            </a:r>
          </a:p>
        </p:txBody>
      </p:sp>
      <p:sp>
        <p:nvSpPr>
          <p:cNvPr id="14" name="USR_Email"/>
          <p:cNvSpPr>
            <a:spLocks noGrp="1"/>
          </p:cNvSpPr>
          <p:nvPr>
            <p:ph type="body" sz="quarter" idx="21" hasCustomPrompt="1"/>
          </p:nvPr>
        </p:nvSpPr>
        <p:spPr>
          <a:xfrm>
            <a:off x="8109588" y="4413600"/>
            <a:ext cx="4078816" cy="233567"/>
          </a:xfrm>
        </p:spPr>
        <p:txBody>
          <a:bodyPr lIns="684000" rIns="684000"/>
          <a:lstStyle>
            <a:lvl1pPr marL="0" indent="0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heh@mth.dk</a:t>
            </a:r>
          </a:p>
        </p:txBody>
      </p:sp>
      <p:sp>
        <p:nvSpPr>
          <p:cNvPr id="15" name="OFF_name"/>
          <p:cNvSpPr>
            <a:spLocks noGrp="1"/>
          </p:cNvSpPr>
          <p:nvPr>
            <p:ph type="body" sz="quarter" idx="22" hasCustomPrompt="1"/>
          </p:nvPr>
        </p:nvSpPr>
        <p:spPr>
          <a:xfrm>
            <a:off x="8109588" y="4852800"/>
            <a:ext cx="4078816" cy="233567"/>
          </a:xfrm>
        </p:spPr>
        <p:txBody>
          <a:bodyPr lIns="684000" rIns="684000"/>
          <a:lstStyle>
            <a:lvl1pPr marL="0" indent="0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MT Højgaard A/S</a:t>
            </a:r>
          </a:p>
        </p:txBody>
      </p:sp>
      <p:sp>
        <p:nvSpPr>
          <p:cNvPr id="16" name="OFF_phone"/>
          <p:cNvSpPr>
            <a:spLocks noGrp="1"/>
          </p:cNvSpPr>
          <p:nvPr>
            <p:ph type="body" sz="quarter" idx="23" hasCustomPrompt="1"/>
          </p:nvPr>
        </p:nvSpPr>
        <p:spPr>
          <a:xfrm>
            <a:off x="8109588" y="5061600"/>
            <a:ext cx="4078816" cy="233567"/>
          </a:xfrm>
        </p:spPr>
        <p:txBody>
          <a:bodyPr lIns="684000" rIns="684000"/>
          <a:lstStyle>
            <a:lvl1pPr marL="0" indent="0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+45 7012 2400</a:t>
            </a:r>
          </a:p>
        </p:txBody>
      </p:sp>
      <p:sp>
        <p:nvSpPr>
          <p:cNvPr id="17" name="OFF_web"/>
          <p:cNvSpPr>
            <a:spLocks noGrp="1"/>
          </p:cNvSpPr>
          <p:nvPr>
            <p:ph type="body" sz="quarter" idx="24" hasCustomPrompt="1"/>
          </p:nvPr>
        </p:nvSpPr>
        <p:spPr>
          <a:xfrm>
            <a:off x="8109588" y="5274000"/>
            <a:ext cx="4078816" cy="233567"/>
          </a:xfrm>
        </p:spPr>
        <p:txBody>
          <a:bodyPr lIns="684000" rIns="684000"/>
          <a:lstStyle>
            <a:lvl1pPr marL="0" indent="0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mth.dk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25" hasCustomPrompt="1"/>
          </p:nvPr>
        </p:nvSpPr>
        <p:spPr>
          <a:xfrm>
            <a:off x="8114400" y="5432400"/>
            <a:ext cx="4081216" cy="1425600"/>
          </a:xfrm>
          <a:custGeom>
            <a:avLst/>
            <a:gdLst>
              <a:gd name="connsiteX0" fmla="*/ 4078785 w 4081216"/>
              <a:gd name="connsiteY0" fmla="*/ 0 h 1425600"/>
              <a:gd name="connsiteX1" fmla="*/ 4079317 w 4081216"/>
              <a:gd name="connsiteY1" fmla="*/ 0 h 1425600"/>
              <a:gd name="connsiteX2" fmla="*/ 4081216 w 4081216"/>
              <a:gd name="connsiteY2" fmla="*/ 1425600 h 1425600"/>
              <a:gd name="connsiteX3" fmla="*/ 6666 w 4081216"/>
              <a:gd name="connsiteY3" fmla="*/ 703055 h 1425600"/>
              <a:gd name="connsiteX4" fmla="*/ 0 w 4081216"/>
              <a:gd name="connsiteY4" fmla="*/ 698383 h 1425600"/>
              <a:gd name="connsiteX5" fmla="*/ 0 w 4081216"/>
              <a:gd name="connsiteY5" fmla="*/ 697784 h 142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81216" h="1425600">
                <a:moveTo>
                  <a:pt x="4078785" y="0"/>
                </a:moveTo>
                <a:lnTo>
                  <a:pt x="4079317" y="0"/>
                </a:lnTo>
                <a:lnTo>
                  <a:pt x="4081216" y="1425600"/>
                </a:lnTo>
                <a:lnTo>
                  <a:pt x="6666" y="703055"/>
                </a:lnTo>
                <a:lnTo>
                  <a:pt x="0" y="698383"/>
                </a:lnTo>
                <a:lnTo>
                  <a:pt x="0" y="697784"/>
                </a:lnTo>
                <a:close/>
              </a:path>
            </a:pathLst>
          </a:custGeom>
          <a:solidFill>
            <a:srgbClr val="061C48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22" name="Text Placeholder 3"/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8798400" y="2735333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21259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515">
          <p15:clr>
            <a:srgbClr val="000000"/>
          </p15:clr>
        </p15:guide>
        <p15:guide id="3" pos="3833">
          <p15:clr>
            <a:srgbClr val="00000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tning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Grey"/>
          <p:cNvSpPr>
            <a:spLocks/>
          </p:cNvSpPr>
          <p:nvPr userDrawn="1"/>
        </p:nvSpPr>
        <p:spPr bwMode="auto">
          <a:xfrm>
            <a:off x="4037726" y="6129302"/>
            <a:ext cx="8154276" cy="728490"/>
          </a:xfrm>
          <a:custGeom>
            <a:avLst/>
            <a:gdLst>
              <a:gd name="connsiteX0" fmla="*/ 3051740 w 6115707"/>
              <a:gd name="connsiteY0" fmla="*/ 0 h 541429"/>
              <a:gd name="connsiteX1" fmla="*/ 6115707 w 6115707"/>
              <a:gd name="connsiteY1" fmla="*/ 541429 h 541429"/>
              <a:gd name="connsiteX2" fmla="*/ 0 w 6115707"/>
              <a:gd name="connsiteY2" fmla="*/ 541429 h 541429"/>
              <a:gd name="connsiteX3" fmla="*/ 0 w 6115707"/>
              <a:gd name="connsiteY3" fmla="*/ 538966 h 5414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15707" h="541429">
                <a:moveTo>
                  <a:pt x="3051740" y="0"/>
                </a:moveTo>
                <a:lnTo>
                  <a:pt x="6115707" y="541429"/>
                </a:lnTo>
                <a:lnTo>
                  <a:pt x="0" y="541429"/>
                </a:lnTo>
                <a:lnTo>
                  <a:pt x="0" y="53896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a-DK" sz="1800" dirty="0"/>
          </a:p>
        </p:txBody>
      </p:sp>
      <p:sp>
        <p:nvSpPr>
          <p:cNvPr id="27" name="Picture Placeholder 2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7792 h 6858000"/>
              <a:gd name="connsiteX3" fmla="*/ 8106713 w 12192000"/>
              <a:gd name="connsiteY3" fmla="*/ 6129302 h 6858000"/>
              <a:gd name="connsiteX4" fmla="*/ 4037726 w 12192000"/>
              <a:gd name="connsiteY4" fmla="*/ 6854478 h 6858000"/>
              <a:gd name="connsiteX5" fmla="*/ 4037726 w 12192000"/>
              <a:gd name="connsiteY5" fmla="*/ 6857792 h 6858000"/>
              <a:gd name="connsiteX6" fmla="*/ 12192000 w 12192000"/>
              <a:gd name="connsiteY6" fmla="*/ 6857792 h 6858000"/>
              <a:gd name="connsiteX7" fmla="*/ 12192000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7792"/>
                </a:lnTo>
                <a:lnTo>
                  <a:pt x="8106713" y="6129302"/>
                </a:lnTo>
                <a:lnTo>
                  <a:pt x="4037726" y="6854478"/>
                </a:lnTo>
                <a:lnTo>
                  <a:pt x="4037726" y="6857792"/>
                </a:lnTo>
                <a:lnTo>
                  <a:pt x="12192000" y="6857792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504000" bIns="1044000" anchor="ctr" anchorCtr="0">
            <a:noAutofit/>
          </a:bodyPr>
          <a:lstStyle>
            <a:lvl1pPr algn="l">
              <a:defRPr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&lt;</a:t>
            </a:r>
            <a:endParaRPr lang="da-DK"/>
          </a:p>
        </p:txBody>
      </p: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>
          <a:xfrm>
            <a:off x="8113185" y="1455410"/>
            <a:ext cx="4082400" cy="4671791"/>
          </a:xfrm>
          <a:custGeom>
            <a:avLst/>
            <a:gdLst>
              <a:gd name="connsiteX0" fmla="*/ 4054602 w 4078815"/>
              <a:gd name="connsiteY0" fmla="*/ 0 h 4671791"/>
              <a:gd name="connsiteX1" fmla="*/ 4078815 w 4078815"/>
              <a:gd name="connsiteY1" fmla="*/ 0 h 4671791"/>
              <a:gd name="connsiteX2" fmla="*/ 4075382 w 4078815"/>
              <a:gd name="connsiteY2" fmla="*/ 3976900 h 4671791"/>
              <a:gd name="connsiteX3" fmla="*/ 13427 w 4078815"/>
              <a:gd name="connsiteY3" fmla="*/ 4671791 h 4671791"/>
              <a:gd name="connsiteX4" fmla="*/ 0 w 4078815"/>
              <a:gd name="connsiteY4" fmla="*/ 4671791 h 4671791"/>
              <a:gd name="connsiteX5" fmla="*/ 0 w 4078815"/>
              <a:gd name="connsiteY5" fmla="*/ 694290 h 4671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78815" h="4671791">
                <a:moveTo>
                  <a:pt x="4054602" y="0"/>
                </a:moveTo>
                <a:lnTo>
                  <a:pt x="4078815" y="0"/>
                </a:lnTo>
                <a:cubicBezTo>
                  <a:pt x="4077671" y="1325634"/>
                  <a:pt x="4076526" y="2651266"/>
                  <a:pt x="4075382" y="3976900"/>
                </a:cubicBezTo>
                <a:lnTo>
                  <a:pt x="13427" y="4671791"/>
                </a:lnTo>
                <a:lnTo>
                  <a:pt x="0" y="4671791"/>
                </a:lnTo>
                <a:lnTo>
                  <a:pt x="0" y="694290"/>
                </a:lnTo>
                <a:close/>
              </a:path>
            </a:pathLst>
          </a:custGeom>
          <a:solidFill>
            <a:schemeClr val="accent2">
              <a:alpha val="90000"/>
            </a:schemeClr>
          </a:solidFill>
        </p:spPr>
        <p:txBody>
          <a:bodyPr wrap="square" lIns="684000" tIns="2109600" rIns="684000" bIns="0" anchor="t" anchorCtr="0">
            <a:noAutofit/>
          </a:bodyPr>
          <a:lstStyle>
            <a:lvl1pPr>
              <a:lnSpc>
                <a:spcPct val="92000"/>
              </a:lnSpc>
              <a:defRPr sz="12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5" name="USR_Name"/>
          <p:cNvSpPr>
            <a:spLocks noGrp="1"/>
          </p:cNvSpPr>
          <p:nvPr>
            <p:ph type="body" sz="quarter" idx="17" hasCustomPrompt="1"/>
          </p:nvPr>
        </p:nvSpPr>
        <p:spPr>
          <a:xfrm>
            <a:off x="8109589" y="3780000"/>
            <a:ext cx="4078800" cy="407904"/>
          </a:xfrm>
        </p:spPr>
        <p:txBody>
          <a:bodyPr lIns="684000" rIns="684000" anchor="b" anchorCtr="0"/>
          <a:lstStyle>
            <a:lvl1pPr marL="0" indent="0">
              <a:lnSpc>
                <a:spcPct val="110000"/>
              </a:lnSpc>
              <a:spcBef>
                <a:spcPts val="0"/>
              </a:spcBef>
              <a:defRPr sz="1200" cap="all" baseline="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spcBef>
                <a:spcPts val="300"/>
              </a:spcBef>
              <a:defRPr sz="1200" cap="all" baseline="0"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spcBef>
                <a:spcPts val="300"/>
              </a:spcBef>
              <a:defRPr sz="1200" cap="all" baseline="0"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spcBef>
                <a:spcPts val="300"/>
              </a:spcBef>
              <a:defRPr sz="1200" cap="all" baseline="0"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spcBef>
                <a:spcPts val="300"/>
              </a:spcBef>
              <a:defRPr sz="1200" cap="all" baseline="0">
                <a:solidFill>
                  <a:schemeClr val="bg1"/>
                </a:solidFill>
              </a:defRPr>
            </a:lvl5pPr>
            <a:lvl6pPr marL="648000" indent="0">
              <a:lnSpc>
                <a:spcPct val="110000"/>
              </a:lnSpc>
              <a:spcBef>
                <a:spcPts val="300"/>
              </a:spcBef>
              <a:buNone/>
              <a:defRPr cap="all" baseline="0">
                <a:solidFill>
                  <a:schemeClr val="bg1"/>
                </a:solidFill>
              </a:defRPr>
            </a:lvl6pPr>
            <a:lvl7pPr>
              <a:lnSpc>
                <a:spcPct val="110000"/>
              </a:lnSpc>
              <a:spcBef>
                <a:spcPts val="300"/>
              </a:spcBef>
              <a:defRPr>
                <a:solidFill>
                  <a:schemeClr val="bg1"/>
                </a:solidFill>
              </a:defRPr>
            </a:lvl7pPr>
            <a:lvl8pPr>
              <a:lnSpc>
                <a:spcPct val="110000"/>
              </a:lnSpc>
              <a:spcBef>
                <a:spcPts val="300"/>
              </a:spcBef>
              <a:defRPr>
                <a:solidFill>
                  <a:schemeClr val="bg1"/>
                </a:solidFill>
              </a:defRPr>
            </a:lvl8pPr>
            <a:lvl9pPr>
              <a:lnSpc>
                <a:spcPct val="110000"/>
              </a:lnSpc>
              <a:spcBef>
                <a:spcPts val="300"/>
              </a:spcBef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/>
              <a:t>Henrik Hommelgaard</a:t>
            </a:r>
          </a:p>
        </p:txBody>
      </p:sp>
      <p:sp>
        <p:nvSpPr>
          <p:cNvPr id="8" name="USR_DirectPhone"/>
          <p:cNvSpPr>
            <a:spLocks noGrp="1"/>
          </p:cNvSpPr>
          <p:nvPr>
            <p:ph type="body" sz="quarter" idx="20" hasCustomPrompt="1"/>
          </p:nvPr>
        </p:nvSpPr>
        <p:spPr>
          <a:xfrm>
            <a:off x="8109588" y="4201200"/>
            <a:ext cx="4078816" cy="233567"/>
          </a:xfrm>
        </p:spPr>
        <p:txBody>
          <a:bodyPr lIns="684000" rIns="684000"/>
          <a:lstStyle>
            <a:lvl1pPr marL="0" indent="0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+45 2270 9213</a:t>
            </a:r>
          </a:p>
        </p:txBody>
      </p:sp>
      <p:sp>
        <p:nvSpPr>
          <p:cNvPr id="14" name="USR_Email"/>
          <p:cNvSpPr>
            <a:spLocks noGrp="1"/>
          </p:cNvSpPr>
          <p:nvPr>
            <p:ph type="body" sz="quarter" idx="21" hasCustomPrompt="1"/>
          </p:nvPr>
        </p:nvSpPr>
        <p:spPr>
          <a:xfrm>
            <a:off x="8109588" y="4413600"/>
            <a:ext cx="4078816" cy="233567"/>
          </a:xfrm>
        </p:spPr>
        <p:txBody>
          <a:bodyPr lIns="684000" rIns="684000"/>
          <a:lstStyle>
            <a:lvl1pPr marL="0" indent="0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heh@mth.dk</a:t>
            </a:r>
          </a:p>
        </p:txBody>
      </p:sp>
      <p:sp>
        <p:nvSpPr>
          <p:cNvPr id="15" name="OFF_name"/>
          <p:cNvSpPr>
            <a:spLocks noGrp="1"/>
          </p:cNvSpPr>
          <p:nvPr>
            <p:ph type="body" sz="quarter" idx="22" hasCustomPrompt="1"/>
          </p:nvPr>
        </p:nvSpPr>
        <p:spPr>
          <a:xfrm>
            <a:off x="8109588" y="4852800"/>
            <a:ext cx="4078816" cy="233567"/>
          </a:xfrm>
        </p:spPr>
        <p:txBody>
          <a:bodyPr lIns="684000" rIns="684000"/>
          <a:lstStyle>
            <a:lvl1pPr marL="0" indent="0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MT Højgaard A/S</a:t>
            </a:r>
          </a:p>
        </p:txBody>
      </p:sp>
      <p:sp>
        <p:nvSpPr>
          <p:cNvPr id="16" name="OFF_phone"/>
          <p:cNvSpPr>
            <a:spLocks noGrp="1"/>
          </p:cNvSpPr>
          <p:nvPr>
            <p:ph type="body" sz="quarter" idx="23" hasCustomPrompt="1"/>
          </p:nvPr>
        </p:nvSpPr>
        <p:spPr>
          <a:xfrm>
            <a:off x="8109588" y="5061600"/>
            <a:ext cx="4078816" cy="233567"/>
          </a:xfrm>
        </p:spPr>
        <p:txBody>
          <a:bodyPr lIns="684000" rIns="684000"/>
          <a:lstStyle>
            <a:lvl1pPr marL="0" indent="0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+45 7012 2400</a:t>
            </a:r>
          </a:p>
        </p:txBody>
      </p:sp>
      <p:sp>
        <p:nvSpPr>
          <p:cNvPr id="17" name="OFF_web"/>
          <p:cNvSpPr>
            <a:spLocks noGrp="1"/>
          </p:cNvSpPr>
          <p:nvPr>
            <p:ph type="body" sz="quarter" idx="24" hasCustomPrompt="1"/>
          </p:nvPr>
        </p:nvSpPr>
        <p:spPr>
          <a:xfrm>
            <a:off x="8109588" y="5274000"/>
            <a:ext cx="4078816" cy="233567"/>
          </a:xfrm>
        </p:spPr>
        <p:txBody>
          <a:bodyPr lIns="684000" rIns="684000"/>
          <a:lstStyle>
            <a:lvl1pPr marL="0" indent="0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mth.dk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25" hasCustomPrompt="1"/>
          </p:nvPr>
        </p:nvSpPr>
        <p:spPr>
          <a:xfrm>
            <a:off x="8114400" y="5432400"/>
            <a:ext cx="4081216" cy="1425600"/>
          </a:xfrm>
          <a:custGeom>
            <a:avLst/>
            <a:gdLst>
              <a:gd name="connsiteX0" fmla="*/ 4078785 w 4081216"/>
              <a:gd name="connsiteY0" fmla="*/ 0 h 1425600"/>
              <a:gd name="connsiteX1" fmla="*/ 4079317 w 4081216"/>
              <a:gd name="connsiteY1" fmla="*/ 0 h 1425600"/>
              <a:gd name="connsiteX2" fmla="*/ 4081216 w 4081216"/>
              <a:gd name="connsiteY2" fmla="*/ 1425600 h 1425600"/>
              <a:gd name="connsiteX3" fmla="*/ 6666 w 4081216"/>
              <a:gd name="connsiteY3" fmla="*/ 703055 h 1425600"/>
              <a:gd name="connsiteX4" fmla="*/ 0 w 4081216"/>
              <a:gd name="connsiteY4" fmla="*/ 698383 h 1425600"/>
              <a:gd name="connsiteX5" fmla="*/ 0 w 4081216"/>
              <a:gd name="connsiteY5" fmla="*/ 697784 h 142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81216" h="1425600">
                <a:moveTo>
                  <a:pt x="4078785" y="0"/>
                </a:moveTo>
                <a:lnTo>
                  <a:pt x="4079317" y="0"/>
                </a:lnTo>
                <a:lnTo>
                  <a:pt x="4081216" y="1425600"/>
                </a:lnTo>
                <a:lnTo>
                  <a:pt x="6666" y="703055"/>
                </a:lnTo>
                <a:lnTo>
                  <a:pt x="0" y="698383"/>
                </a:lnTo>
                <a:lnTo>
                  <a:pt x="0" y="697784"/>
                </a:lnTo>
                <a:close/>
              </a:path>
            </a:pathLst>
          </a:custGeom>
          <a:solidFill>
            <a:srgbClr val="27A1BD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22" name="Text Placeholder 3"/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8798400" y="2735333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53106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515">
          <p15:clr>
            <a:srgbClr val="000000"/>
          </p15:clr>
        </p15:guide>
        <p15:guide id="3" pos="3833">
          <p15:clr>
            <a:srgbClr val="00000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tning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Grey"/>
          <p:cNvSpPr>
            <a:spLocks/>
          </p:cNvSpPr>
          <p:nvPr userDrawn="1"/>
        </p:nvSpPr>
        <p:spPr bwMode="auto">
          <a:xfrm>
            <a:off x="4037726" y="6129302"/>
            <a:ext cx="8154276" cy="728490"/>
          </a:xfrm>
          <a:custGeom>
            <a:avLst/>
            <a:gdLst>
              <a:gd name="connsiteX0" fmla="*/ 3051740 w 6115707"/>
              <a:gd name="connsiteY0" fmla="*/ 0 h 541429"/>
              <a:gd name="connsiteX1" fmla="*/ 6115707 w 6115707"/>
              <a:gd name="connsiteY1" fmla="*/ 541429 h 541429"/>
              <a:gd name="connsiteX2" fmla="*/ 0 w 6115707"/>
              <a:gd name="connsiteY2" fmla="*/ 541429 h 541429"/>
              <a:gd name="connsiteX3" fmla="*/ 0 w 6115707"/>
              <a:gd name="connsiteY3" fmla="*/ 538966 h 5414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15707" h="541429">
                <a:moveTo>
                  <a:pt x="3051740" y="0"/>
                </a:moveTo>
                <a:lnTo>
                  <a:pt x="6115707" y="541429"/>
                </a:lnTo>
                <a:lnTo>
                  <a:pt x="0" y="541429"/>
                </a:lnTo>
                <a:lnTo>
                  <a:pt x="0" y="53896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a-DK" sz="1800" dirty="0"/>
          </a:p>
        </p:txBody>
      </p:sp>
      <p:sp>
        <p:nvSpPr>
          <p:cNvPr id="27" name="Picture Placeholder 2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7792 h 6858000"/>
              <a:gd name="connsiteX3" fmla="*/ 8106713 w 12192000"/>
              <a:gd name="connsiteY3" fmla="*/ 6129302 h 6858000"/>
              <a:gd name="connsiteX4" fmla="*/ 4037726 w 12192000"/>
              <a:gd name="connsiteY4" fmla="*/ 6854478 h 6858000"/>
              <a:gd name="connsiteX5" fmla="*/ 4037726 w 12192000"/>
              <a:gd name="connsiteY5" fmla="*/ 6857792 h 6858000"/>
              <a:gd name="connsiteX6" fmla="*/ 12192000 w 12192000"/>
              <a:gd name="connsiteY6" fmla="*/ 6857792 h 6858000"/>
              <a:gd name="connsiteX7" fmla="*/ 12192000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7792"/>
                </a:lnTo>
                <a:lnTo>
                  <a:pt x="8106713" y="6129302"/>
                </a:lnTo>
                <a:lnTo>
                  <a:pt x="4037726" y="6854478"/>
                </a:lnTo>
                <a:lnTo>
                  <a:pt x="4037726" y="6857792"/>
                </a:lnTo>
                <a:lnTo>
                  <a:pt x="12192000" y="6857792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504000" bIns="1044000" anchor="ctr" anchorCtr="0">
            <a:noAutofit/>
          </a:bodyPr>
          <a:lstStyle>
            <a:lvl1pPr algn="l">
              <a:defRPr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&lt;</a:t>
            </a:r>
            <a:endParaRPr lang="da-DK"/>
          </a:p>
        </p:txBody>
      </p: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>
          <a:xfrm>
            <a:off x="8113185" y="1455410"/>
            <a:ext cx="4082400" cy="4671791"/>
          </a:xfrm>
          <a:custGeom>
            <a:avLst/>
            <a:gdLst>
              <a:gd name="connsiteX0" fmla="*/ 4054602 w 4078815"/>
              <a:gd name="connsiteY0" fmla="*/ 0 h 4671791"/>
              <a:gd name="connsiteX1" fmla="*/ 4078815 w 4078815"/>
              <a:gd name="connsiteY1" fmla="*/ 0 h 4671791"/>
              <a:gd name="connsiteX2" fmla="*/ 4075382 w 4078815"/>
              <a:gd name="connsiteY2" fmla="*/ 3976900 h 4671791"/>
              <a:gd name="connsiteX3" fmla="*/ 13427 w 4078815"/>
              <a:gd name="connsiteY3" fmla="*/ 4671791 h 4671791"/>
              <a:gd name="connsiteX4" fmla="*/ 0 w 4078815"/>
              <a:gd name="connsiteY4" fmla="*/ 4671791 h 4671791"/>
              <a:gd name="connsiteX5" fmla="*/ 0 w 4078815"/>
              <a:gd name="connsiteY5" fmla="*/ 694290 h 4671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78815" h="4671791">
                <a:moveTo>
                  <a:pt x="4054602" y="0"/>
                </a:moveTo>
                <a:lnTo>
                  <a:pt x="4078815" y="0"/>
                </a:lnTo>
                <a:cubicBezTo>
                  <a:pt x="4077671" y="1325634"/>
                  <a:pt x="4076526" y="2651266"/>
                  <a:pt x="4075382" y="3976900"/>
                </a:cubicBezTo>
                <a:lnTo>
                  <a:pt x="13427" y="4671791"/>
                </a:lnTo>
                <a:lnTo>
                  <a:pt x="0" y="4671791"/>
                </a:lnTo>
                <a:lnTo>
                  <a:pt x="0" y="694290"/>
                </a:lnTo>
                <a:close/>
              </a:path>
            </a:pathLst>
          </a:custGeom>
          <a:solidFill>
            <a:schemeClr val="accent3">
              <a:alpha val="90000"/>
            </a:schemeClr>
          </a:solidFill>
        </p:spPr>
        <p:txBody>
          <a:bodyPr wrap="square" lIns="684000" tIns="2109600" rIns="684000" bIns="0" anchor="t" anchorCtr="0">
            <a:noAutofit/>
          </a:bodyPr>
          <a:lstStyle>
            <a:lvl1pPr>
              <a:lnSpc>
                <a:spcPct val="92000"/>
              </a:lnSpc>
              <a:defRPr sz="12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5" name="USR_Name"/>
          <p:cNvSpPr>
            <a:spLocks noGrp="1"/>
          </p:cNvSpPr>
          <p:nvPr>
            <p:ph type="body" sz="quarter" idx="17" hasCustomPrompt="1"/>
          </p:nvPr>
        </p:nvSpPr>
        <p:spPr>
          <a:xfrm>
            <a:off x="8109589" y="3780000"/>
            <a:ext cx="4078800" cy="407904"/>
          </a:xfrm>
        </p:spPr>
        <p:txBody>
          <a:bodyPr lIns="684000" rIns="684000" anchor="b" anchorCtr="0"/>
          <a:lstStyle>
            <a:lvl1pPr marL="0" indent="0">
              <a:lnSpc>
                <a:spcPct val="110000"/>
              </a:lnSpc>
              <a:spcBef>
                <a:spcPts val="0"/>
              </a:spcBef>
              <a:defRPr sz="1200" cap="all" baseline="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spcBef>
                <a:spcPts val="300"/>
              </a:spcBef>
              <a:defRPr sz="1200" cap="all" baseline="0"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spcBef>
                <a:spcPts val="300"/>
              </a:spcBef>
              <a:defRPr sz="1200" cap="all" baseline="0"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spcBef>
                <a:spcPts val="300"/>
              </a:spcBef>
              <a:defRPr sz="1200" cap="all" baseline="0"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spcBef>
                <a:spcPts val="300"/>
              </a:spcBef>
              <a:defRPr sz="1200" cap="all" baseline="0">
                <a:solidFill>
                  <a:schemeClr val="bg1"/>
                </a:solidFill>
              </a:defRPr>
            </a:lvl5pPr>
            <a:lvl6pPr marL="648000" indent="0">
              <a:lnSpc>
                <a:spcPct val="110000"/>
              </a:lnSpc>
              <a:spcBef>
                <a:spcPts val="300"/>
              </a:spcBef>
              <a:buNone/>
              <a:defRPr cap="all" baseline="0">
                <a:solidFill>
                  <a:schemeClr val="bg1"/>
                </a:solidFill>
              </a:defRPr>
            </a:lvl6pPr>
            <a:lvl7pPr>
              <a:lnSpc>
                <a:spcPct val="110000"/>
              </a:lnSpc>
              <a:spcBef>
                <a:spcPts val="300"/>
              </a:spcBef>
              <a:defRPr>
                <a:solidFill>
                  <a:schemeClr val="bg1"/>
                </a:solidFill>
              </a:defRPr>
            </a:lvl7pPr>
            <a:lvl8pPr>
              <a:lnSpc>
                <a:spcPct val="110000"/>
              </a:lnSpc>
              <a:spcBef>
                <a:spcPts val="300"/>
              </a:spcBef>
              <a:defRPr>
                <a:solidFill>
                  <a:schemeClr val="bg1"/>
                </a:solidFill>
              </a:defRPr>
            </a:lvl8pPr>
            <a:lvl9pPr>
              <a:lnSpc>
                <a:spcPct val="110000"/>
              </a:lnSpc>
              <a:spcBef>
                <a:spcPts val="300"/>
              </a:spcBef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/>
              <a:t>Henrik Hommelgaard</a:t>
            </a:r>
          </a:p>
        </p:txBody>
      </p:sp>
      <p:sp>
        <p:nvSpPr>
          <p:cNvPr id="8" name="USR_DirectPhone"/>
          <p:cNvSpPr>
            <a:spLocks noGrp="1"/>
          </p:cNvSpPr>
          <p:nvPr>
            <p:ph type="body" sz="quarter" idx="20" hasCustomPrompt="1"/>
          </p:nvPr>
        </p:nvSpPr>
        <p:spPr>
          <a:xfrm>
            <a:off x="8109588" y="4201200"/>
            <a:ext cx="4078816" cy="233567"/>
          </a:xfrm>
        </p:spPr>
        <p:txBody>
          <a:bodyPr lIns="684000" rIns="684000"/>
          <a:lstStyle>
            <a:lvl1pPr marL="0" indent="0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+45 2270 9213</a:t>
            </a:r>
          </a:p>
        </p:txBody>
      </p:sp>
      <p:sp>
        <p:nvSpPr>
          <p:cNvPr id="14" name="USR_Email"/>
          <p:cNvSpPr>
            <a:spLocks noGrp="1"/>
          </p:cNvSpPr>
          <p:nvPr>
            <p:ph type="body" sz="quarter" idx="21" hasCustomPrompt="1"/>
          </p:nvPr>
        </p:nvSpPr>
        <p:spPr>
          <a:xfrm>
            <a:off x="8109588" y="4413600"/>
            <a:ext cx="4078816" cy="233567"/>
          </a:xfrm>
        </p:spPr>
        <p:txBody>
          <a:bodyPr lIns="684000" rIns="684000"/>
          <a:lstStyle>
            <a:lvl1pPr marL="0" indent="0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heh@mth.dk</a:t>
            </a:r>
          </a:p>
        </p:txBody>
      </p:sp>
      <p:sp>
        <p:nvSpPr>
          <p:cNvPr id="15" name="OFF_name"/>
          <p:cNvSpPr>
            <a:spLocks noGrp="1"/>
          </p:cNvSpPr>
          <p:nvPr>
            <p:ph type="body" sz="quarter" idx="22" hasCustomPrompt="1"/>
          </p:nvPr>
        </p:nvSpPr>
        <p:spPr>
          <a:xfrm>
            <a:off x="8109588" y="4852800"/>
            <a:ext cx="4078816" cy="233567"/>
          </a:xfrm>
        </p:spPr>
        <p:txBody>
          <a:bodyPr lIns="684000" rIns="684000"/>
          <a:lstStyle>
            <a:lvl1pPr marL="0" indent="0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MT Højgaard A/S</a:t>
            </a:r>
          </a:p>
        </p:txBody>
      </p:sp>
      <p:sp>
        <p:nvSpPr>
          <p:cNvPr id="16" name="OFF_phone"/>
          <p:cNvSpPr>
            <a:spLocks noGrp="1"/>
          </p:cNvSpPr>
          <p:nvPr>
            <p:ph type="body" sz="quarter" idx="23" hasCustomPrompt="1"/>
          </p:nvPr>
        </p:nvSpPr>
        <p:spPr>
          <a:xfrm>
            <a:off x="8109588" y="5061600"/>
            <a:ext cx="4078816" cy="233567"/>
          </a:xfrm>
        </p:spPr>
        <p:txBody>
          <a:bodyPr lIns="684000" rIns="684000"/>
          <a:lstStyle>
            <a:lvl1pPr marL="0" indent="0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+45 7012 2400</a:t>
            </a:r>
          </a:p>
        </p:txBody>
      </p:sp>
      <p:sp>
        <p:nvSpPr>
          <p:cNvPr id="17" name="OFF_web"/>
          <p:cNvSpPr>
            <a:spLocks noGrp="1"/>
          </p:cNvSpPr>
          <p:nvPr>
            <p:ph type="body" sz="quarter" idx="24" hasCustomPrompt="1"/>
          </p:nvPr>
        </p:nvSpPr>
        <p:spPr>
          <a:xfrm>
            <a:off x="8109588" y="5274000"/>
            <a:ext cx="4078816" cy="233567"/>
          </a:xfrm>
        </p:spPr>
        <p:txBody>
          <a:bodyPr lIns="684000" rIns="684000"/>
          <a:lstStyle>
            <a:lvl1pPr marL="0" indent="0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mth.dk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25" hasCustomPrompt="1"/>
          </p:nvPr>
        </p:nvSpPr>
        <p:spPr>
          <a:xfrm>
            <a:off x="8114400" y="5432400"/>
            <a:ext cx="4081216" cy="1425600"/>
          </a:xfrm>
          <a:custGeom>
            <a:avLst/>
            <a:gdLst>
              <a:gd name="connsiteX0" fmla="*/ 4078785 w 4081216"/>
              <a:gd name="connsiteY0" fmla="*/ 0 h 1425600"/>
              <a:gd name="connsiteX1" fmla="*/ 4079317 w 4081216"/>
              <a:gd name="connsiteY1" fmla="*/ 0 h 1425600"/>
              <a:gd name="connsiteX2" fmla="*/ 4081216 w 4081216"/>
              <a:gd name="connsiteY2" fmla="*/ 1425600 h 1425600"/>
              <a:gd name="connsiteX3" fmla="*/ 6666 w 4081216"/>
              <a:gd name="connsiteY3" fmla="*/ 703055 h 1425600"/>
              <a:gd name="connsiteX4" fmla="*/ 0 w 4081216"/>
              <a:gd name="connsiteY4" fmla="*/ 698383 h 1425600"/>
              <a:gd name="connsiteX5" fmla="*/ 0 w 4081216"/>
              <a:gd name="connsiteY5" fmla="*/ 697784 h 142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81216" h="1425600">
                <a:moveTo>
                  <a:pt x="4078785" y="0"/>
                </a:moveTo>
                <a:lnTo>
                  <a:pt x="4079317" y="0"/>
                </a:lnTo>
                <a:lnTo>
                  <a:pt x="4081216" y="1425600"/>
                </a:lnTo>
                <a:lnTo>
                  <a:pt x="6666" y="703055"/>
                </a:lnTo>
                <a:lnTo>
                  <a:pt x="0" y="698383"/>
                </a:lnTo>
                <a:lnTo>
                  <a:pt x="0" y="697784"/>
                </a:lnTo>
                <a:close/>
              </a:path>
            </a:pathLst>
          </a:custGeom>
          <a:solidFill>
            <a:srgbClr val="ECAD28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22" name="Text Placeholder 3"/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8798400" y="2735333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043092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515">
          <p15:clr>
            <a:srgbClr val="000000"/>
          </p15:clr>
        </p15:guide>
        <p15:guide id="3" pos="3833">
          <p15:clr>
            <a:srgbClr val="00000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tning 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Grey"/>
          <p:cNvSpPr>
            <a:spLocks/>
          </p:cNvSpPr>
          <p:nvPr userDrawn="1"/>
        </p:nvSpPr>
        <p:spPr bwMode="auto">
          <a:xfrm>
            <a:off x="4037726" y="6129302"/>
            <a:ext cx="8154276" cy="728490"/>
          </a:xfrm>
          <a:custGeom>
            <a:avLst/>
            <a:gdLst>
              <a:gd name="connsiteX0" fmla="*/ 3051740 w 6115707"/>
              <a:gd name="connsiteY0" fmla="*/ 0 h 541429"/>
              <a:gd name="connsiteX1" fmla="*/ 6115707 w 6115707"/>
              <a:gd name="connsiteY1" fmla="*/ 541429 h 541429"/>
              <a:gd name="connsiteX2" fmla="*/ 0 w 6115707"/>
              <a:gd name="connsiteY2" fmla="*/ 541429 h 541429"/>
              <a:gd name="connsiteX3" fmla="*/ 0 w 6115707"/>
              <a:gd name="connsiteY3" fmla="*/ 538966 h 5414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15707" h="541429">
                <a:moveTo>
                  <a:pt x="3051740" y="0"/>
                </a:moveTo>
                <a:lnTo>
                  <a:pt x="6115707" y="541429"/>
                </a:lnTo>
                <a:lnTo>
                  <a:pt x="0" y="541429"/>
                </a:lnTo>
                <a:lnTo>
                  <a:pt x="0" y="53896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a-DK" sz="1800" dirty="0"/>
          </a:p>
        </p:txBody>
      </p:sp>
      <p:sp>
        <p:nvSpPr>
          <p:cNvPr id="27" name="Picture Placeholder 2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7792 h 6858000"/>
              <a:gd name="connsiteX3" fmla="*/ 8106713 w 12192000"/>
              <a:gd name="connsiteY3" fmla="*/ 6129302 h 6858000"/>
              <a:gd name="connsiteX4" fmla="*/ 4037726 w 12192000"/>
              <a:gd name="connsiteY4" fmla="*/ 6854478 h 6858000"/>
              <a:gd name="connsiteX5" fmla="*/ 4037726 w 12192000"/>
              <a:gd name="connsiteY5" fmla="*/ 6857792 h 6858000"/>
              <a:gd name="connsiteX6" fmla="*/ 12192000 w 12192000"/>
              <a:gd name="connsiteY6" fmla="*/ 6857792 h 6858000"/>
              <a:gd name="connsiteX7" fmla="*/ 12192000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7792"/>
                </a:lnTo>
                <a:lnTo>
                  <a:pt x="8106713" y="6129302"/>
                </a:lnTo>
                <a:lnTo>
                  <a:pt x="4037726" y="6854478"/>
                </a:lnTo>
                <a:lnTo>
                  <a:pt x="4037726" y="6857792"/>
                </a:lnTo>
                <a:lnTo>
                  <a:pt x="12192000" y="6857792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504000" bIns="1044000" anchor="ctr" anchorCtr="0">
            <a:noAutofit/>
          </a:bodyPr>
          <a:lstStyle>
            <a:lvl1pPr algn="l">
              <a:defRPr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&lt;</a:t>
            </a:r>
            <a:endParaRPr lang="da-DK"/>
          </a:p>
        </p:txBody>
      </p: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>
          <a:xfrm>
            <a:off x="8113185" y="1455410"/>
            <a:ext cx="4082400" cy="4671791"/>
          </a:xfrm>
          <a:custGeom>
            <a:avLst/>
            <a:gdLst>
              <a:gd name="connsiteX0" fmla="*/ 4054602 w 4078815"/>
              <a:gd name="connsiteY0" fmla="*/ 0 h 4671791"/>
              <a:gd name="connsiteX1" fmla="*/ 4078815 w 4078815"/>
              <a:gd name="connsiteY1" fmla="*/ 0 h 4671791"/>
              <a:gd name="connsiteX2" fmla="*/ 4075382 w 4078815"/>
              <a:gd name="connsiteY2" fmla="*/ 3976900 h 4671791"/>
              <a:gd name="connsiteX3" fmla="*/ 13427 w 4078815"/>
              <a:gd name="connsiteY3" fmla="*/ 4671791 h 4671791"/>
              <a:gd name="connsiteX4" fmla="*/ 0 w 4078815"/>
              <a:gd name="connsiteY4" fmla="*/ 4671791 h 4671791"/>
              <a:gd name="connsiteX5" fmla="*/ 0 w 4078815"/>
              <a:gd name="connsiteY5" fmla="*/ 694290 h 4671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78815" h="4671791">
                <a:moveTo>
                  <a:pt x="4054602" y="0"/>
                </a:moveTo>
                <a:lnTo>
                  <a:pt x="4078815" y="0"/>
                </a:lnTo>
                <a:cubicBezTo>
                  <a:pt x="4077671" y="1325634"/>
                  <a:pt x="4076526" y="2651266"/>
                  <a:pt x="4075382" y="3976900"/>
                </a:cubicBezTo>
                <a:lnTo>
                  <a:pt x="13427" y="4671791"/>
                </a:lnTo>
                <a:lnTo>
                  <a:pt x="0" y="4671791"/>
                </a:lnTo>
                <a:lnTo>
                  <a:pt x="0" y="694290"/>
                </a:lnTo>
                <a:close/>
              </a:path>
            </a:pathLst>
          </a:custGeom>
          <a:solidFill>
            <a:schemeClr val="accent4">
              <a:alpha val="90000"/>
            </a:schemeClr>
          </a:solidFill>
        </p:spPr>
        <p:txBody>
          <a:bodyPr wrap="square" lIns="684000" tIns="2109600" rIns="684000" bIns="0" anchor="t" anchorCtr="0">
            <a:noAutofit/>
          </a:bodyPr>
          <a:lstStyle>
            <a:lvl1pPr>
              <a:lnSpc>
                <a:spcPct val="92000"/>
              </a:lnSpc>
              <a:defRPr sz="12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5" name="USR_Name"/>
          <p:cNvSpPr>
            <a:spLocks noGrp="1"/>
          </p:cNvSpPr>
          <p:nvPr>
            <p:ph type="body" sz="quarter" idx="17" hasCustomPrompt="1"/>
          </p:nvPr>
        </p:nvSpPr>
        <p:spPr>
          <a:xfrm>
            <a:off x="8109589" y="3780000"/>
            <a:ext cx="4078800" cy="407904"/>
          </a:xfrm>
        </p:spPr>
        <p:txBody>
          <a:bodyPr lIns="684000" rIns="684000" anchor="b" anchorCtr="0"/>
          <a:lstStyle>
            <a:lvl1pPr marL="0" indent="0">
              <a:lnSpc>
                <a:spcPct val="110000"/>
              </a:lnSpc>
              <a:spcBef>
                <a:spcPts val="0"/>
              </a:spcBef>
              <a:defRPr sz="1200" cap="all" baseline="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spcBef>
                <a:spcPts val="300"/>
              </a:spcBef>
              <a:defRPr sz="1200" cap="all" baseline="0"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spcBef>
                <a:spcPts val="300"/>
              </a:spcBef>
              <a:defRPr sz="1200" cap="all" baseline="0"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spcBef>
                <a:spcPts val="300"/>
              </a:spcBef>
              <a:defRPr sz="1200" cap="all" baseline="0"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spcBef>
                <a:spcPts val="300"/>
              </a:spcBef>
              <a:defRPr sz="1200" cap="all" baseline="0">
                <a:solidFill>
                  <a:schemeClr val="bg1"/>
                </a:solidFill>
              </a:defRPr>
            </a:lvl5pPr>
            <a:lvl6pPr marL="648000" indent="0">
              <a:lnSpc>
                <a:spcPct val="110000"/>
              </a:lnSpc>
              <a:spcBef>
                <a:spcPts val="300"/>
              </a:spcBef>
              <a:buNone/>
              <a:defRPr cap="all" baseline="0">
                <a:solidFill>
                  <a:schemeClr val="bg1"/>
                </a:solidFill>
              </a:defRPr>
            </a:lvl6pPr>
            <a:lvl7pPr>
              <a:lnSpc>
                <a:spcPct val="110000"/>
              </a:lnSpc>
              <a:spcBef>
                <a:spcPts val="300"/>
              </a:spcBef>
              <a:defRPr>
                <a:solidFill>
                  <a:schemeClr val="bg1"/>
                </a:solidFill>
              </a:defRPr>
            </a:lvl7pPr>
            <a:lvl8pPr>
              <a:lnSpc>
                <a:spcPct val="110000"/>
              </a:lnSpc>
              <a:spcBef>
                <a:spcPts val="300"/>
              </a:spcBef>
              <a:defRPr>
                <a:solidFill>
                  <a:schemeClr val="bg1"/>
                </a:solidFill>
              </a:defRPr>
            </a:lvl8pPr>
            <a:lvl9pPr>
              <a:lnSpc>
                <a:spcPct val="110000"/>
              </a:lnSpc>
              <a:spcBef>
                <a:spcPts val="300"/>
              </a:spcBef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/>
              <a:t>Henrik Hommelgaard</a:t>
            </a:r>
          </a:p>
        </p:txBody>
      </p:sp>
      <p:sp>
        <p:nvSpPr>
          <p:cNvPr id="8" name="USR_DirectPhone"/>
          <p:cNvSpPr>
            <a:spLocks noGrp="1"/>
          </p:cNvSpPr>
          <p:nvPr>
            <p:ph type="body" sz="quarter" idx="20" hasCustomPrompt="1"/>
          </p:nvPr>
        </p:nvSpPr>
        <p:spPr>
          <a:xfrm>
            <a:off x="8109588" y="4201200"/>
            <a:ext cx="4078816" cy="233567"/>
          </a:xfrm>
        </p:spPr>
        <p:txBody>
          <a:bodyPr lIns="684000" rIns="684000"/>
          <a:lstStyle>
            <a:lvl1pPr marL="0" indent="0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+45 2270 9213</a:t>
            </a:r>
          </a:p>
        </p:txBody>
      </p:sp>
      <p:sp>
        <p:nvSpPr>
          <p:cNvPr id="14" name="USR_Email"/>
          <p:cNvSpPr>
            <a:spLocks noGrp="1"/>
          </p:cNvSpPr>
          <p:nvPr>
            <p:ph type="body" sz="quarter" idx="21" hasCustomPrompt="1"/>
          </p:nvPr>
        </p:nvSpPr>
        <p:spPr>
          <a:xfrm>
            <a:off x="8109588" y="4413600"/>
            <a:ext cx="4078816" cy="233567"/>
          </a:xfrm>
        </p:spPr>
        <p:txBody>
          <a:bodyPr lIns="684000" rIns="684000"/>
          <a:lstStyle>
            <a:lvl1pPr marL="0" indent="0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heh@mth.dk</a:t>
            </a:r>
          </a:p>
        </p:txBody>
      </p:sp>
      <p:sp>
        <p:nvSpPr>
          <p:cNvPr id="15" name="OFF_name"/>
          <p:cNvSpPr>
            <a:spLocks noGrp="1"/>
          </p:cNvSpPr>
          <p:nvPr>
            <p:ph type="body" sz="quarter" idx="22" hasCustomPrompt="1"/>
          </p:nvPr>
        </p:nvSpPr>
        <p:spPr>
          <a:xfrm>
            <a:off x="8109588" y="4852800"/>
            <a:ext cx="4078816" cy="233567"/>
          </a:xfrm>
        </p:spPr>
        <p:txBody>
          <a:bodyPr lIns="684000" rIns="684000"/>
          <a:lstStyle>
            <a:lvl1pPr marL="0" indent="0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MT Højgaard A/S</a:t>
            </a:r>
          </a:p>
        </p:txBody>
      </p:sp>
      <p:sp>
        <p:nvSpPr>
          <p:cNvPr id="16" name="OFF_phone"/>
          <p:cNvSpPr>
            <a:spLocks noGrp="1"/>
          </p:cNvSpPr>
          <p:nvPr>
            <p:ph type="body" sz="quarter" idx="23" hasCustomPrompt="1"/>
          </p:nvPr>
        </p:nvSpPr>
        <p:spPr>
          <a:xfrm>
            <a:off x="8109588" y="5061600"/>
            <a:ext cx="4078816" cy="233567"/>
          </a:xfrm>
        </p:spPr>
        <p:txBody>
          <a:bodyPr lIns="684000" rIns="684000"/>
          <a:lstStyle>
            <a:lvl1pPr marL="0" indent="0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+45 7012 2400</a:t>
            </a:r>
          </a:p>
        </p:txBody>
      </p:sp>
      <p:sp>
        <p:nvSpPr>
          <p:cNvPr id="17" name="OFF_web"/>
          <p:cNvSpPr>
            <a:spLocks noGrp="1"/>
          </p:cNvSpPr>
          <p:nvPr>
            <p:ph type="body" sz="quarter" idx="24" hasCustomPrompt="1"/>
          </p:nvPr>
        </p:nvSpPr>
        <p:spPr>
          <a:xfrm>
            <a:off x="8109588" y="5274000"/>
            <a:ext cx="4078816" cy="233567"/>
          </a:xfrm>
        </p:spPr>
        <p:txBody>
          <a:bodyPr lIns="684000" rIns="684000"/>
          <a:lstStyle>
            <a:lvl1pPr marL="0" indent="0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mth.dk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25" hasCustomPrompt="1"/>
          </p:nvPr>
        </p:nvSpPr>
        <p:spPr>
          <a:xfrm>
            <a:off x="8114400" y="5432400"/>
            <a:ext cx="4081216" cy="1425600"/>
          </a:xfrm>
          <a:custGeom>
            <a:avLst/>
            <a:gdLst>
              <a:gd name="connsiteX0" fmla="*/ 4078785 w 4081216"/>
              <a:gd name="connsiteY0" fmla="*/ 0 h 1425600"/>
              <a:gd name="connsiteX1" fmla="*/ 4079317 w 4081216"/>
              <a:gd name="connsiteY1" fmla="*/ 0 h 1425600"/>
              <a:gd name="connsiteX2" fmla="*/ 4081216 w 4081216"/>
              <a:gd name="connsiteY2" fmla="*/ 1425600 h 1425600"/>
              <a:gd name="connsiteX3" fmla="*/ 6666 w 4081216"/>
              <a:gd name="connsiteY3" fmla="*/ 703055 h 1425600"/>
              <a:gd name="connsiteX4" fmla="*/ 0 w 4081216"/>
              <a:gd name="connsiteY4" fmla="*/ 698383 h 1425600"/>
              <a:gd name="connsiteX5" fmla="*/ 0 w 4081216"/>
              <a:gd name="connsiteY5" fmla="*/ 697784 h 142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81216" h="1425600">
                <a:moveTo>
                  <a:pt x="4078785" y="0"/>
                </a:moveTo>
                <a:lnTo>
                  <a:pt x="4079317" y="0"/>
                </a:lnTo>
                <a:lnTo>
                  <a:pt x="4081216" y="1425600"/>
                </a:lnTo>
                <a:lnTo>
                  <a:pt x="6666" y="703055"/>
                </a:lnTo>
                <a:lnTo>
                  <a:pt x="0" y="698383"/>
                </a:lnTo>
                <a:lnTo>
                  <a:pt x="0" y="697784"/>
                </a:lnTo>
                <a:close/>
              </a:path>
            </a:pathLst>
          </a:custGeom>
          <a:solidFill>
            <a:srgbClr val="EB4430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22" name="Text Placeholder 3"/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8798400" y="2735333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797823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515">
          <p15:clr>
            <a:srgbClr val="000000"/>
          </p15:clr>
        </p15:guide>
        <p15:guide id="3" pos="3833">
          <p15:clr>
            <a:srgbClr val="00000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a-DK" dirty="0"/>
              <a:t>Klik, og tilføj titel</a:t>
            </a:r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a-DK"/>
              <a:t>29. august 2019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19214649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iasnumm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" name="Date_DateCustomA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a-DK"/>
              <a:t>29. august 2019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03493651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unktopstilling /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675630" y="1324212"/>
            <a:ext cx="9803458" cy="900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Klik, og tilføj overskrift i maksimum to linj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84000" y="2553539"/>
            <a:ext cx="9795088" cy="33027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Klik her for at tilføje teks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/>
          </a:p>
          <a:p>
            <a:pPr lvl="2"/>
            <a:r>
              <a:rPr lang="en-GB" noProof="0"/>
              <a:t>Third level</a:t>
            </a:r>
            <a:endParaRPr lang="en-GB"/>
          </a:p>
          <a:p>
            <a:pPr lvl="3"/>
            <a:r>
              <a:rPr lang="en-GB" noProof="0"/>
              <a:t>Fourth level</a:t>
            </a:r>
            <a:endParaRPr lang="en-GB"/>
          </a:p>
          <a:p>
            <a:pPr lvl="4"/>
            <a:r>
              <a:rPr lang="en-GB" noProof="0"/>
              <a:t>Fifth level</a:t>
            </a:r>
            <a:endParaRPr lang="en-GB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noProof="0"/>
              <a:t>29. august 2019</a:t>
            </a:r>
            <a:endParaRPr lang="en-GB" noProof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‹nr.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68033510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rojektoversig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billede 5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83300" cy="6858000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3" name="Pladsholder til dias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EC89C-17A0-4E64-A6D2-B825673CEEDF}" type="slidenum">
              <a:rPr lang="da-DK"/>
              <a:pPr/>
              <a:t>‹nr.›</a:t>
            </a:fld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8" name="Pladsholder til billede 7"/>
          <p:cNvSpPr>
            <a:spLocks noGrp="1"/>
          </p:cNvSpPr>
          <p:nvPr>
            <p:ph type="pic" sz="quarter" idx="13"/>
          </p:nvPr>
        </p:nvSpPr>
        <p:spPr>
          <a:xfrm>
            <a:off x="6083299" y="0"/>
            <a:ext cx="3368675" cy="3032956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9" name="Pladsholder til billede 7"/>
          <p:cNvSpPr>
            <a:spLocks noGrp="1"/>
          </p:cNvSpPr>
          <p:nvPr>
            <p:ph type="pic" sz="quarter" idx="14"/>
          </p:nvPr>
        </p:nvSpPr>
        <p:spPr>
          <a:xfrm>
            <a:off x="6083299" y="3032956"/>
            <a:ext cx="3368675" cy="3825044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10" name="Pladsholder til billede 7"/>
          <p:cNvSpPr>
            <a:spLocks noGrp="1"/>
          </p:cNvSpPr>
          <p:nvPr>
            <p:ph type="pic" sz="quarter" idx="15"/>
          </p:nvPr>
        </p:nvSpPr>
        <p:spPr>
          <a:xfrm>
            <a:off x="9451974" y="0"/>
            <a:ext cx="2740025" cy="4114988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11" name="Pladsholder til billede 7"/>
          <p:cNvSpPr>
            <a:spLocks noGrp="1"/>
          </p:cNvSpPr>
          <p:nvPr>
            <p:ph type="pic" sz="quarter" idx="16"/>
          </p:nvPr>
        </p:nvSpPr>
        <p:spPr>
          <a:xfrm>
            <a:off x="9451974" y="4113076"/>
            <a:ext cx="2740025" cy="2744924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7" hasCustomPrompt="1"/>
          </p:nvPr>
        </p:nvSpPr>
        <p:spPr>
          <a:xfrm>
            <a:off x="684213" y="6308427"/>
            <a:ext cx="2160587" cy="2889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5pPr>
              <a:defRPr/>
            </a:lvl5pPr>
          </a:lstStyle>
          <a:p>
            <a:pPr lvl="0"/>
            <a:r>
              <a:rPr lang="da-DK"/>
              <a:t>Projektnavn</a:t>
            </a:r>
          </a:p>
        </p:txBody>
      </p:sp>
      <p:sp>
        <p:nvSpPr>
          <p:cNvPr id="14" name="Pladsholder til tekst 12"/>
          <p:cNvSpPr>
            <a:spLocks noGrp="1"/>
          </p:cNvSpPr>
          <p:nvPr>
            <p:ph type="body" sz="quarter" idx="18" hasCustomPrompt="1"/>
          </p:nvPr>
        </p:nvSpPr>
        <p:spPr>
          <a:xfrm>
            <a:off x="6312024" y="6308427"/>
            <a:ext cx="2160587" cy="2889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5pPr>
              <a:defRPr/>
            </a:lvl5pPr>
          </a:lstStyle>
          <a:p>
            <a:pPr lvl="0"/>
            <a:r>
              <a:rPr lang="da-DK"/>
              <a:t>Projektnavn</a:t>
            </a:r>
          </a:p>
        </p:txBody>
      </p:sp>
      <p:sp>
        <p:nvSpPr>
          <p:cNvPr id="15" name="Pladsholder til tekst 12"/>
          <p:cNvSpPr>
            <a:spLocks noGrp="1"/>
          </p:cNvSpPr>
          <p:nvPr>
            <p:ph type="body" sz="quarter" idx="19" hasCustomPrompt="1"/>
          </p:nvPr>
        </p:nvSpPr>
        <p:spPr>
          <a:xfrm>
            <a:off x="9660049" y="6308427"/>
            <a:ext cx="2160587" cy="2889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5pPr>
              <a:defRPr/>
            </a:lvl5pPr>
          </a:lstStyle>
          <a:p>
            <a:pPr lvl="0"/>
            <a:r>
              <a:rPr lang="da-DK"/>
              <a:t>Projektnavn</a:t>
            </a:r>
          </a:p>
        </p:txBody>
      </p:sp>
      <p:sp>
        <p:nvSpPr>
          <p:cNvPr id="16" name="Pladsholder til tekst 12"/>
          <p:cNvSpPr>
            <a:spLocks noGrp="1"/>
          </p:cNvSpPr>
          <p:nvPr>
            <p:ph type="body" sz="quarter" idx="20" hasCustomPrompt="1"/>
          </p:nvPr>
        </p:nvSpPr>
        <p:spPr>
          <a:xfrm>
            <a:off x="6312024" y="2492003"/>
            <a:ext cx="2160587" cy="2889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5pPr>
              <a:defRPr/>
            </a:lvl5pPr>
          </a:lstStyle>
          <a:p>
            <a:pPr lvl="0"/>
            <a:r>
              <a:rPr lang="da-DK"/>
              <a:t>Projektnavn</a:t>
            </a:r>
          </a:p>
        </p:txBody>
      </p:sp>
      <p:sp>
        <p:nvSpPr>
          <p:cNvPr id="17" name="Pladsholder til tekst 12"/>
          <p:cNvSpPr>
            <a:spLocks noGrp="1"/>
          </p:cNvSpPr>
          <p:nvPr>
            <p:ph type="body" sz="quarter" idx="21" hasCustomPrompt="1"/>
          </p:nvPr>
        </p:nvSpPr>
        <p:spPr>
          <a:xfrm>
            <a:off x="9660049" y="3608127"/>
            <a:ext cx="2160587" cy="2889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5pPr>
              <a:defRPr/>
            </a:lvl5pPr>
          </a:lstStyle>
          <a:p>
            <a:pPr lvl="0"/>
            <a:r>
              <a:rPr lang="da-DK"/>
              <a:t>Projektnavn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684213" y="4806134"/>
            <a:ext cx="3337657" cy="999354"/>
          </a:xfrm>
          <a:solidFill>
            <a:schemeClr val="accent2">
              <a:alpha val="90000"/>
            </a:schemeClr>
          </a:solidFill>
        </p:spPr>
        <p:txBody>
          <a:bodyPr wrap="square" lIns="342000" tIns="342000" rIns="342000" bIns="342000" anchor="b" anchorCtr="0">
            <a:spAutoFit/>
          </a:bodyPr>
          <a:lstStyle>
            <a:lvl1pPr marL="0" indent="0">
              <a:lnSpc>
                <a:spcPct val="118000"/>
              </a:lnSpc>
              <a:spcBef>
                <a:spcPts val="0"/>
              </a:spcBef>
              <a:defRPr sz="1700" b="1">
                <a:solidFill>
                  <a:schemeClr val="bg1"/>
                </a:solidFill>
              </a:defRPr>
            </a:lvl1pPr>
            <a:lvl2pPr>
              <a:lnSpc>
                <a:spcPct val="118000"/>
              </a:lnSpc>
              <a:spcBef>
                <a:spcPts val="300"/>
              </a:spcBef>
              <a:defRPr sz="1200">
                <a:solidFill>
                  <a:schemeClr val="bg1"/>
                </a:solidFill>
              </a:defRPr>
            </a:lvl2pPr>
            <a:lvl3pPr marL="324000">
              <a:lnSpc>
                <a:spcPct val="118000"/>
              </a:lnSpc>
              <a:spcBef>
                <a:spcPts val="300"/>
              </a:spcBef>
              <a:defRPr sz="1200">
                <a:solidFill>
                  <a:schemeClr val="bg1"/>
                </a:solidFill>
              </a:defRPr>
            </a:lvl3pPr>
            <a:lvl4pPr marL="360000">
              <a:lnSpc>
                <a:spcPct val="118000"/>
              </a:lnSpc>
              <a:spcBef>
                <a:spcPts val="300"/>
              </a:spcBef>
              <a:defRPr sz="1200">
                <a:solidFill>
                  <a:schemeClr val="bg1"/>
                </a:solidFill>
              </a:defRPr>
            </a:lvl4pPr>
            <a:lvl5pPr marL="360000">
              <a:lnSpc>
                <a:spcPct val="118000"/>
              </a:lnSpc>
              <a:spcBef>
                <a:spcPts val="300"/>
              </a:spcBef>
              <a:defRPr sz="1200">
                <a:solidFill>
                  <a:schemeClr val="bg1"/>
                </a:solidFill>
              </a:defRPr>
            </a:lvl5pPr>
            <a:lvl6pPr marL="252000" indent="0">
              <a:lnSpc>
                <a:spcPct val="110000"/>
              </a:lnSpc>
              <a:spcBef>
                <a:spcPts val="300"/>
              </a:spcBef>
              <a:buNone/>
              <a:defRPr sz="1000">
                <a:solidFill>
                  <a:schemeClr val="bg1"/>
                </a:solidFill>
              </a:defRPr>
            </a:lvl6pPr>
            <a:lvl7pPr marL="360000">
              <a:lnSpc>
                <a:spcPct val="110000"/>
              </a:lnSpc>
              <a:spcBef>
                <a:spcPts val="300"/>
              </a:spcBef>
              <a:defRPr sz="1000">
                <a:solidFill>
                  <a:schemeClr val="bg1"/>
                </a:solidFill>
              </a:defRPr>
            </a:lvl7pPr>
            <a:lvl8pPr marL="360000">
              <a:lnSpc>
                <a:spcPct val="110000"/>
              </a:lnSpc>
              <a:spcBef>
                <a:spcPts val="300"/>
              </a:spcBef>
              <a:defRPr sz="1000">
                <a:solidFill>
                  <a:schemeClr val="bg1"/>
                </a:solidFill>
              </a:defRPr>
            </a:lvl8pPr>
            <a:lvl9pPr marL="360000">
              <a:lnSpc>
                <a:spcPct val="110000"/>
              </a:lnSpc>
              <a:spcBef>
                <a:spcPts val="300"/>
              </a:spcBef>
              <a:defRPr sz="1000">
                <a:solidFill>
                  <a:schemeClr val="bg1"/>
                </a:solidFill>
              </a:defRPr>
            </a:lvl9pPr>
          </a:lstStyle>
          <a:p>
            <a:pPr lvl="0"/>
            <a:r>
              <a:rPr lang="da-DK"/>
              <a:t>Referencer for …</a:t>
            </a:r>
            <a:endParaRPr lang="da-DK" dirty="0"/>
          </a:p>
        </p:txBody>
      </p:sp>
      <p:sp>
        <p:nvSpPr>
          <p:cNvPr id="19" name="Text Placeholder 3"/>
          <p:cNvSpPr>
            <a:spLocks noGrp="1" noChangeAspect="1"/>
          </p:cNvSpPr>
          <p:nvPr>
            <p:ph type="body" sz="quarter" idx="23" hasCustomPrompt="1"/>
          </p:nvPr>
        </p:nvSpPr>
        <p:spPr>
          <a:xfrm>
            <a:off x="684000" y="345600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6075992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o tekst /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Klik, og tilføj overskrift i maksimum to linj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82625" y="2552400"/>
            <a:ext cx="5072063" cy="33038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Klik her for at tilføje teks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37312" y="2552400"/>
            <a:ext cx="5067301" cy="33038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Klik her for at tilføje teks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/>
              <a:t>29. august 2019</a:t>
            </a:r>
            <a:endParaRPr lang="en-GB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6437313" y="403550"/>
            <a:ext cx="4041774" cy="146519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62817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C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BEBEC"/>
          </a:solidFill>
          <a:ln w="3175">
            <a:noFill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4000"/>
              </a:lnSpc>
            </a:pPr>
            <a:endParaRPr lang="da-DK" sz="1800" dirty="0" err="1"/>
          </a:p>
        </p:txBody>
      </p:sp>
      <p:grpSp>
        <p:nvGrpSpPr>
          <p:cNvPr id="121" name="Lines"/>
          <p:cNvGrpSpPr/>
          <p:nvPr userDrawn="1"/>
        </p:nvGrpSpPr>
        <p:grpSpPr>
          <a:xfrm>
            <a:off x="-792" y="0"/>
            <a:ext cx="12298271" cy="6161964"/>
            <a:chOff x="-792" y="0"/>
            <a:chExt cx="12298271" cy="6161964"/>
          </a:xfrm>
        </p:grpSpPr>
        <p:sp>
          <p:nvSpPr>
            <p:cNvPr id="108" name="Freeform: Shape 107"/>
            <p:cNvSpPr>
              <a:spLocks/>
            </p:cNvSpPr>
            <p:nvPr userDrawn="1"/>
          </p:nvSpPr>
          <p:spPr bwMode="auto">
            <a:xfrm>
              <a:off x="5971967" y="0"/>
              <a:ext cx="6221233" cy="2661061"/>
            </a:xfrm>
            <a:custGeom>
              <a:avLst/>
              <a:gdLst>
                <a:gd name="connsiteX0" fmla="*/ 0 w 6221233"/>
                <a:gd name="connsiteY0" fmla="*/ 0 h 2661061"/>
                <a:gd name="connsiteX1" fmla="*/ 38482 w 6221233"/>
                <a:gd name="connsiteY1" fmla="*/ 0 h 2661061"/>
                <a:gd name="connsiteX2" fmla="*/ 6221233 w 6221233"/>
                <a:gd name="connsiteY2" fmla="*/ 2645019 h 2661061"/>
                <a:gd name="connsiteX3" fmla="*/ 6221233 w 6221233"/>
                <a:gd name="connsiteY3" fmla="*/ 2661061 h 2661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21233" h="2661061">
                  <a:moveTo>
                    <a:pt x="0" y="0"/>
                  </a:moveTo>
                  <a:lnTo>
                    <a:pt x="38482" y="0"/>
                  </a:lnTo>
                  <a:lnTo>
                    <a:pt x="6221233" y="2645019"/>
                  </a:lnTo>
                  <a:lnTo>
                    <a:pt x="6221233" y="2661061"/>
                  </a:lnTo>
                  <a:close/>
                </a:path>
              </a:pathLst>
            </a:custGeom>
            <a:solidFill>
              <a:srgbClr val="C1C3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06" name="Freeform: Shape 105"/>
            <p:cNvSpPr>
              <a:spLocks/>
            </p:cNvSpPr>
            <p:nvPr userDrawn="1"/>
          </p:nvSpPr>
          <p:spPr bwMode="auto">
            <a:xfrm>
              <a:off x="6239739" y="1"/>
              <a:ext cx="5953461" cy="2457299"/>
            </a:xfrm>
            <a:custGeom>
              <a:avLst/>
              <a:gdLst>
                <a:gd name="connsiteX0" fmla="*/ 0 w 5953461"/>
                <a:gd name="connsiteY0" fmla="*/ 0 h 2457299"/>
                <a:gd name="connsiteX1" fmla="*/ 36593 w 5953461"/>
                <a:gd name="connsiteY1" fmla="*/ 0 h 2457299"/>
                <a:gd name="connsiteX2" fmla="*/ 1445423 w 5953461"/>
                <a:gd name="connsiteY2" fmla="*/ 637927 h 2457299"/>
                <a:gd name="connsiteX3" fmla="*/ 2689583 w 5953461"/>
                <a:gd name="connsiteY3" fmla="*/ 1109504 h 2457299"/>
                <a:gd name="connsiteX4" fmla="*/ 3712662 w 5953461"/>
                <a:gd name="connsiteY4" fmla="*/ 1489513 h 2457299"/>
                <a:gd name="connsiteX5" fmla="*/ 5925012 w 5953461"/>
                <a:gd name="connsiteY5" fmla="*/ 2428089 h 2457299"/>
                <a:gd name="connsiteX6" fmla="*/ 5953461 w 5953461"/>
                <a:gd name="connsiteY6" fmla="*/ 2440341 h 2457299"/>
                <a:gd name="connsiteX7" fmla="*/ 5953461 w 5953461"/>
                <a:gd name="connsiteY7" fmla="*/ 2457299 h 2457299"/>
                <a:gd name="connsiteX8" fmla="*/ 5917389 w 5953461"/>
                <a:gd name="connsiteY8" fmla="*/ 2441825 h 2457299"/>
                <a:gd name="connsiteX9" fmla="*/ 3706563 w 5953461"/>
                <a:gd name="connsiteY9" fmla="*/ 1503248 h 2457299"/>
                <a:gd name="connsiteX10" fmla="*/ 2685009 w 5953461"/>
                <a:gd name="connsiteY10" fmla="*/ 1124765 h 2457299"/>
                <a:gd name="connsiteX11" fmla="*/ 1439324 w 5953461"/>
                <a:gd name="connsiteY11" fmla="*/ 651662 h 2457299"/>
                <a:gd name="connsiteX12" fmla="*/ 0 w 5953461"/>
                <a:gd name="connsiteY12" fmla="*/ 0 h 2457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3461" h="2457299">
                  <a:moveTo>
                    <a:pt x="0" y="0"/>
                  </a:moveTo>
                  <a:cubicBezTo>
                    <a:pt x="0" y="0"/>
                    <a:pt x="0" y="0"/>
                    <a:pt x="36593" y="0"/>
                  </a:cubicBezTo>
                  <a:cubicBezTo>
                    <a:pt x="501629" y="218238"/>
                    <a:pt x="972763" y="436476"/>
                    <a:pt x="1445423" y="637927"/>
                  </a:cubicBezTo>
                  <a:cubicBezTo>
                    <a:pt x="1854044" y="811907"/>
                    <a:pt x="2279437" y="962995"/>
                    <a:pt x="2689583" y="1109504"/>
                  </a:cubicBezTo>
                  <a:cubicBezTo>
                    <a:pt x="3026544" y="1230069"/>
                    <a:pt x="3375702" y="1353687"/>
                    <a:pt x="3712662" y="1489513"/>
                  </a:cubicBezTo>
                  <a:cubicBezTo>
                    <a:pt x="4455195" y="1788637"/>
                    <a:pt x="5202301" y="2113704"/>
                    <a:pt x="5925012" y="2428089"/>
                  </a:cubicBezTo>
                  <a:lnTo>
                    <a:pt x="5953461" y="2440341"/>
                  </a:lnTo>
                  <a:lnTo>
                    <a:pt x="5953461" y="2457299"/>
                  </a:lnTo>
                  <a:lnTo>
                    <a:pt x="5917389" y="2441825"/>
                  </a:lnTo>
                  <a:cubicBezTo>
                    <a:pt x="5196202" y="2127440"/>
                    <a:pt x="4449095" y="1802372"/>
                    <a:pt x="3706563" y="1503248"/>
                  </a:cubicBezTo>
                  <a:cubicBezTo>
                    <a:pt x="3369603" y="1367422"/>
                    <a:pt x="3021970" y="1243805"/>
                    <a:pt x="2685009" y="1124765"/>
                  </a:cubicBezTo>
                  <a:cubicBezTo>
                    <a:pt x="2273339" y="978256"/>
                    <a:pt x="1847945" y="825642"/>
                    <a:pt x="1439324" y="651662"/>
                  </a:cubicBezTo>
                  <a:cubicBezTo>
                    <a:pt x="955992" y="445633"/>
                    <a:pt x="474184" y="222817"/>
                    <a:pt x="0" y="0"/>
                  </a:cubicBezTo>
                  <a:close/>
                </a:path>
              </a:pathLst>
            </a:custGeom>
            <a:solidFill>
              <a:srgbClr val="C1C3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04" name="Freeform: Shape 103"/>
            <p:cNvSpPr>
              <a:spLocks/>
            </p:cNvSpPr>
            <p:nvPr userDrawn="1"/>
          </p:nvSpPr>
          <p:spPr bwMode="auto">
            <a:xfrm>
              <a:off x="6472236" y="1"/>
              <a:ext cx="5720965" cy="2253309"/>
            </a:xfrm>
            <a:custGeom>
              <a:avLst/>
              <a:gdLst>
                <a:gd name="connsiteX0" fmla="*/ 0 w 5720965"/>
                <a:gd name="connsiteY0" fmla="*/ 0 h 2253309"/>
                <a:gd name="connsiteX1" fmla="*/ 35073 w 5720965"/>
                <a:gd name="connsiteY1" fmla="*/ 0 h 2253309"/>
                <a:gd name="connsiteX2" fmla="*/ 1262628 w 5720965"/>
                <a:gd name="connsiteY2" fmla="*/ 585870 h 2253309"/>
                <a:gd name="connsiteX3" fmla="*/ 2485607 w 5720965"/>
                <a:gd name="connsiteY3" fmla="*/ 985604 h 2253309"/>
                <a:gd name="connsiteX4" fmla="*/ 3551521 w 5720965"/>
                <a:gd name="connsiteY4" fmla="*/ 1319733 h 2253309"/>
                <a:gd name="connsiteX5" fmla="*/ 4660895 w 5720965"/>
                <a:gd name="connsiteY5" fmla="*/ 1774583 h 2253309"/>
                <a:gd name="connsiteX6" fmla="*/ 5720965 w 5720965"/>
                <a:gd name="connsiteY6" fmla="*/ 2235408 h 2253309"/>
                <a:gd name="connsiteX7" fmla="*/ 5720965 w 5720965"/>
                <a:gd name="connsiteY7" fmla="*/ 2253309 h 2253309"/>
                <a:gd name="connsiteX8" fmla="*/ 4654223 w 5720965"/>
                <a:gd name="connsiteY8" fmla="*/ 1789268 h 2253309"/>
                <a:gd name="connsiteX9" fmla="*/ 3545421 w 5720965"/>
                <a:gd name="connsiteY9" fmla="*/ 1334990 h 2253309"/>
                <a:gd name="connsiteX10" fmla="*/ 2481032 w 5720965"/>
                <a:gd name="connsiteY10" fmla="*/ 1000861 h 2253309"/>
                <a:gd name="connsiteX11" fmla="*/ 1256528 w 5720965"/>
                <a:gd name="connsiteY11" fmla="*/ 601127 h 2253309"/>
                <a:gd name="connsiteX12" fmla="*/ 0 w 5720965"/>
                <a:gd name="connsiteY12" fmla="*/ 0 h 2253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0965" h="2253309">
                  <a:moveTo>
                    <a:pt x="0" y="0"/>
                  </a:moveTo>
                  <a:cubicBezTo>
                    <a:pt x="0" y="0"/>
                    <a:pt x="0" y="0"/>
                    <a:pt x="35073" y="0"/>
                  </a:cubicBezTo>
                  <a:cubicBezTo>
                    <a:pt x="437650" y="207496"/>
                    <a:pt x="847851" y="408888"/>
                    <a:pt x="1262628" y="585870"/>
                  </a:cubicBezTo>
                  <a:cubicBezTo>
                    <a:pt x="1659105" y="755223"/>
                    <a:pt x="2079980" y="872702"/>
                    <a:pt x="2485607" y="985604"/>
                  </a:cubicBezTo>
                  <a:cubicBezTo>
                    <a:pt x="2837862" y="1083249"/>
                    <a:pt x="3202316" y="1185471"/>
                    <a:pt x="3551521" y="1319733"/>
                  </a:cubicBezTo>
                  <a:cubicBezTo>
                    <a:pt x="3922075" y="1463912"/>
                    <a:pt x="4293010" y="1617626"/>
                    <a:pt x="4660895" y="1774583"/>
                  </a:cubicBezTo>
                  <a:lnTo>
                    <a:pt x="5720965" y="2235408"/>
                  </a:lnTo>
                  <a:lnTo>
                    <a:pt x="5720965" y="2253309"/>
                  </a:lnTo>
                  <a:lnTo>
                    <a:pt x="4654223" y="1789268"/>
                  </a:lnTo>
                  <a:cubicBezTo>
                    <a:pt x="4286529" y="1632502"/>
                    <a:pt x="3915975" y="1479169"/>
                    <a:pt x="3545421" y="1334990"/>
                  </a:cubicBezTo>
                  <a:cubicBezTo>
                    <a:pt x="3197741" y="1200728"/>
                    <a:pt x="2833287" y="1098506"/>
                    <a:pt x="2481032" y="1000861"/>
                  </a:cubicBezTo>
                  <a:cubicBezTo>
                    <a:pt x="2073881" y="886433"/>
                    <a:pt x="1654530" y="770480"/>
                    <a:pt x="1256528" y="601127"/>
                  </a:cubicBezTo>
                  <a:cubicBezTo>
                    <a:pt x="831077" y="419568"/>
                    <a:pt x="411727" y="212073"/>
                    <a:pt x="0" y="0"/>
                  </a:cubicBezTo>
                  <a:close/>
                </a:path>
              </a:pathLst>
            </a:custGeom>
            <a:solidFill>
              <a:srgbClr val="C0C2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00" name="Freeform: Shape 99"/>
            <p:cNvSpPr>
              <a:spLocks/>
            </p:cNvSpPr>
            <p:nvPr userDrawn="1"/>
          </p:nvSpPr>
          <p:spPr bwMode="auto">
            <a:xfrm>
              <a:off x="6687094" y="0"/>
              <a:ext cx="5506106" cy="2050042"/>
            </a:xfrm>
            <a:custGeom>
              <a:avLst/>
              <a:gdLst>
                <a:gd name="connsiteX0" fmla="*/ 0 w 5506106"/>
                <a:gd name="connsiteY0" fmla="*/ 0 h 2050042"/>
                <a:gd name="connsiteX1" fmla="*/ 33549 w 5506106"/>
                <a:gd name="connsiteY1" fmla="*/ 0 h 2050042"/>
                <a:gd name="connsiteX2" fmla="*/ 1088817 w 5506106"/>
                <a:gd name="connsiteY2" fmla="*/ 523538 h 2050042"/>
                <a:gd name="connsiteX3" fmla="*/ 2314880 w 5506106"/>
                <a:gd name="connsiteY3" fmla="*/ 863914 h 2050042"/>
                <a:gd name="connsiteX4" fmla="*/ 3406747 w 5506106"/>
                <a:gd name="connsiteY4" fmla="*/ 1150867 h 2050042"/>
                <a:gd name="connsiteX5" fmla="*/ 4514436 w 5506106"/>
                <a:gd name="connsiteY5" fmla="*/ 1599041 h 2050042"/>
                <a:gd name="connsiteX6" fmla="*/ 5506106 w 5506106"/>
                <a:gd name="connsiteY6" fmla="*/ 2033522 h 2050042"/>
                <a:gd name="connsiteX7" fmla="*/ 5506106 w 5506106"/>
                <a:gd name="connsiteY7" fmla="*/ 2050042 h 2050042"/>
                <a:gd name="connsiteX8" fmla="*/ 4508336 w 5506106"/>
                <a:gd name="connsiteY8" fmla="*/ 1614114 h 2050042"/>
                <a:gd name="connsiteX9" fmla="*/ 3400648 w 5506106"/>
                <a:gd name="connsiteY9" fmla="*/ 1166131 h 2050042"/>
                <a:gd name="connsiteX10" fmla="*/ 2311830 w 5506106"/>
                <a:gd name="connsiteY10" fmla="*/ 879177 h 2050042"/>
                <a:gd name="connsiteX11" fmla="*/ 1082718 w 5506106"/>
                <a:gd name="connsiteY11" fmla="*/ 537275 h 2050042"/>
                <a:gd name="connsiteX12" fmla="*/ 0 w 5506106"/>
                <a:gd name="connsiteY12" fmla="*/ 0 h 2050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506106" h="2050042">
                  <a:moveTo>
                    <a:pt x="0" y="0"/>
                  </a:moveTo>
                  <a:cubicBezTo>
                    <a:pt x="0" y="0"/>
                    <a:pt x="0" y="0"/>
                    <a:pt x="33549" y="0"/>
                  </a:cubicBezTo>
                  <a:cubicBezTo>
                    <a:pt x="378189" y="189267"/>
                    <a:pt x="728928" y="369377"/>
                    <a:pt x="1088817" y="523538"/>
                  </a:cubicBezTo>
                  <a:cubicBezTo>
                    <a:pt x="1485305" y="691436"/>
                    <a:pt x="1906193" y="778438"/>
                    <a:pt x="2314880" y="863914"/>
                  </a:cubicBezTo>
                  <a:cubicBezTo>
                    <a:pt x="2676294" y="938705"/>
                    <a:pt x="3051433" y="1016548"/>
                    <a:pt x="3406747" y="1150867"/>
                  </a:cubicBezTo>
                  <a:cubicBezTo>
                    <a:pt x="3777311" y="1290528"/>
                    <a:pt x="4147494" y="1442400"/>
                    <a:pt x="4514436" y="1599041"/>
                  </a:cubicBezTo>
                  <a:lnTo>
                    <a:pt x="5506106" y="2033522"/>
                  </a:lnTo>
                  <a:lnTo>
                    <a:pt x="5506106" y="2050042"/>
                  </a:lnTo>
                  <a:lnTo>
                    <a:pt x="4508336" y="1614114"/>
                  </a:lnTo>
                  <a:cubicBezTo>
                    <a:pt x="4141394" y="1457663"/>
                    <a:pt x="3771211" y="1305792"/>
                    <a:pt x="3400648" y="1166131"/>
                  </a:cubicBezTo>
                  <a:cubicBezTo>
                    <a:pt x="3046858" y="1033338"/>
                    <a:pt x="2673244" y="955494"/>
                    <a:pt x="2311830" y="879177"/>
                  </a:cubicBezTo>
                  <a:cubicBezTo>
                    <a:pt x="1903143" y="795228"/>
                    <a:pt x="1479206" y="706700"/>
                    <a:pt x="1082718" y="537275"/>
                  </a:cubicBezTo>
                  <a:cubicBezTo>
                    <a:pt x="713679" y="380061"/>
                    <a:pt x="352265" y="195373"/>
                    <a:pt x="0" y="0"/>
                  </a:cubicBezTo>
                  <a:close/>
                </a:path>
              </a:pathLst>
            </a:custGeom>
            <a:solidFill>
              <a:srgbClr val="C0C2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02" name="Freeform: Shape 101"/>
            <p:cNvSpPr>
              <a:spLocks/>
            </p:cNvSpPr>
            <p:nvPr userDrawn="1"/>
          </p:nvSpPr>
          <p:spPr bwMode="auto">
            <a:xfrm>
              <a:off x="7019004" y="0"/>
              <a:ext cx="5174196" cy="1848116"/>
            </a:xfrm>
            <a:custGeom>
              <a:avLst/>
              <a:gdLst>
                <a:gd name="connsiteX0" fmla="*/ 0 w 5174196"/>
                <a:gd name="connsiteY0" fmla="*/ 0 h 1848116"/>
                <a:gd name="connsiteX1" fmla="*/ 35068 w 5174196"/>
                <a:gd name="connsiteY1" fmla="*/ 0 h 1848116"/>
                <a:gd name="connsiteX2" fmla="*/ 817222 w 5174196"/>
                <a:gd name="connsiteY2" fmla="*/ 378424 h 1848116"/>
                <a:gd name="connsiteX3" fmla="*/ 2050677 w 5174196"/>
                <a:gd name="connsiteY3" fmla="*/ 708019 h 1848116"/>
                <a:gd name="connsiteX4" fmla="*/ 3146913 w 5174196"/>
                <a:gd name="connsiteY4" fmla="*/ 982682 h 1848116"/>
                <a:gd name="connsiteX5" fmla="*/ 4752602 w 5174196"/>
                <a:gd name="connsiteY5" fmla="*/ 1642730 h 1848116"/>
                <a:gd name="connsiteX6" fmla="*/ 5174196 w 5174196"/>
                <a:gd name="connsiteY6" fmla="*/ 1829780 h 1848116"/>
                <a:gd name="connsiteX7" fmla="*/ 5174196 w 5174196"/>
                <a:gd name="connsiteY7" fmla="*/ 1848116 h 1848116"/>
                <a:gd name="connsiteX8" fmla="*/ 4751244 w 5174196"/>
                <a:gd name="connsiteY8" fmla="*/ 1660564 h 1848116"/>
                <a:gd name="connsiteX9" fmla="*/ 3142339 w 5174196"/>
                <a:gd name="connsiteY9" fmla="*/ 997941 h 1848116"/>
                <a:gd name="connsiteX10" fmla="*/ 2047628 w 5174196"/>
                <a:gd name="connsiteY10" fmla="*/ 724804 h 1848116"/>
                <a:gd name="connsiteX11" fmla="*/ 811123 w 5174196"/>
                <a:gd name="connsiteY11" fmla="*/ 393683 h 1848116"/>
                <a:gd name="connsiteX12" fmla="*/ 0 w 5174196"/>
                <a:gd name="connsiteY12" fmla="*/ 0 h 1848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4196" h="1848116">
                  <a:moveTo>
                    <a:pt x="0" y="0"/>
                  </a:moveTo>
                  <a:cubicBezTo>
                    <a:pt x="0" y="0"/>
                    <a:pt x="0" y="0"/>
                    <a:pt x="35068" y="0"/>
                  </a:cubicBezTo>
                  <a:cubicBezTo>
                    <a:pt x="291212" y="135805"/>
                    <a:pt x="551930" y="265507"/>
                    <a:pt x="817222" y="378424"/>
                  </a:cubicBezTo>
                  <a:cubicBezTo>
                    <a:pt x="1215160" y="547799"/>
                    <a:pt x="1640542" y="628672"/>
                    <a:pt x="2050677" y="708019"/>
                  </a:cubicBezTo>
                  <a:cubicBezTo>
                    <a:pt x="2415073" y="778211"/>
                    <a:pt x="2791666" y="849928"/>
                    <a:pt x="3146913" y="982682"/>
                  </a:cubicBezTo>
                  <a:cubicBezTo>
                    <a:pt x="3686645" y="1182957"/>
                    <a:pt x="4224662" y="1410698"/>
                    <a:pt x="4752602" y="1642730"/>
                  </a:cubicBezTo>
                  <a:lnTo>
                    <a:pt x="5174196" y="1829780"/>
                  </a:lnTo>
                  <a:lnTo>
                    <a:pt x="5174196" y="1848116"/>
                  </a:lnTo>
                  <a:lnTo>
                    <a:pt x="4751244" y="1660564"/>
                  </a:lnTo>
                  <a:cubicBezTo>
                    <a:pt x="4221803" y="1427673"/>
                    <a:pt x="3682071" y="1198216"/>
                    <a:pt x="3142339" y="997941"/>
                  </a:cubicBezTo>
                  <a:cubicBezTo>
                    <a:pt x="2787092" y="865187"/>
                    <a:pt x="2410499" y="793470"/>
                    <a:pt x="2047628" y="724804"/>
                  </a:cubicBezTo>
                  <a:cubicBezTo>
                    <a:pt x="1635968" y="645457"/>
                    <a:pt x="1209061" y="563058"/>
                    <a:pt x="811123" y="393683"/>
                  </a:cubicBezTo>
                  <a:cubicBezTo>
                    <a:pt x="535158" y="276189"/>
                    <a:pt x="265292" y="141909"/>
                    <a:pt x="0" y="0"/>
                  </a:cubicBezTo>
                  <a:close/>
                </a:path>
              </a:pathLst>
            </a:custGeom>
            <a:solidFill>
              <a:srgbClr val="BFC1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98" name="Freeform: Shape 97"/>
            <p:cNvSpPr>
              <a:spLocks/>
            </p:cNvSpPr>
            <p:nvPr userDrawn="1"/>
          </p:nvSpPr>
          <p:spPr bwMode="auto">
            <a:xfrm>
              <a:off x="7431084" y="1"/>
              <a:ext cx="4762117" cy="1646199"/>
            </a:xfrm>
            <a:custGeom>
              <a:avLst/>
              <a:gdLst>
                <a:gd name="connsiteX0" fmla="*/ 0 w 4762117"/>
                <a:gd name="connsiteY0" fmla="*/ 0 h 1646199"/>
                <a:gd name="connsiteX1" fmla="*/ 38126 w 4762117"/>
                <a:gd name="connsiteY1" fmla="*/ 0 h 1646199"/>
                <a:gd name="connsiteX2" fmla="*/ 465129 w 4762117"/>
                <a:gd name="connsiteY2" fmla="*/ 195245 h 1646199"/>
                <a:gd name="connsiteX3" fmla="*/ 1711065 w 4762117"/>
                <a:gd name="connsiteY3" fmla="*/ 533873 h 1646199"/>
                <a:gd name="connsiteX4" fmla="*/ 2807549 w 4762117"/>
                <a:gd name="connsiteY4" fmla="*/ 813012 h 1646199"/>
                <a:gd name="connsiteX5" fmla="*/ 4357844 w 4762117"/>
                <a:gd name="connsiteY5" fmla="*/ 1449012 h 1646199"/>
                <a:gd name="connsiteX6" fmla="*/ 4762117 w 4762117"/>
                <a:gd name="connsiteY6" fmla="*/ 1627882 h 1646199"/>
                <a:gd name="connsiteX7" fmla="*/ 4762117 w 4762117"/>
                <a:gd name="connsiteY7" fmla="*/ 1646199 h 1646199"/>
                <a:gd name="connsiteX8" fmla="*/ 4356677 w 4762117"/>
                <a:gd name="connsiteY8" fmla="*/ 1466863 h 1646199"/>
                <a:gd name="connsiteX9" fmla="*/ 2801449 w 4762117"/>
                <a:gd name="connsiteY9" fmla="*/ 829791 h 1646199"/>
                <a:gd name="connsiteX10" fmla="*/ 1706490 w 4762117"/>
                <a:gd name="connsiteY10" fmla="*/ 550652 h 1646199"/>
                <a:gd name="connsiteX11" fmla="*/ 457504 w 4762117"/>
                <a:gd name="connsiteY11" fmla="*/ 210499 h 1646199"/>
                <a:gd name="connsiteX12" fmla="*/ 0 w 4762117"/>
                <a:gd name="connsiteY12" fmla="*/ 0 h 1646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762117" h="1646199">
                  <a:moveTo>
                    <a:pt x="0" y="0"/>
                  </a:moveTo>
                  <a:cubicBezTo>
                    <a:pt x="0" y="0"/>
                    <a:pt x="0" y="0"/>
                    <a:pt x="38126" y="0"/>
                  </a:cubicBezTo>
                  <a:cubicBezTo>
                    <a:pt x="178427" y="68641"/>
                    <a:pt x="320253" y="134231"/>
                    <a:pt x="465129" y="195245"/>
                  </a:cubicBezTo>
                  <a:cubicBezTo>
                    <a:pt x="866208" y="366084"/>
                    <a:pt x="1294736" y="451504"/>
                    <a:pt x="1711065" y="533873"/>
                  </a:cubicBezTo>
                  <a:cubicBezTo>
                    <a:pt x="2074018" y="607090"/>
                    <a:pt x="2450696" y="681832"/>
                    <a:pt x="2807549" y="813012"/>
                  </a:cubicBezTo>
                  <a:cubicBezTo>
                    <a:pt x="3327960" y="1006350"/>
                    <a:pt x="3847513" y="1225429"/>
                    <a:pt x="4357844" y="1449012"/>
                  </a:cubicBezTo>
                  <a:lnTo>
                    <a:pt x="4762117" y="1627882"/>
                  </a:lnTo>
                  <a:lnTo>
                    <a:pt x="4762117" y="1646199"/>
                  </a:lnTo>
                  <a:lnTo>
                    <a:pt x="4356677" y="1466863"/>
                  </a:lnTo>
                  <a:cubicBezTo>
                    <a:pt x="3845130" y="1242494"/>
                    <a:pt x="3324147" y="1021985"/>
                    <a:pt x="2801449" y="829791"/>
                  </a:cubicBezTo>
                  <a:cubicBezTo>
                    <a:pt x="2446121" y="697085"/>
                    <a:pt x="2070968" y="622343"/>
                    <a:pt x="1706490" y="550652"/>
                  </a:cubicBezTo>
                  <a:cubicBezTo>
                    <a:pt x="1290161" y="468283"/>
                    <a:pt x="860108" y="381338"/>
                    <a:pt x="457504" y="210499"/>
                  </a:cubicBezTo>
                  <a:cubicBezTo>
                    <a:pt x="303478" y="144908"/>
                    <a:pt x="150977" y="74742"/>
                    <a:pt x="0" y="0"/>
                  </a:cubicBezTo>
                  <a:close/>
                </a:path>
              </a:pathLst>
            </a:custGeom>
            <a:solidFill>
              <a:srgbClr val="BFC1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96" name="Freeform: Shape 95"/>
            <p:cNvSpPr>
              <a:spLocks/>
            </p:cNvSpPr>
            <p:nvPr userDrawn="1"/>
          </p:nvSpPr>
          <p:spPr bwMode="auto">
            <a:xfrm>
              <a:off x="7897682" y="0"/>
              <a:ext cx="4295519" cy="1446479"/>
            </a:xfrm>
            <a:custGeom>
              <a:avLst/>
              <a:gdLst>
                <a:gd name="connsiteX0" fmla="*/ 0 w 4295519"/>
                <a:gd name="connsiteY0" fmla="*/ 0 h 1446479"/>
                <a:gd name="connsiteX1" fmla="*/ 42701 w 4295519"/>
                <a:gd name="connsiteY1" fmla="*/ 0 h 1446479"/>
                <a:gd name="connsiteX2" fmla="*/ 50326 w 4295519"/>
                <a:gd name="connsiteY2" fmla="*/ 3053 h 1446479"/>
                <a:gd name="connsiteX3" fmla="*/ 1310004 w 4295519"/>
                <a:gd name="connsiteY3" fmla="*/ 355626 h 1446479"/>
                <a:gd name="connsiteX4" fmla="*/ 2414128 w 4295519"/>
                <a:gd name="connsiteY4" fmla="*/ 645621 h 1446479"/>
                <a:gd name="connsiteX5" fmla="*/ 3908684 w 4295519"/>
                <a:gd name="connsiteY5" fmla="*/ 1256685 h 1446479"/>
                <a:gd name="connsiteX6" fmla="*/ 4295519 w 4295519"/>
                <a:gd name="connsiteY6" fmla="*/ 1427524 h 1446479"/>
                <a:gd name="connsiteX7" fmla="*/ 4295519 w 4295519"/>
                <a:gd name="connsiteY7" fmla="*/ 1446479 h 1446479"/>
                <a:gd name="connsiteX8" fmla="*/ 3410546 w 4295519"/>
                <a:gd name="connsiteY8" fmla="*/ 1061153 h 1446479"/>
                <a:gd name="connsiteX9" fmla="*/ 2408027 w 4295519"/>
                <a:gd name="connsiteY9" fmla="*/ 660884 h 1446479"/>
                <a:gd name="connsiteX10" fmla="*/ 1306953 w 4295519"/>
                <a:gd name="connsiteY10" fmla="*/ 372415 h 1446479"/>
                <a:gd name="connsiteX11" fmla="*/ 44226 w 4295519"/>
                <a:gd name="connsiteY11" fmla="*/ 18316 h 1446479"/>
                <a:gd name="connsiteX12" fmla="*/ 0 w 4295519"/>
                <a:gd name="connsiteY12" fmla="*/ 0 h 1446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95519" h="1446479">
                  <a:moveTo>
                    <a:pt x="0" y="0"/>
                  </a:moveTo>
                  <a:cubicBezTo>
                    <a:pt x="0" y="0"/>
                    <a:pt x="0" y="0"/>
                    <a:pt x="42701" y="0"/>
                  </a:cubicBezTo>
                  <a:cubicBezTo>
                    <a:pt x="45751" y="1526"/>
                    <a:pt x="47276" y="1526"/>
                    <a:pt x="50326" y="3053"/>
                  </a:cubicBezTo>
                  <a:cubicBezTo>
                    <a:pt x="455985" y="175523"/>
                    <a:pt x="890619" y="267101"/>
                    <a:pt x="1310004" y="355626"/>
                  </a:cubicBezTo>
                  <a:cubicBezTo>
                    <a:pt x="1676012" y="431940"/>
                    <a:pt x="2055745" y="512833"/>
                    <a:pt x="2414128" y="645621"/>
                  </a:cubicBezTo>
                  <a:cubicBezTo>
                    <a:pt x="2915101" y="831065"/>
                    <a:pt x="3416075" y="1041407"/>
                    <a:pt x="3908684" y="1256685"/>
                  </a:cubicBezTo>
                  <a:lnTo>
                    <a:pt x="4295519" y="1427524"/>
                  </a:lnTo>
                  <a:lnTo>
                    <a:pt x="4295519" y="1446479"/>
                  </a:lnTo>
                  <a:lnTo>
                    <a:pt x="3410546" y="1061153"/>
                  </a:lnTo>
                  <a:cubicBezTo>
                    <a:pt x="3078280" y="920734"/>
                    <a:pt x="2743535" y="785276"/>
                    <a:pt x="2408027" y="660884"/>
                  </a:cubicBezTo>
                  <a:cubicBezTo>
                    <a:pt x="2049645" y="528096"/>
                    <a:pt x="1672961" y="448729"/>
                    <a:pt x="1306953" y="372415"/>
                  </a:cubicBezTo>
                  <a:cubicBezTo>
                    <a:pt x="886044" y="283890"/>
                    <a:pt x="451410" y="192313"/>
                    <a:pt x="44226" y="18316"/>
                  </a:cubicBezTo>
                  <a:cubicBezTo>
                    <a:pt x="28976" y="12210"/>
                    <a:pt x="15251" y="6105"/>
                    <a:pt x="0" y="0"/>
                  </a:cubicBezTo>
                  <a:close/>
                </a:path>
              </a:pathLst>
            </a:custGeom>
            <a:solidFill>
              <a:srgbClr val="BEC0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94" name="Freeform: Shape 93"/>
            <p:cNvSpPr>
              <a:spLocks/>
            </p:cNvSpPr>
            <p:nvPr userDrawn="1"/>
          </p:nvSpPr>
          <p:spPr bwMode="auto">
            <a:xfrm>
              <a:off x="8503776" y="1"/>
              <a:ext cx="3689425" cy="1246175"/>
            </a:xfrm>
            <a:custGeom>
              <a:avLst/>
              <a:gdLst>
                <a:gd name="connsiteX0" fmla="*/ 0 w 3689425"/>
                <a:gd name="connsiteY0" fmla="*/ 0 h 1246175"/>
                <a:gd name="connsiteX1" fmla="*/ 62516 w 3689425"/>
                <a:gd name="connsiteY1" fmla="*/ 0 h 1246175"/>
                <a:gd name="connsiteX2" fmla="*/ 766959 w 3689425"/>
                <a:gd name="connsiteY2" fmla="*/ 172406 h 1246175"/>
                <a:gd name="connsiteX3" fmla="*/ 1880040 w 3689425"/>
                <a:gd name="connsiteY3" fmla="*/ 476024 h 1246175"/>
                <a:gd name="connsiteX4" fmla="*/ 2842931 w 3689425"/>
                <a:gd name="connsiteY4" fmla="*/ 859933 h 1246175"/>
                <a:gd name="connsiteX5" fmla="*/ 3689425 w 3689425"/>
                <a:gd name="connsiteY5" fmla="*/ 1227826 h 1246175"/>
                <a:gd name="connsiteX6" fmla="*/ 3689425 w 3689425"/>
                <a:gd name="connsiteY6" fmla="*/ 1246175 h 1246175"/>
                <a:gd name="connsiteX7" fmla="*/ 2839882 w 3689425"/>
                <a:gd name="connsiteY7" fmla="*/ 877288 h 1246175"/>
                <a:gd name="connsiteX8" fmla="*/ 1873941 w 3689425"/>
                <a:gd name="connsiteY8" fmla="*/ 491282 h 1246175"/>
                <a:gd name="connsiteX9" fmla="*/ 763909 w 3689425"/>
                <a:gd name="connsiteY9" fmla="*/ 189189 h 1246175"/>
                <a:gd name="connsiteX10" fmla="*/ 0 w 3689425"/>
                <a:gd name="connsiteY10" fmla="*/ 0 h 1246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689425" h="1246175">
                  <a:moveTo>
                    <a:pt x="0" y="0"/>
                  </a:moveTo>
                  <a:cubicBezTo>
                    <a:pt x="0" y="0"/>
                    <a:pt x="0" y="0"/>
                    <a:pt x="62516" y="0"/>
                  </a:cubicBezTo>
                  <a:cubicBezTo>
                    <a:pt x="297330" y="65606"/>
                    <a:pt x="533669" y="119006"/>
                    <a:pt x="766959" y="172406"/>
                  </a:cubicBezTo>
                  <a:cubicBezTo>
                    <a:pt x="1135953" y="254795"/>
                    <a:pt x="1518670" y="340235"/>
                    <a:pt x="1880040" y="476024"/>
                  </a:cubicBezTo>
                  <a:cubicBezTo>
                    <a:pt x="2201766" y="595793"/>
                    <a:pt x="2523492" y="725479"/>
                    <a:pt x="2842931" y="859933"/>
                  </a:cubicBezTo>
                  <a:lnTo>
                    <a:pt x="3689425" y="1227826"/>
                  </a:lnTo>
                  <a:lnTo>
                    <a:pt x="3689425" y="1246175"/>
                  </a:lnTo>
                  <a:lnTo>
                    <a:pt x="2839882" y="877288"/>
                  </a:lnTo>
                  <a:cubicBezTo>
                    <a:pt x="2519681" y="742262"/>
                    <a:pt x="2197192" y="611813"/>
                    <a:pt x="1873941" y="491282"/>
                  </a:cubicBezTo>
                  <a:cubicBezTo>
                    <a:pt x="1512571" y="357018"/>
                    <a:pt x="1131379" y="271578"/>
                    <a:pt x="763909" y="189189"/>
                  </a:cubicBezTo>
                  <a:cubicBezTo>
                    <a:pt x="510798" y="131212"/>
                    <a:pt x="253112" y="73235"/>
                    <a:pt x="0" y="0"/>
                  </a:cubicBezTo>
                  <a:close/>
                </a:path>
              </a:pathLst>
            </a:custGeom>
            <a:solidFill>
              <a:srgbClr val="BEC0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92" name="Freeform: Shape 91"/>
            <p:cNvSpPr>
              <a:spLocks/>
            </p:cNvSpPr>
            <p:nvPr userDrawn="1"/>
          </p:nvSpPr>
          <p:spPr bwMode="auto">
            <a:xfrm>
              <a:off x="9318316" y="0"/>
              <a:ext cx="2874885" cy="1047517"/>
            </a:xfrm>
            <a:custGeom>
              <a:avLst/>
              <a:gdLst>
                <a:gd name="connsiteX0" fmla="*/ 0 w 2874885"/>
                <a:gd name="connsiteY0" fmla="*/ 0 h 1047517"/>
                <a:gd name="connsiteX1" fmla="*/ 74706 w 2874885"/>
                <a:gd name="connsiteY1" fmla="*/ 0 h 1047517"/>
                <a:gd name="connsiteX2" fmla="*/ 1137358 w 2874885"/>
                <a:gd name="connsiteY2" fmla="*/ 306963 h 1047517"/>
                <a:gd name="connsiteX3" fmla="*/ 2063176 w 2874885"/>
                <a:gd name="connsiteY3" fmla="*/ 677113 h 1047517"/>
                <a:gd name="connsiteX4" fmla="*/ 2874885 w 2874885"/>
                <a:gd name="connsiteY4" fmla="*/ 1029085 h 1047517"/>
                <a:gd name="connsiteX5" fmla="*/ 2874885 w 2874885"/>
                <a:gd name="connsiteY5" fmla="*/ 1047517 h 1047517"/>
                <a:gd name="connsiteX6" fmla="*/ 2060127 w 2874885"/>
                <a:gd name="connsiteY6" fmla="*/ 695057 h 1047517"/>
                <a:gd name="connsiteX7" fmla="*/ 1131259 w 2874885"/>
                <a:gd name="connsiteY7" fmla="*/ 322235 h 1047517"/>
                <a:gd name="connsiteX8" fmla="*/ 7623 w 2874885"/>
                <a:gd name="connsiteY8" fmla="*/ 1527 h 1047517"/>
                <a:gd name="connsiteX9" fmla="*/ 0 w 2874885"/>
                <a:gd name="connsiteY9" fmla="*/ 0 h 1047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74885" h="1047517">
                  <a:moveTo>
                    <a:pt x="0" y="0"/>
                  </a:moveTo>
                  <a:cubicBezTo>
                    <a:pt x="0" y="0"/>
                    <a:pt x="0" y="0"/>
                    <a:pt x="74706" y="0"/>
                  </a:cubicBezTo>
                  <a:cubicBezTo>
                    <a:pt x="428415" y="85522"/>
                    <a:pt x="791272" y="175626"/>
                    <a:pt x="1137358" y="306963"/>
                  </a:cubicBezTo>
                  <a:cubicBezTo>
                    <a:pt x="1446854" y="423029"/>
                    <a:pt x="1755968" y="547876"/>
                    <a:pt x="2063176" y="677113"/>
                  </a:cubicBezTo>
                  <a:lnTo>
                    <a:pt x="2874885" y="1029085"/>
                  </a:lnTo>
                  <a:lnTo>
                    <a:pt x="2874885" y="1047517"/>
                  </a:lnTo>
                  <a:lnTo>
                    <a:pt x="2060127" y="695057"/>
                  </a:lnTo>
                  <a:cubicBezTo>
                    <a:pt x="1751775" y="565438"/>
                    <a:pt x="1441517" y="439828"/>
                    <a:pt x="1131259" y="322235"/>
                  </a:cubicBezTo>
                  <a:cubicBezTo>
                    <a:pt x="765353" y="184789"/>
                    <a:pt x="379627" y="91631"/>
                    <a:pt x="7623" y="1527"/>
                  </a:cubicBezTo>
                  <a:cubicBezTo>
                    <a:pt x="4574" y="1527"/>
                    <a:pt x="3049" y="0"/>
                    <a:pt x="0" y="0"/>
                  </a:cubicBezTo>
                  <a:close/>
                </a:path>
              </a:pathLst>
            </a:custGeom>
            <a:solidFill>
              <a:srgbClr val="BDBF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88" name="Freeform: Shape 87"/>
            <p:cNvSpPr>
              <a:spLocks/>
            </p:cNvSpPr>
            <p:nvPr userDrawn="1"/>
          </p:nvSpPr>
          <p:spPr bwMode="auto">
            <a:xfrm>
              <a:off x="10070322" y="1"/>
              <a:ext cx="2122879" cy="848745"/>
            </a:xfrm>
            <a:custGeom>
              <a:avLst/>
              <a:gdLst>
                <a:gd name="connsiteX0" fmla="*/ 0 w 2122879"/>
                <a:gd name="connsiteY0" fmla="*/ 0 h 848745"/>
                <a:gd name="connsiteX1" fmla="*/ 59450 w 2122879"/>
                <a:gd name="connsiteY1" fmla="*/ 0 h 848745"/>
                <a:gd name="connsiteX2" fmla="*/ 457306 w 2122879"/>
                <a:gd name="connsiteY2" fmla="*/ 135875 h 848745"/>
                <a:gd name="connsiteX3" fmla="*/ 1346575 w 2122879"/>
                <a:gd name="connsiteY3" fmla="*/ 494263 h 848745"/>
                <a:gd name="connsiteX4" fmla="*/ 2122879 w 2122879"/>
                <a:gd name="connsiteY4" fmla="*/ 828990 h 848745"/>
                <a:gd name="connsiteX5" fmla="*/ 2122879 w 2122879"/>
                <a:gd name="connsiteY5" fmla="*/ 848745 h 848745"/>
                <a:gd name="connsiteX6" fmla="*/ 1343526 w 2122879"/>
                <a:gd name="connsiteY6" fmla="*/ 512010 h 848745"/>
                <a:gd name="connsiteX7" fmla="*/ 451208 w 2122879"/>
                <a:gd name="connsiteY7" fmla="*/ 152668 h 848745"/>
                <a:gd name="connsiteX8" fmla="*/ 0 w 2122879"/>
                <a:gd name="connsiteY8" fmla="*/ 0 h 848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22879" h="848745">
                  <a:moveTo>
                    <a:pt x="0" y="0"/>
                  </a:moveTo>
                  <a:cubicBezTo>
                    <a:pt x="0" y="0"/>
                    <a:pt x="0" y="0"/>
                    <a:pt x="59450" y="0"/>
                  </a:cubicBezTo>
                  <a:cubicBezTo>
                    <a:pt x="193593" y="41220"/>
                    <a:pt x="327736" y="85494"/>
                    <a:pt x="457306" y="135875"/>
                  </a:cubicBezTo>
                  <a:cubicBezTo>
                    <a:pt x="754555" y="249612"/>
                    <a:pt x="1051422" y="370220"/>
                    <a:pt x="1346575" y="494263"/>
                  </a:cubicBezTo>
                  <a:lnTo>
                    <a:pt x="2122879" y="828990"/>
                  </a:lnTo>
                  <a:lnTo>
                    <a:pt x="2122879" y="848745"/>
                  </a:lnTo>
                  <a:lnTo>
                    <a:pt x="1343526" y="512010"/>
                  </a:lnTo>
                  <a:cubicBezTo>
                    <a:pt x="1047230" y="387395"/>
                    <a:pt x="749219" y="266406"/>
                    <a:pt x="451208" y="152668"/>
                  </a:cubicBezTo>
                  <a:cubicBezTo>
                    <a:pt x="303346" y="96181"/>
                    <a:pt x="152435" y="45800"/>
                    <a:pt x="0" y="0"/>
                  </a:cubicBezTo>
                  <a:close/>
                </a:path>
              </a:pathLst>
            </a:custGeom>
            <a:solidFill>
              <a:srgbClr val="BDBF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90" name="Freeform: Shape 89"/>
            <p:cNvSpPr>
              <a:spLocks/>
            </p:cNvSpPr>
            <p:nvPr userDrawn="1"/>
          </p:nvSpPr>
          <p:spPr bwMode="auto">
            <a:xfrm>
              <a:off x="10636331" y="0"/>
              <a:ext cx="1556869" cy="650052"/>
            </a:xfrm>
            <a:custGeom>
              <a:avLst/>
              <a:gdLst>
                <a:gd name="connsiteX0" fmla="*/ 0 w 1556869"/>
                <a:gd name="connsiteY0" fmla="*/ 0 h 650052"/>
                <a:gd name="connsiteX1" fmla="*/ 48810 w 1556869"/>
                <a:gd name="connsiteY1" fmla="*/ 0 h 650052"/>
                <a:gd name="connsiteX2" fmla="*/ 858181 w 1556869"/>
                <a:gd name="connsiteY2" fmla="*/ 329785 h 650052"/>
                <a:gd name="connsiteX3" fmla="*/ 1556869 w 1556869"/>
                <a:gd name="connsiteY3" fmla="*/ 630286 h 650052"/>
                <a:gd name="connsiteX4" fmla="*/ 1556869 w 1556869"/>
                <a:gd name="connsiteY4" fmla="*/ 650052 h 650052"/>
                <a:gd name="connsiteX5" fmla="*/ 833776 w 1556869"/>
                <a:gd name="connsiteY5" fmla="*/ 338558 h 650052"/>
                <a:gd name="connsiteX6" fmla="*/ 0 w 1556869"/>
                <a:gd name="connsiteY6" fmla="*/ 0 h 650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56869" h="650052">
                  <a:moveTo>
                    <a:pt x="0" y="0"/>
                  </a:moveTo>
                  <a:cubicBezTo>
                    <a:pt x="0" y="0"/>
                    <a:pt x="0" y="0"/>
                    <a:pt x="48810" y="0"/>
                  </a:cubicBezTo>
                  <a:cubicBezTo>
                    <a:pt x="318791" y="106050"/>
                    <a:pt x="589154" y="216677"/>
                    <a:pt x="858181" y="329785"/>
                  </a:cubicBezTo>
                  <a:lnTo>
                    <a:pt x="1556869" y="630286"/>
                  </a:lnTo>
                  <a:lnTo>
                    <a:pt x="1556869" y="650052"/>
                  </a:lnTo>
                  <a:lnTo>
                    <a:pt x="833776" y="338558"/>
                  </a:lnTo>
                  <a:cubicBezTo>
                    <a:pt x="556741" y="222018"/>
                    <a:pt x="278371" y="108339"/>
                    <a:pt x="0" y="0"/>
                  </a:cubicBezTo>
                  <a:close/>
                </a:path>
              </a:pathLst>
            </a:custGeom>
            <a:solidFill>
              <a:srgbClr val="BCBE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86" name="Freeform: Shape 85"/>
            <p:cNvSpPr>
              <a:spLocks/>
            </p:cNvSpPr>
            <p:nvPr userDrawn="1"/>
          </p:nvSpPr>
          <p:spPr bwMode="auto">
            <a:xfrm>
              <a:off x="11128582" y="1"/>
              <a:ext cx="1064618" cy="451877"/>
            </a:xfrm>
            <a:custGeom>
              <a:avLst/>
              <a:gdLst>
                <a:gd name="connsiteX0" fmla="*/ 0 w 1064618"/>
                <a:gd name="connsiteY0" fmla="*/ 0 h 451877"/>
                <a:gd name="connsiteX1" fmla="*/ 47302 w 1064618"/>
                <a:gd name="connsiteY1" fmla="*/ 0 h 451877"/>
                <a:gd name="connsiteX2" fmla="*/ 609587 w 1064618"/>
                <a:gd name="connsiteY2" fmla="*/ 234961 h 451877"/>
                <a:gd name="connsiteX3" fmla="*/ 1064618 w 1064618"/>
                <a:gd name="connsiteY3" fmla="*/ 431330 h 451877"/>
                <a:gd name="connsiteX4" fmla="*/ 1064618 w 1064618"/>
                <a:gd name="connsiteY4" fmla="*/ 451877 h 451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4618" h="451877">
                  <a:moveTo>
                    <a:pt x="0" y="0"/>
                  </a:moveTo>
                  <a:cubicBezTo>
                    <a:pt x="0" y="0"/>
                    <a:pt x="0" y="0"/>
                    <a:pt x="47302" y="0"/>
                  </a:cubicBezTo>
                  <a:cubicBezTo>
                    <a:pt x="234985" y="76987"/>
                    <a:pt x="422667" y="155498"/>
                    <a:pt x="609587" y="234961"/>
                  </a:cubicBezTo>
                  <a:lnTo>
                    <a:pt x="1064618" y="431330"/>
                  </a:lnTo>
                  <a:lnTo>
                    <a:pt x="1064618" y="451877"/>
                  </a:lnTo>
                  <a:close/>
                </a:path>
              </a:pathLst>
            </a:custGeom>
            <a:solidFill>
              <a:srgbClr val="BCBE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81" name="Freeform: Shape 80"/>
            <p:cNvSpPr>
              <a:spLocks/>
            </p:cNvSpPr>
            <p:nvPr userDrawn="1"/>
          </p:nvSpPr>
          <p:spPr bwMode="auto">
            <a:xfrm>
              <a:off x="11599989" y="0"/>
              <a:ext cx="593211" cy="254233"/>
            </a:xfrm>
            <a:custGeom>
              <a:avLst/>
              <a:gdLst>
                <a:gd name="connsiteX0" fmla="*/ 0 w 593211"/>
                <a:gd name="connsiteY0" fmla="*/ 0 h 254233"/>
                <a:gd name="connsiteX1" fmla="*/ 47308 w 593211"/>
                <a:gd name="connsiteY1" fmla="*/ 0 h 254233"/>
                <a:gd name="connsiteX2" fmla="*/ 593211 w 593211"/>
                <a:gd name="connsiteY2" fmla="*/ 234288 h 254233"/>
                <a:gd name="connsiteX3" fmla="*/ 593211 w 593211"/>
                <a:gd name="connsiteY3" fmla="*/ 254233 h 254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3211" h="254233">
                  <a:moveTo>
                    <a:pt x="0" y="0"/>
                  </a:moveTo>
                  <a:cubicBezTo>
                    <a:pt x="0" y="0"/>
                    <a:pt x="0" y="0"/>
                    <a:pt x="47308" y="0"/>
                  </a:cubicBezTo>
                  <a:lnTo>
                    <a:pt x="593211" y="234288"/>
                  </a:lnTo>
                  <a:lnTo>
                    <a:pt x="593211" y="254233"/>
                  </a:lnTo>
                  <a:close/>
                </a:path>
              </a:pathLst>
            </a:custGeom>
            <a:solidFill>
              <a:srgbClr val="BBBD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83" name="Freeform: Shape 82"/>
            <p:cNvSpPr>
              <a:spLocks/>
            </p:cNvSpPr>
            <p:nvPr userDrawn="1"/>
          </p:nvSpPr>
          <p:spPr bwMode="auto">
            <a:xfrm>
              <a:off x="12063380" y="0"/>
              <a:ext cx="129821" cy="55510"/>
            </a:xfrm>
            <a:custGeom>
              <a:avLst/>
              <a:gdLst>
                <a:gd name="connsiteX0" fmla="*/ 0 w 129821"/>
                <a:gd name="connsiteY0" fmla="*/ 0 h 55510"/>
                <a:gd name="connsiteX1" fmla="*/ 47417 w 129821"/>
                <a:gd name="connsiteY1" fmla="*/ 0 h 55510"/>
                <a:gd name="connsiteX2" fmla="*/ 129821 w 129821"/>
                <a:gd name="connsiteY2" fmla="*/ 35410 h 55510"/>
                <a:gd name="connsiteX3" fmla="*/ 129821 w 129821"/>
                <a:gd name="connsiteY3" fmla="*/ 55510 h 55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821" h="55510">
                  <a:moveTo>
                    <a:pt x="0" y="0"/>
                  </a:moveTo>
                  <a:cubicBezTo>
                    <a:pt x="0" y="0"/>
                    <a:pt x="0" y="0"/>
                    <a:pt x="47417" y="0"/>
                  </a:cubicBezTo>
                  <a:lnTo>
                    <a:pt x="129821" y="35410"/>
                  </a:lnTo>
                  <a:lnTo>
                    <a:pt x="129821" y="55510"/>
                  </a:lnTo>
                  <a:close/>
                </a:path>
              </a:pathLst>
            </a:custGeom>
            <a:solidFill>
              <a:srgbClr val="BBBD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30" name="Freeform 19"/>
            <p:cNvSpPr>
              <a:spLocks/>
            </p:cNvSpPr>
            <p:nvPr userDrawn="1"/>
          </p:nvSpPr>
          <p:spPr bwMode="auto">
            <a:xfrm>
              <a:off x="-792" y="6070568"/>
              <a:ext cx="218066" cy="91396"/>
            </a:xfrm>
            <a:custGeom>
              <a:avLst/>
              <a:gdLst>
                <a:gd name="T0" fmla="*/ 0 w 143"/>
                <a:gd name="T1" fmla="*/ 0 h 60"/>
                <a:gd name="T2" fmla="*/ 0 w 143"/>
                <a:gd name="T3" fmla="*/ 2 h 60"/>
                <a:gd name="T4" fmla="*/ 138 w 143"/>
                <a:gd name="T5" fmla="*/ 60 h 60"/>
                <a:gd name="T6" fmla="*/ 143 w 143"/>
                <a:gd name="T7" fmla="*/ 59 h 60"/>
                <a:gd name="T8" fmla="*/ 0 w 143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60">
                  <a:moveTo>
                    <a:pt x="0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46" y="22"/>
                    <a:pt x="92" y="41"/>
                    <a:pt x="138" y="60"/>
                  </a:cubicBezTo>
                  <a:cubicBezTo>
                    <a:pt x="143" y="59"/>
                    <a:pt x="143" y="59"/>
                    <a:pt x="143" y="59"/>
                  </a:cubicBezTo>
                  <a:cubicBezTo>
                    <a:pt x="95" y="40"/>
                    <a:pt x="48" y="20"/>
                    <a:pt x="0" y="0"/>
                  </a:cubicBezTo>
                  <a:close/>
                </a:path>
              </a:pathLst>
            </a:custGeom>
            <a:solidFill>
              <a:srgbClr val="D6D8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1" name="Freeform 20"/>
            <p:cNvSpPr>
              <a:spLocks/>
            </p:cNvSpPr>
            <p:nvPr userDrawn="1"/>
          </p:nvSpPr>
          <p:spPr bwMode="auto">
            <a:xfrm>
              <a:off x="-792" y="5838072"/>
              <a:ext cx="582044" cy="259755"/>
            </a:xfrm>
            <a:custGeom>
              <a:avLst/>
              <a:gdLst>
                <a:gd name="T0" fmla="*/ 77 w 381"/>
                <a:gd name="T1" fmla="*/ 35 h 170"/>
                <a:gd name="T2" fmla="*/ 0 w 381"/>
                <a:gd name="T3" fmla="*/ 0 h 170"/>
                <a:gd name="T4" fmla="*/ 0 w 381"/>
                <a:gd name="T5" fmla="*/ 3 h 170"/>
                <a:gd name="T6" fmla="*/ 75 w 381"/>
                <a:gd name="T7" fmla="*/ 37 h 170"/>
                <a:gd name="T8" fmla="*/ 376 w 381"/>
                <a:gd name="T9" fmla="*/ 170 h 170"/>
                <a:gd name="T10" fmla="*/ 381 w 381"/>
                <a:gd name="T11" fmla="*/ 170 h 170"/>
                <a:gd name="T12" fmla="*/ 77 w 381"/>
                <a:gd name="T13" fmla="*/ 35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1" h="170">
                  <a:moveTo>
                    <a:pt x="77" y="35"/>
                  </a:moveTo>
                  <a:cubicBezTo>
                    <a:pt x="51" y="23"/>
                    <a:pt x="26" y="12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6" y="14"/>
                    <a:pt x="51" y="26"/>
                    <a:pt x="75" y="37"/>
                  </a:cubicBezTo>
                  <a:cubicBezTo>
                    <a:pt x="174" y="82"/>
                    <a:pt x="274" y="127"/>
                    <a:pt x="376" y="170"/>
                  </a:cubicBezTo>
                  <a:cubicBezTo>
                    <a:pt x="381" y="170"/>
                    <a:pt x="381" y="170"/>
                    <a:pt x="381" y="170"/>
                  </a:cubicBezTo>
                  <a:cubicBezTo>
                    <a:pt x="278" y="126"/>
                    <a:pt x="177" y="80"/>
                    <a:pt x="77" y="35"/>
                  </a:cubicBezTo>
                  <a:close/>
                </a:path>
              </a:pathLst>
            </a:custGeom>
            <a:solidFill>
              <a:srgbClr val="D6D7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2" name="Freeform 21"/>
            <p:cNvSpPr>
              <a:spLocks/>
            </p:cNvSpPr>
            <p:nvPr userDrawn="1"/>
          </p:nvSpPr>
          <p:spPr bwMode="auto">
            <a:xfrm>
              <a:off x="-792" y="5637644"/>
              <a:ext cx="920366" cy="400856"/>
            </a:xfrm>
            <a:custGeom>
              <a:avLst/>
              <a:gdLst>
                <a:gd name="T0" fmla="*/ 116 w 603"/>
                <a:gd name="T1" fmla="*/ 53 h 263"/>
                <a:gd name="T2" fmla="*/ 0 w 603"/>
                <a:gd name="T3" fmla="*/ 0 h 263"/>
                <a:gd name="T4" fmla="*/ 0 w 603"/>
                <a:gd name="T5" fmla="*/ 3 h 263"/>
                <a:gd name="T6" fmla="*/ 115 w 603"/>
                <a:gd name="T7" fmla="*/ 56 h 263"/>
                <a:gd name="T8" fmla="*/ 597 w 603"/>
                <a:gd name="T9" fmla="*/ 263 h 263"/>
                <a:gd name="T10" fmla="*/ 603 w 603"/>
                <a:gd name="T11" fmla="*/ 262 h 263"/>
                <a:gd name="T12" fmla="*/ 116 w 603"/>
                <a:gd name="T13" fmla="*/ 53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3" h="263">
                  <a:moveTo>
                    <a:pt x="116" y="53"/>
                  </a:moveTo>
                  <a:cubicBezTo>
                    <a:pt x="78" y="36"/>
                    <a:pt x="39" y="18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9" y="21"/>
                    <a:pt x="77" y="38"/>
                    <a:pt x="115" y="56"/>
                  </a:cubicBezTo>
                  <a:cubicBezTo>
                    <a:pt x="273" y="128"/>
                    <a:pt x="434" y="202"/>
                    <a:pt x="597" y="263"/>
                  </a:cubicBezTo>
                  <a:cubicBezTo>
                    <a:pt x="603" y="262"/>
                    <a:pt x="603" y="262"/>
                    <a:pt x="603" y="262"/>
                  </a:cubicBezTo>
                  <a:cubicBezTo>
                    <a:pt x="438" y="201"/>
                    <a:pt x="275" y="126"/>
                    <a:pt x="116" y="53"/>
                  </a:cubicBezTo>
                  <a:close/>
                </a:path>
              </a:pathLst>
            </a:custGeom>
            <a:solidFill>
              <a:srgbClr val="D5D7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3" name="Freeform 22"/>
            <p:cNvSpPr>
              <a:spLocks/>
            </p:cNvSpPr>
            <p:nvPr userDrawn="1"/>
          </p:nvSpPr>
          <p:spPr bwMode="auto">
            <a:xfrm>
              <a:off x="-792" y="5435612"/>
              <a:ext cx="1308395" cy="535544"/>
            </a:xfrm>
            <a:custGeom>
              <a:avLst/>
              <a:gdLst>
                <a:gd name="T0" fmla="*/ 158 w 858"/>
                <a:gd name="T1" fmla="*/ 72 h 351"/>
                <a:gd name="T2" fmla="*/ 0 w 858"/>
                <a:gd name="T3" fmla="*/ 0 h 351"/>
                <a:gd name="T4" fmla="*/ 0 w 858"/>
                <a:gd name="T5" fmla="*/ 4 h 351"/>
                <a:gd name="T6" fmla="*/ 157 w 858"/>
                <a:gd name="T7" fmla="*/ 75 h 351"/>
                <a:gd name="T8" fmla="*/ 850 w 858"/>
                <a:gd name="T9" fmla="*/ 351 h 351"/>
                <a:gd name="T10" fmla="*/ 858 w 858"/>
                <a:gd name="T11" fmla="*/ 350 h 351"/>
                <a:gd name="T12" fmla="*/ 158 w 858"/>
                <a:gd name="T13" fmla="*/ 72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8" h="351">
                  <a:moveTo>
                    <a:pt x="158" y="72"/>
                  </a:moveTo>
                  <a:cubicBezTo>
                    <a:pt x="106" y="48"/>
                    <a:pt x="53" y="24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53" y="27"/>
                    <a:pt x="105" y="51"/>
                    <a:pt x="157" y="75"/>
                  </a:cubicBezTo>
                  <a:cubicBezTo>
                    <a:pt x="382" y="179"/>
                    <a:pt x="614" y="287"/>
                    <a:pt x="850" y="351"/>
                  </a:cubicBezTo>
                  <a:cubicBezTo>
                    <a:pt x="858" y="350"/>
                    <a:pt x="858" y="350"/>
                    <a:pt x="858" y="350"/>
                  </a:cubicBezTo>
                  <a:cubicBezTo>
                    <a:pt x="619" y="286"/>
                    <a:pt x="385" y="177"/>
                    <a:pt x="158" y="72"/>
                  </a:cubicBezTo>
                  <a:close/>
                </a:path>
              </a:pathLst>
            </a:custGeom>
            <a:solidFill>
              <a:srgbClr val="D5D6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4" name="Freeform 23"/>
            <p:cNvSpPr>
              <a:spLocks/>
            </p:cNvSpPr>
            <p:nvPr userDrawn="1"/>
          </p:nvSpPr>
          <p:spPr bwMode="auto">
            <a:xfrm>
              <a:off x="-792" y="5233581"/>
              <a:ext cx="1858370" cy="642973"/>
            </a:xfrm>
            <a:custGeom>
              <a:avLst/>
              <a:gdLst>
                <a:gd name="T0" fmla="*/ 944 w 1218"/>
                <a:gd name="T1" fmla="*/ 377 h 421"/>
                <a:gd name="T2" fmla="*/ 201 w 1218"/>
                <a:gd name="T3" fmla="*/ 92 h 421"/>
                <a:gd name="T4" fmla="*/ 0 w 1218"/>
                <a:gd name="T5" fmla="*/ 0 h 421"/>
                <a:gd name="T6" fmla="*/ 0 w 1218"/>
                <a:gd name="T7" fmla="*/ 4 h 421"/>
                <a:gd name="T8" fmla="*/ 199 w 1218"/>
                <a:gd name="T9" fmla="*/ 95 h 421"/>
                <a:gd name="T10" fmla="*/ 943 w 1218"/>
                <a:gd name="T11" fmla="*/ 380 h 421"/>
                <a:gd name="T12" fmla="*/ 1205 w 1218"/>
                <a:gd name="T13" fmla="*/ 421 h 421"/>
                <a:gd name="T14" fmla="*/ 1218 w 1218"/>
                <a:gd name="T15" fmla="*/ 418 h 421"/>
                <a:gd name="T16" fmla="*/ 944 w 1218"/>
                <a:gd name="T17" fmla="*/ 377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18" h="421">
                  <a:moveTo>
                    <a:pt x="944" y="377"/>
                  </a:moveTo>
                  <a:cubicBezTo>
                    <a:pt x="691" y="321"/>
                    <a:pt x="442" y="204"/>
                    <a:pt x="201" y="92"/>
                  </a:cubicBezTo>
                  <a:cubicBezTo>
                    <a:pt x="135" y="61"/>
                    <a:pt x="67" y="3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67" y="33"/>
                    <a:pt x="134" y="65"/>
                    <a:pt x="199" y="95"/>
                  </a:cubicBezTo>
                  <a:cubicBezTo>
                    <a:pt x="441" y="208"/>
                    <a:pt x="690" y="324"/>
                    <a:pt x="943" y="380"/>
                  </a:cubicBezTo>
                  <a:cubicBezTo>
                    <a:pt x="1030" y="399"/>
                    <a:pt x="1117" y="412"/>
                    <a:pt x="1205" y="421"/>
                  </a:cubicBezTo>
                  <a:cubicBezTo>
                    <a:pt x="1218" y="418"/>
                    <a:pt x="1218" y="418"/>
                    <a:pt x="1218" y="418"/>
                  </a:cubicBezTo>
                  <a:cubicBezTo>
                    <a:pt x="1126" y="410"/>
                    <a:pt x="1034" y="397"/>
                    <a:pt x="944" y="377"/>
                  </a:cubicBezTo>
                  <a:close/>
                </a:path>
              </a:pathLst>
            </a:custGeom>
            <a:solidFill>
              <a:srgbClr val="D4D6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5" name="Freeform 24"/>
            <p:cNvSpPr>
              <a:spLocks/>
            </p:cNvSpPr>
            <p:nvPr userDrawn="1"/>
          </p:nvSpPr>
          <p:spPr bwMode="auto">
            <a:xfrm>
              <a:off x="-792" y="5034756"/>
              <a:ext cx="3202040" cy="710317"/>
            </a:xfrm>
            <a:custGeom>
              <a:avLst/>
              <a:gdLst>
                <a:gd name="T0" fmla="*/ 2068 w 2100"/>
                <a:gd name="T1" fmla="*/ 397 h 466"/>
                <a:gd name="T2" fmla="*/ 994 w 2100"/>
                <a:gd name="T3" fmla="*/ 394 h 466"/>
                <a:gd name="T4" fmla="*/ 245 w 2100"/>
                <a:gd name="T5" fmla="*/ 111 h 466"/>
                <a:gd name="T6" fmla="*/ 0 w 2100"/>
                <a:gd name="T7" fmla="*/ 0 h 466"/>
                <a:gd name="T8" fmla="*/ 0 w 2100"/>
                <a:gd name="T9" fmla="*/ 3 h 466"/>
                <a:gd name="T10" fmla="*/ 243 w 2100"/>
                <a:gd name="T11" fmla="*/ 114 h 466"/>
                <a:gd name="T12" fmla="*/ 994 w 2100"/>
                <a:gd name="T13" fmla="*/ 397 h 466"/>
                <a:gd name="T14" fmla="*/ 2059 w 2100"/>
                <a:gd name="T15" fmla="*/ 402 h 466"/>
                <a:gd name="T16" fmla="*/ 2100 w 2100"/>
                <a:gd name="T17" fmla="*/ 394 h 466"/>
                <a:gd name="T18" fmla="*/ 2068 w 2100"/>
                <a:gd name="T19" fmla="*/ 397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00" h="466">
                  <a:moveTo>
                    <a:pt x="2068" y="397"/>
                  </a:moveTo>
                  <a:cubicBezTo>
                    <a:pt x="1712" y="430"/>
                    <a:pt x="1344" y="463"/>
                    <a:pt x="994" y="394"/>
                  </a:cubicBezTo>
                  <a:cubicBezTo>
                    <a:pt x="740" y="343"/>
                    <a:pt x="488" y="225"/>
                    <a:pt x="245" y="111"/>
                  </a:cubicBezTo>
                  <a:cubicBezTo>
                    <a:pt x="164" y="74"/>
                    <a:pt x="81" y="35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81" y="38"/>
                    <a:pt x="163" y="77"/>
                    <a:pt x="243" y="114"/>
                  </a:cubicBezTo>
                  <a:cubicBezTo>
                    <a:pt x="487" y="229"/>
                    <a:pt x="738" y="347"/>
                    <a:pt x="994" y="397"/>
                  </a:cubicBezTo>
                  <a:cubicBezTo>
                    <a:pt x="1340" y="466"/>
                    <a:pt x="1705" y="434"/>
                    <a:pt x="2059" y="402"/>
                  </a:cubicBezTo>
                  <a:cubicBezTo>
                    <a:pt x="2100" y="394"/>
                    <a:pt x="2100" y="394"/>
                    <a:pt x="2100" y="394"/>
                  </a:cubicBezTo>
                  <a:cubicBezTo>
                    <a:pt x="2089" y="395"/>
                    <a:pt x="2078" y="396"/>
                    <a:pt x="2068" y="397"/>
                  </a:cubicBezTo>
                  <a:close/>
                </a:path>
              </a:pathLst>
            </a:custGeom>
            <a:solidFill>
              <a:srgbClr val="D4D5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8" name="Freeform: Shape 77"/>
            <p:cNvSpPr>
              <a:spLocks/>
            </p:cNvSpPr>
            <p:nvPr userDrawn="1"/>
          </p:nvSpPr>
          <p:spPr bwMode="auto">
            <a:xfrm>
              <a:off x="-1" y="29070"/>
              <a:ext cx="10203407" cy="4377143"/>
            </a:xfrm>
            <a:custGeom>
              <a:avLst/>
              <a:gdLst>
                <a:gd name="connsiteX0" fmla="*/ 0 w 10204800"/>
                <a:gd name="connsiteY0" fmla="*/ 0 h 4377740"/>
                <a:gd name="connsiteX1" fmla="*/ 12323 w 10204800"/>
                <a:gd name="connsiteY1" fmla="*/ 5280 h 4377740"/>
                <a:gd name="connsiteX2" fmla="*/ 1762640 w 10204800"/>
                <a:gd name="connsiteY2" fmla="*/ 755145 h 4377740"/>
                <a:gd name="connsiteX3" fmla="*/ 2185053 w 10204800"/>
                <a:gd name="connsiteY3" fmla="*/ 952075 h 4377740"/>
                <a:gd name="connsiteX4" fmla="*/ 3302846 w 10204800"/>
                <a:gd name="connsiteY4" fmla="*/ 1368834 h 4377740"/>
                <a:gd name="connsiteX5" fmla="*/ 4754605 w 10204800"/>
                <a:gd name="connsiteY5" fmla="*/ 1139845 h 4377740"/>
                <a:gd name="connsiteX6" fmla="*/ 5045872 w 10204800"/>
                <a:gd name="connsiteY6" fmla="*/ 1051303 h 4377740"/>
                <a:gd name="connsiteX7" fmla="*/ 5103820 w 10204800"/>
                <a:gd name="connsiteY7" fmla="*/ 1034511 h 4377740"/>
                <a:gd name="connsiteX8" fmla="*/ 6657751 w 10204800"/>
                <a:gd name="connsiteY8" fmla="*/ 930703 h 4377740"/>
                <a:gd name="connsiteX9" fmla="*/ 7763344 w 10204800"/>
                <a:gd name="connsiteY9" fmla="*/ 2187085 h 4377740"/>
                <a:gd name="connsiteX10" fmla="*/ 7827393 w 10204800"/>
                <a:gd name="connsiteY10" fmla="*/ 2300053 h 4377740"/>
                <a:gd name="connsiteX11" fmla="*/ 7960064 w 10204800"/>
                <a:gd name="connsiteY11" fmla="*/ 2535147 h 4377740"/>
                <a:gd name="connsiteX12" fmla="*/ 8937561 w 10204800"/>
                <a:gd name="connsiteY12" fmla="*/ 3800690 h 4377740"/>
                <a:gd name="connsiteX13" fmla="*/ 10005031 w 10204800"/>
                <a:gd name="connsiteY13" fmla="*/ 4296831 h 4377740"/>
                <a:gd name="connsiteX14" fmla="*/ 10204800 w 10204800"/>
                <a:gd name="connsiteY14" fmla="*/ 4373160 h 4377740"/>
                <a:gd name="connsiteX15" fmla="*/ 10181926 w 10204800"/>
                <a:gd name="connsiteY15" fmla="*/ 4377740 h 4377740"/>
                <a:gd name="connsiteX16" fmla="*/ 10000456 w 10204800"/>
                <a:gd name="connsiteY16" fmla="*/ 4307517 h 4377740"/>
                <a:gd name="connsiteX17" fmla="*/ 8931461 w 10204800"/>
                <a:gd name="connsiteY17" fmla="*/ 3809849 h 4377740"/>
                <a:gd name="connsiteX18" fmla="*/ 7949389 w 10204800"/>
                <a:gd name="connsiteY18" fmla="*/ 2541254 h 4377740"/>
                <a:gd name="connsiteX19" fmla="*/ 7816718 w 10204800"/>
                <a:gd name="connsiteY19" fmla="*/ 2306159 h 4377740"/>
                <a:gd name="connsiteX20" fmla="*/ 7752670 w 10204800"/>
                <a:gd name="connsiteY20" fmla="*/ 2193192 h 4377740"/>
                <a:gd name="connsiteX21" fmla="*/ 6653176 w 10204800"/>
                <a:gd name="connsiteY21" fmla="*/ 941389 h 4377740"/>
                <a:gd name="connsiteX22" fmla="*/ 5106870 w 10204800"/>
                <a:gd name="connsiteY22" fmla="*/ 1045197 h 4377740"/>
                <a:gd name="connsiteX23" fmla="*/ 5048921 w 10204800"/>
                <a:gd name="connsiteY23" fmla="*/ 1063516 h 4377740"/>
                <a:gd name="connsiteX24" fmla="*/ 4759180 w 10204800"/>
                <a:gd name="connsiteY24" fmla="*/ 1152058 h 4377740"/>
                <a:gd name="connsiteX25" fmla="*/ 3299796 w 10204800"/>
                <a:gd name="connsiteY25" fmla="*/ 1381046 h 4377740"/>
                <a:gd name="connsiteX26" fmla="*/ 2180478 w 10204800"/>
                <a:gd name="connsiteY26" fmla="*/ 962761 h 4377740"/>
                <a:gd name="connsiteX27" fmla="*/ 1758065 w 10204800"/>
                <a:gd name="connsiteY27" fmla="*/ 765831 h 4377740"/>
                <a:gd name="connsiteX28" fmla="*/ 292956 w 10204800"/>
                <a:gd name="connsiteY28" fmla="*/ 138154 h 4377740"/>
                <a:gd name="connsiteX29" fmla="*/ 0 w 10204800"/>
                <a:gd name="connsiteY29" fmla="*/ 12647 h 4377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204800" h="4377740">
                  <a:moveTo>
                    <a:pt x="0" y="0"/>
                  </a:moveTo>
                  <a:lnTo>
                    <a:pt x="12323" y="5280"/>
                  </a:lnTo>
                  <a:cubicBezTo>
                    <a:pt x="95671" y="40988"/>
                    <a:pt x="429065" y="183819"/>
                    <a:pt x="1762640" y="755145"/>
                  </a:cubicBezTo>
                  <a:cubicBezTo>
                    <a:pt x="1899886" y="813155"/>
                    <a:pt x="2038657" y="880325"/>
                    <a:pt x="2185053" y="952075"/>
                  </a:cubicBezTo>
                  <a:cubicBezTo>
                    <a:pt x="2551042" y="1127633"/>
                    <a:pt x="2929232" y="1310823"/>
                    <a:pt x="3302846" y="1368834"/>
                  </a:cubicBezTo>
                  <a:cubicBezTo>
                    <a:pt x="3784732" y="1443636"/>
                    <a:pt x="4278818" y="1289451"/>
                    <a:pt x="4754605" y="1139845"/>
                  </a:cubicBezTo>
                  <a:cubicBezTo>
                    <a:pt x="4855252" y="1109313"/>
                    <a:pt x="4949799" y="1078782"/>
                    <a:pt x="5045872" y="1051303"/>
                  </a:cubicBezTo>
                  <a:cubicBezTo>
                    <a:pt x="5045872" y="1051303"/>
                    <a:pt x="5045872" y="1051303"/>
                    <a:pt x="5103820" y="1034511"/>
                  </a:cubicBezTo>
                  <a:cubicBezTo>
                    <a:pt x="5602481" y="887958"/>
                    <a:pt x="6169765" y="723087"/>
                    <a:pt x="6657751" y="930703"/>
                  </a:cubicBezTo>
                  <a:cubicBezTo>
                    <a:pt x="7173186" y="1149005"/>
                    <a:pt x="7487327" y="1700103"/>
                    <a:pt x="7763344" y="2187085"/>
                  </a:cubicBezTo>
                  <a:cubicBezTo>
                    <a:pt x="7784694" y="2225250"/>
                    <a:pt x="7806043" y="2263415"/>
                    <a:pt x="7827393" y="2300053"/>
                  </a:cubicBezTo>
                  <a:cubicBezTo>
                    <a:pt x="7871616" y="2376382"/>
                    <a:pt x="7914315" y="2454238"/>
                    <a:pt x="7960064" y="2535147"/>
                  </a:cubicBezTo>
                  <a:cubicBezTo>
                    <a:pt x="8223881" y="3012970"/>
                    <a:pt x="8498373" y="3506058"/>
                    <a:pt x="8937561" y="3800690"/>
                  </a:cubicBezTo>
                  <a:cubicBezTo>
                    <a:pt x="9250177" y="4011359"/>
                    <a:pt x="9632941" y="4156385"/>
                    <a:pt x="10005031" y="4296831"/>
                  </a:cubicBezTo>
                  <a:cubicBezTo>
                    <a:pt x="10072129" y="4322783"/>
                    <a:pt x="10139227" y="4347208"/>
                    <a:pt x="10204800" y="4373160"/>
                  </a:cubicBezTo>
                  <a:cubicBezTo>
                    <a:pt x="10204800" y="4373160"/>
                    <a:pt x="10204800" y="4373160"/>
                    <a:pt x="10181926" y="4377740"/>
                  </a:cubicBezTo>
                  <a:cubicBezTo>
                    <a:pt x="10122452" y="4354841"/>
                    <a:pt x="10061454" y="4331943"/>
                    <a:pt x="10000456" y="4307517"/>
                  </a:cubicBezTo>
                  <a:cubicBezTo>
                    <a:pt x="9628366" y="4167071"/>
                    <a:pt x="9244077" y="4022045"/>
                    <a:pt x="8931461" y="3809849"/>
                  </a:cubicBezTo>
                  <a:cubicBezTo>
                    <a:pt x="8489224" y="3513691"/>
                    <a:pt x="8214732" y="3019076"/>
                    <a:pt x="7949389" y="2541254"/>
                  </a:cubicBezTo>
                  <a:cubicBezTo>
                    <a:pt x="7903641" y="2460345"/>
                    <a:pt x="7860942" y="2382489"/>
                    <a:pt x="7816718" y="2306159"/>
                  </a:cubicBezTo>
                  <a:cubicBezTo>
                    <a:pt x="7795369" y="2269521"/>
                    <a:pt x="7774019" y="2231356"/>
                    <a:pt x="7752670" y="2193192"/>
                  </a:cubicBezTo>
                  <a:cubicBezTo>
                    <a:pt x="7478178" y="1707736"/>
                    <a:pt x="7165561" y="1158164"/>
                    <a:pt x="6653176" y="941389"/>
                  </a:cubicBezTo>
                  <a:cubicBezTo>
                    <a:pt x="6168240" y="735299"/>
                    <a:pt x="5604006" y="900171"/>
                    <a:pt x="5106870" y="1045197"/>
                  </a:cubicBezTo>
                  <a:cubicBezTo>
                    <a:pt x="5106870" y="1045197"/>
                    <a:pt x="5106870" y="1045197"/>
                    <a:pt x="5048921" y="1063516"/>
                  </a:cubicBezTo>
                  <a:cubicBezTo>
                    <a:pt x="4954374" y="1090995"/>
                    <a:pt x="4858302" y="1120000"/>
                    <a:pt x="4759180" y="1152058"/>
                  </a:cubicBezTo>
                  <a:cubicBezTo>
                    <a:pt x="4280343" y="1301664"/>
                    <a:pt x="3786257" y="1455849"/>
                    <a:pt x="3299796" y="1381046"/>
                  </a:cubicBezTo>
                  <a:cubicBezTo>
                    <a:pt x="2926182" y="1323036"/>
                    <a:pt x="2546468" y="1139845"/>
                    <a:pt x="2180478" y="962761"/>
                  </a:cubicBezTo>
                  <a:cubicBezTo>
                    <a:pt x="2032557" y="891011"/>
                    <a:pt x="1895311" y="823841"/>
                    <a:pt x="1758065" y="765831"/>
                  </a:cubicBezTo>
                  <a:cubicBezTo>
                    <a:pt x="1758065" y="765831"/>
                    <a:pt x="1758065" y="765831"/>
                    <a:pt x="292956" y="138154"/>
                  </a:cubicBezTo>
                  <a:lnTo>
                    <a:pt x="0" y="12647"/>
                  </a:lnTo>
                  <a:close/>
                </a:path>
              </a:pathLst>
            </a:custGeom>
            <a:solidFill>
              <a:srgbClr val="C8C9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37" name="Freeform 26"/>
            <p:cNvSpPr>
              <a:spLocks/>
            </p:cNvSpPr>
            <p:nvPr userDrawn="1"/>
          </p:nvSpPr>
          <p:spPr bwMode="auto">
            <a:xfrm>
              <a:off x="366392" y="0"/>
              <a:ext cx="10178543" cy="4345283"/>
            </a:xfrm>
            <a:custGeom>
              <a:avLst/>
              <a:gdLst>
                <a:gd name="T0" fmla="*/ 6673 w 6676"/>
                <a:gd name="T1" fmla="*/ 2843 h 2847"/>
                <a:gd name="T2" fmla="*/ 6368 w 6676"/>
                <a:gd name="T3" fmla="*/ 2722 h 2847"/>
                <a:gd name="T4" fmla="*/ 5668 w 6676"/>
                <a:gd name="T5" fmla="*/ 2398 h 2847"/>
                <a:gd name="T6" fmla="*/ 5018 w 6676"/>
                <a:gd name="T7" fmla="*/ 1599 h 2847"/>
                <a:gd name="T8" fmla="*/ 4934 w 6676"/>
                <a:gd name="T9" fmla="*/ 1458 h 2847"/>
                <a:gd name="T10" fmla="*/ 4897 w 6676"/>
                <a:gd name="T11" fmla="*/ 1398 h 2847"/>
                <a:gd name="T12" fmla="*/ 4161 w 6676"/>
                <a:gd name="T13" fmla="*/ 597 h 2847"/>
                <a:gd name="T14" fmla="*/ 3146 w 6676"/>
                <a:gd name="T15" fmla="*/ 634 h 2847"/>
                <a:gd name="T16" fmla="*/ 3109 w 6676"/>
                <a:gd name="T17" fmla="*/ 643 h 2847"/>
                <a:gd name="T18" fmla="*/ 2921 w 6676"/>
                <a:gd name="T19" fmla="*/ 692 h 2847"/>
                <a:gd name="T20" fmla="*/ 1972 w 6676"/>
                <a:gd name="T21" fmla="*/ 806 h 2847"/>
                <a:gd name="T22" fmla="*/ 1241 w 6676"/>
                <a:gd name="T23" fmla="*/ 531 h 2847"/>
                <a:gd name="T24" fmla="*/ 963 w 6676"/>
                <a:gd name="T25" fmla="*/ 403 h 2847"/>
                <a:gd name="T26" fmla="*/ 21 w 6676"/>
                <a:gd name="T27" fmla="*/ 0 h 2847"/>
                <a:gd name="T28" fmla="*/ 0 w 6676"/>
                <a:gd name="T29" fmla="*/ 0 h 2847"/>
                <a:gd name="T30" fmla="*/ 960 w 6676"/>
                <a:gd name="T31" fmla="*/ 410 h 2847"/>
                <a:gd name="T32" fmla="*/ 1238 w 6676"/>
                <a:gd name="T33" fmla="*/ 539 h 2847"/>
                <a:gd name="T34" fmla="*/ 1971 w 6676"/>
                <a:gd name="T35" fmla="*/ 814 h 2847"/>
                <a:gd name="T36" fmla="*/ 2923 w 6676"/>
                <a:gd name="T37" fmla="*/ 699 h 2847"/>
                <a:gd name="T38" fmla="*/ 3111 w 6676"/>
                <a:gd name="T39" fmla="*/ 651 h 2847"/>
                <a:gd name="T40" fmla="*/ 3148 w 6676"/>
                <a:gd name="T41" fmla="*/ 642 h 2847"/>
                <a:gd name="T42" fmla="*/ 4158 w 6676"/>
                <a:gd name="T43" fmla="*/ 604 h 2847"/>
                <a:gd name="T44" fmla="*/ 4890 w 6676"/>
                <a:gd name="T45" fmla="*/ 1402 h 2847"/>
                <a:gd name="T46" fmla="*/ 4927 w 6676"/>
                <a:gd name="T47" fmla="*/ 1463 h 2847"/>
                <a:gd name="T48" fmla="*/ 5011 w 6676"/>
                <a:gd name="T49" fmla="*/ 1603 h 2847"/>
                <a:gd name="T50" fmla="*/ 5663 w 6676"/>
                <a:gd name="T51" fmla="*/ 2405 h 2847"/>
                <a:gd name="T52" fmla="*/ 6365 w 6676"/>
                <a:gd name="T53" fmla="*/ 2730 h 2847"/>
                <a:gd name="T54" fmla="*/ 6661 w 6676"/>
                <a:gd name="T55" fmla="*/ 2847 h 2847"/>
                <a:gd name="T56" fmla="*/ 6676 w 6676"/>
                <a:gd name="T57" fmla="*/ 2845 h 2847"/>
                <a:gd name="T58" fmla="*/ 6673 w 6676"/>
                <a:gd name="T59" fmla="*/ 2843 h 28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676" h="2847">
                  <a:moveTo>
                    <a:pt x="6673" y="2843"/>
                  </a:moveTo>
                  <a:cubicBezTo>
                    <a:pt x="6575" y="2801"/>
                    <a:pt x="6474" y="2763"/>
                    <a:pt x="6368" y="2722"/>
                  </a:cubicBezTo>
                  <a:cubicBezTo>
                    <a:pt x="6125" y="2630"/>
                    <a:pt x="5875" y="2535"/>
                    <a:pt x="5668" y="2398"/>
                  </a:cubicBezTo>
                  <a:cubicBezTo>
                    <a:pt x="5381" y="2210"/>
                    <a:pt x="5196" y="1899"/>
                    <a:pt x="5018" y="1599"/>
                  </a:cubicBezTo>
                  <a:cubicBezTo>
                    <a:pt x="4990" y="1552"/>
                    <a:pt x="4962" y="1504"/>
                    <a:pt x="4934" y="1458"/>
                  </a:cubicBezTo>
                  <a:cubicBezTo>
                    <a:pt x="4921" y="1438"/>
                    <a:pt x="4909" y="1418"/>
                    <a:pt x="4897" y="1398"/>
                  </a:cubicBezTo>
                  <a:cubicBezTo>
                    <a:pt x="4710" y="1089"/>
                    <a:pt x="4498" y="739"/>
                    <a:pt x="4161" y="597"/>
                  </a:cubicBezTo>
                  <a:cubicBezTo>
                    <a:pt x="3844" y="462"/>
                    <a:pt x="3473" y="553"/>
                    <a:pt x="3146" y="634"/>
                  </a:cubicBezTo>
                  <a:cubicBezTo>
                    <a:pt x="3109" y="643"/>
                    <a:pt x="3109" y="643"/>
                    <a:pt x="3109" y="643"/>
                  </a:cubicBezTo>
                  <a:cubicBezTo>
                    <a:pt x="3047" y="658"/>
                    <a:pt x="2983" y="675"/>
                    <a:pt x="2921" y="692"/>
                  </a:cubicBezTo>
                  <a:cubicBezTo>
                    <a:pt x="2608" y="774"/>
                    <a:pt x="2285" y="859"/>
                    <a:pt x="1972" y="806"/>
                  </a:cubicBezTo>
                  <a:cubicBezTo>
                    <a:pt x="1727" y="765"/>
                    <a:pt x="1480" y="646"/>
                    <a:pt x="1241" y="531"/>
                  </a:cubicBezTo>
                  <a:cubicBezTo>
                    <a:pt x="1145" y="485"/>
                    <a:pt x="1054" y="441"/>
                    <a:pt x="963" y="403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60" y="410"/>
                    <a:pt x="960" y="410"/>
                    <a:pt x="960" y="410"/>
                  </a:cubicBezTo>
                  <a:cubicBezTo>
                    <a:pt x="1050" y="449"/>
                    <a:pt x="1141" y="492"/>
                    <a:pt x="1238" y="539"/>
                  </a:cubicBezTo>
                  <a:cubicBezTo>
                    <a:pt x="1477" y="654"/>
                    <a:pt x="1725" y="772"/>
                    <a:pt x="1971" y="814"/>
                  </a:cubicBezTo>
                  <a:cubicBezTo>
                    <a:pt x="2286" y="868"/>
                    <a:pt x="2610" y="782"/>
                    <a:pt x="2923" y="699"/>
                  </a:cubicBezTo>
                  <a:cubicBezTo>
                    <a:pt x="2985" y="683"/>
                    <a:pt x="3049" y="666"/>
                    <a:pt x="3111" y="651"/>
                  </a:cubicBezTo>
                  <a:cubicBezTo>
                    <a:pt x="3148" y="642"/>
                    <a:pt x="3148" y="642"/>
                    <a:pt x="3148" y="642"/>
                  </a:cubicBezTo>
                  <a:cubicBezTo>
                    <a:pt x="3474" y="561"/>
                    <a:pt x="3843" y="470"/>
                    <a:pt x="4158" y="604"/>
                  </a:cubicBezTo>
                  <a:cubicBezTo>
                    <a:pt x="4492" y="746"/>
                    <a:pt x="4703" y="1094"/>
                    <a:pt x="4890" y="1402"/>
                  </a:cubicBezTo>
                  <a:cubicBezTo>
                    <a:pt x="4902" y="1422"/>
                    <a:pt x="4915" y="1443"/>
                    <a:pt x="4927" y="1463"/>
                  </a:cubicBezTo>
                  <a:cubicBezTo>
                    <a:pt x="4955" y="1508"/>
                    <a:pt x="4983" y="1556"/>
                    <a:pt x="5011" y="1603"/>
                  </a:cubicBezTo>
                  <a:cubicBezTo>
                    <a:pt x="5190" y="1904"/>
                    <a:pt x="5375" y="2216"/>
                    <a:pt x="5663" y="2405"/>
                  </a:cubicBezTo>
                  <a:cubicBezTo>
                    <a:pt x="5871" y="2542"/>
                    <a:pt x="6122" y="2637"/>
                    <a:pt x="6365" y="2730"/>
                  </a:cubicBezTo>
                  <a:cubicBezTo>
                    <a:pt x="6468" y="2769"/>
                    <a:pt x="6566" y="2807"/>
                    <a:pt x="6661" y="2847"/>
                  </a:cubicBezTo>
                  <a:cubicBezTo>
                    <a:pt x="6676" y="2845"/>
                    <a:pt x="6676" y="2845"/>
                    <a:pt x="6676" y="2845"/>
                  </a:cubicBezTo>
                  <a:lnTo>
                    <a:pt x="6673" y="2843"/>
                  </a:lnTo>
                  <a:close/>
                </a:path>
              </a:pathLst>
            </a:custGeom>
            <a:solidFill>
              <a:srgbClr val="C7C9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8" name="Freeform 27"/>
            <p:cNvSpPr>
              <a:spLocks/>
            </p:cNvSpPr>
            <p:nvPr userDrawn="1"/>
          </p:nvSpPr>
          <p:spPr bwMode="auto">
            <a:xfrm>
              <a:off x="834592" y="0"/>
              <a:ext cx="10042252" cy="4285956"/>
            </a:xfrm>
            <a:custGeom>
              <a:avLst/>
              <a:gdLst>
                <a:gd name="T0" fmla="*/ 6413 w 6586"/>
                <a:gd name="T1" fmla="*/ 2732 h 2809"/>
                <a:gd name="T2" fmla="*/ 6108 w 6586"/>
                <a:gd name="T3" fmla="*/ 2611 h 2809"/>
                <a:gd name="T4" fmla="*/ 5408 w 6586"/>
                <a:gd name="T5" fmla="*/ 2288 h 2809"/>
                <a:gd name="T6" fmla="*/ 4731 w 6586"/>
                <a:gd name="T7" fmla="*/ 1470 h 2809"/>
                <a:gd name="T8" fmla="*/ 3894 w 6586"/>
                <a:gd name="T9" fmla="*/ 572 h 2809"/>
                <a:gd name="T10" fmla="*/ 2695 w 6586"/>
                <a:gd name="T11" fmla="*/ 601 h 2809"/>
                <a:gd name="T12" fmla="*/ 1712 w 6586"/>
                <a:gd name="T13" fmla="*/ 697 h 2809"/>
                <a:gd name="T14" fmla="*/ 983 w 6586"/>
                <a:gd name="T15" fmla="*/ 420 h 2809"/>
                <a:gd name="T16" fmla="*/ 704 w 6586"/>
                <a:gd name="T17" fmla="*/ 292 h 2809"/>
                <a:gd name="T18" fmla="*/ 21 w 6586"/>
                <a:gd name="T19" fmla="*/ 0 h 2809"/>
                <a:gd name="T20" fmla="*/ 0 w 6586"/>
                <a:gd name="T21" fmla="*/ 0 h 2809"/>
                <a:gd name="T22" fmla="*/ 700 w 6586"/>
                <a:gd name="T23" fmla="*/ 299 h 2809"/>
                <a:gd name="T24" fmla="*/ 979 w 6586"/>
                <a:gd name="T25" fmla="*/ 428 h 2809"/>
                <a:gd name="T26" fmla="*/ 1711 w 6586"/>
                <a:gd name="T27" fmla="*/ 705 h 2809"/>
                <a:gd name="T28" fmla="*/ 2696 w 6586"/>
                <a:gd name="T29" fmla="*/ 609 h 2809"/>
                <a:gd name="T30" fmla="*/ 3891 w 6586"/>
                <a:gd name="T31" fmla="*/ 579 h 2809"/>
                <a:gd name="T32" fmla="*/ 4724 w 6586"/>
                <a:gd name="T33" fmla="*/ 1475 h 2809"/>
                <a:gd name="T34" fmla="*/ 5403 w 6586"/>
                <a:gd name="T35" fmla="*/ 2295 h 2809"/>
                <a:gd name="T36" fmla="*/ 6105 w 6586"/>
                <a:gd name="T37" fmla="*/ 2618 h 2809"/>
                <a:gd name="T38" fmla="*/ 6410 w 6586"/>
                <a:gd name="T39" fmla="*/ 2740 h 2809"/>
                <a:gd name="T40" fmla="*/ 6571 w 6586"/>
                <a:gd name="T41" fmla="*/ 2809 h 2809"/>
                <a:gd name="T42" fmla="*/ 6586 w 6586"/>
                <a:gd name="T43" fmla="*/ 2806 h 2809"/>
                <a:gd name="T44" fmla="*/ 6413 w 6586"/>
                <a:gd name="T45" fmla="*/ 2732 h 2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586" h="2809">
                  <a:moveTo>
                    <a:pt x="6413" y="2732"/>
                  </a:moveTo>
                  <a:cubicBezTo>
                    <a:pt x="6315" y="2690"/>
                    <a:pt x="6209" y="2650"/>
                    <a:pt x="6108" y="2611"/>
                  </a:cubicBezTo>
                  <a:cubicBezTo>
                    <a:pt x="5867" y="2518"/>
                    <a:pt x="5617" y="2423"/>
                    <a:pt x="5408" y="2288"/>
                  </a:cubicBezTo>
                  <a:cubicBezTo>
                    <a:pt x="5110" y="2097"/>
                    <a:pt x="4917" y="1778"/>
                    <a:pt x="4731" y="1470"/>
                  </a:cubicBezTo>
                  <a:cubicBezTo>
                    <a:pt x="4513" y="1111"/>
                    <a:pt x="4288" y="739"/>
                    <a:pt x="3894" y="572"/>
                  </a:cubicBezTo>
                  <a:cubicBezTo>
                    <a:pt x="3512" y="409"/>
                    <a:pt x="3096" y="507"/>
                    <a:pt x="2695" y="601"/>
                  </a:cubicBezTo>
                  <a:cubicBezTo>
                    <a:pt x="2368" y="678"/>
                    <a:pt x="2031" y="757"/>
                    <a:pt x="1712" y="697"/>
                  </a:cubicBezTo>
                  <a:cubicBezTo>
                    <a:pt x="1467" y="651"/>
                    <a:pt x="1221" y="534"/>
                    <a:pt x="983" y="420"/>
                  </a:cubicBezTo>
                  <a:cubicBezTo>
                    <a:pt x="886" y="374"/>
                    <a:pt x="795" y="331"/>
                    <a:pt x="704" y="292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00" y="299"/>
                    <a:pt x="700" y="299"/>
                    <a:pt x="700" y="299"/>
                  </a:cubicBezTo>
                  <a:cubicBezTo>
                    <a:pt x="792" y="338"/>
                    <a:pt x="883" y="382"/>
                    <a:pt x="979" y="428"/>
                  </a:cubicBezTo>
                  <a:cubicBezTo>
                    <a:pt x="1218" y="541"/>
                    <a:pt x="1464" y="659"/>
                    <a:pt x="1711" y="705"/>
                  </a:cubicBezTo>
                  <a:cubicBezTo>
                    <a:pt x="2031" y="765"/>
                    <a:pt x="2370" y="686"/>
                    <a:pt x="2696" y="609"/>
                  </a:cubicBezTo>
                  <a:cubicBezTo>
                    <a:pt x="3097" y="515"/>
                    <a:pt x="3511" y="418"/>
                    <a:pt x="3891" y="579"/>
                  </a:cubicBezTo>
                  <a:cubicBezTo>
                    <a:pt x="4282" y="745"/>
                    <a:pt x="4507" y="1116"/>
                    <a:pt x="4724" y="1475"/>
                  </a:cubicBezTo>
                  <a:cubicBezTo>
                    <a:pt x="4910" y="1783"/>
                    <a:pt x="5104" y="2103"/>
                    <a:pt x="5403" y="2295"/>
                  </a:cubicBezTo>
                  <a:cubicBezTo>
                    <a:pt x="5613" y="2430"/>
                    <a:pt x="5863" y="2526"/>
                    <a:pt x="6105" y="2618"/>
                  </a:cubicBezTo>
                  <a:cubicBezTo>
                    <a:pt x="6206" y="2658"/>
                    <a:pt x="6312" y="2698"/>
                    <a:pt x="6410" y="2740"/>
                  </a:cubicBezTo>
                  <a:cubicBezTo>
                    <a:pt x="6571" y="2809"/>
                    <a:pt x="6571" y="2809"/>
                    <a:pt x="6571" y="2809"/>
                  </a:cubicBezTo>
                  <a:cubicBezTo>
                    <a:pt x="6586" y="2806"/>
                    <a:pt x="6586" y="2806"/>
                    <a:pt x="6586" y="2806"/>
                  </a:cubicBezTo>
                  <a:lnTo>
                    <a:pt x="6413" y="2732"/>
                  </a:lnTo>
                  <a:close/>
                </a:path>
              </a:pathLst>
            </a:custGeom>
            <a:solidFill>
              <a:srgbClr val="C7C8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9" name="Freeform 28"/>
            <p:cNvSpPr>
              <a:spLocks/>
            </p:cNvSpPr>
            <p:nvPr userDrawn="1"/>
          </p:nvSpPr>
          <p:spPr bwMode="auto">
            <a:xfrm>
              <a:off x="1301189" y="0"/>
              <a:ext cx="9905961" cy="4228233"/>
            </a:xfrm>
            <a:custGeom>
              <a:avLst/>
              <a:gdLst>
                <a:gd name="T0" fmla="*/ 6154 w 6497"/>
                <a:gd name="T1" fmla="*/ 2621 h 2771"/>
                <a:gd name="T2" fmla="*/ 5848 w 6497"/>
                <a:gd name="T3" fmla="*/ 2499 h 2771"/>
                <a:gd name="T4" fmla="*/ 5149 w 6497"/>
                <a:gd name="T5" fmla="*/ 2178 h 2771"/>
                <a:gd name="T6" fmla="*/ 4468 w 6497"/>
                <a:gd name="T7" fmla="*/ 1404 h 2771"/>
                <a:gd name="T8" fmla="*/ 3633 w 6497"/>
                <a:gd name="T9" fmla="*/ 552 h 2771"/>
                <a:gd name="T10" fmla="*/ 2435 w 6497"/>
                <a:gd name="T11" fmla="*/ 536 h 2771"/>
                <a:gd name="T12" fmla="*/ 1454 w 6497"/>
                <a:gd name="T13" fmla="*/ 588 h 2771"/>
                <a:gd name="T14" fmla="*/ 726 w 6497"/>
                <a:gd name="T15" fmla="*/ 309 h 2771"/>
                <a:gd name="T16" fmla="*/ 445 w 6497"/>
                <a:gd name="T17" fmla="*/ 181 h 2771"/>
                <a:gd name="T18" fmla="*/ 21 w 6497"/>
                <a:gd name="T19" fmla="*/ 0 h 2771"/>
                <a:gd name="T20" fmla="*/ 0 w 6497"/>
                <a:gd name="T21" fmla="*/ 0 h 2771"/>
                <a:gd name="T22" fmla="*/ 442 w 6497"/>
                <a:gd name="T23" fmla="*/ 189 h 2771"/>
                <a:gd name="T24" fmla="*/ 722 w 6497"/>
                <a:gd name="T25" fmla="*/ 317 h 2771"/>
                <a:gd name="T26" fmla="*/ 1452 w 6497"/>
                <a:gd name="T27" fmla="*/ 596 h 2771"/>
                <a:gd name="T28" fmla="*/ 2436 w 6497"/>
                <a:gd name="T29" fmla="*/ 544 h 2771"/>
                <a:gd name="T30" fmla="*/ 3630 w 6497"/>
                <a:gd name="T31" fmla="*/ 560 h 2771"/>
                <a:gd name="T32" fmla="*/ 4461 w 6497"/>
                <a:gd name="T33" fmla="*/ 1409 h 2771"/>
                <a:gd name="T34" fmla="*/ 5145 w 6497"/>
                <a:gd name="T35" fmla="*/ 2186 h 2771"/>
                <a:gd name="T36" fmla="*/ 5845 w 6497"/>
                <a:gd name="T37" fmla="*/ 2507 h 2771"/>
                <a:gd name="T38" fmla="*/ 6151 w 6497"/>
                <a:gd name="T39" fmla="*/ 2629 h 2771"/>
                <a:gd name="T40" fmla="*/ 6482 w 6497"/>
                <a:gd name="T41" fmla="*/ 2771 h 2771"/>
                <a:gd name="T42" fmla="*/ 6497 w 6497"/>
                <a:gd name="T43" fmla="*/ 2768 h 2771"/>
                <a:gd name="T44" fmla="*/ 6154 w 6497"/>
                <a:gd name="T45" fmla="*/ 2621 h 27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497" h="2771">
                  <a:moveTo>
                    <a:pt x="6154" y="2621"/>
                  </a:moveTo>
                  <a:cubicBezTo>
                    <a:pt x="6056" y="2579"/>
                    <a:pt x="5950" y="2538"/>
                    <a:pt x="5848" y="2499"/>
                  </a:cubicBezTo>
                  <a:cubicBezTo>
                    <a:pt x="5609" y="2406"/>
                    <a:pt x="5361" y="2311"/>
                    <a:pt x="5149" y="2178"/>
                  </a:cubicBezTo>
                  <a:cubicBezTo>
                    <a:pt x="4856" y="1995"/>
                    <a:pt x="4659" y="1695"/>
                    <a:pt x="4468" y="1404"/>
                  </a:cubicBezTo>
                  <a:cubicBezTo>
                    <a:pt x="4245" y="1065"/>
                    <a:pt x="4016" y="715"/>
                    <a:pt x="3633" y="552"/>
                  </a:cubicBezTo>
                  <a:cubicBezTo>
                    <a:pt x="3253" y="391"/>
                    <a:pt x="2837" y="465"/>
                    <a:pt x="2435" y="536"/>
                  </a:cubicBezTo>
                  <a:cubicBezTo>
                    <a:pt x="2109" y="594"/>
                    <a:pt x="1771" y="654"/>
                    <a:pt x="1454" y="588"/>
                  </a:cubicBezTo>
                  <a:cubicBezTo>
                    <a:pt x="1208" y="537"/>
                    <a:pt x="963" y="421"/>
                    <a:pt x="726" y="309"/>
                  </a:cubicBezTo>
                  <a:cubicBezTo>
                    <a:pt x="629" y="264"/>
                    <a:pt x="537" y="220"/>
                    <a:pt x="445" y="181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42" y="189"/>
                    <a:pt x="442" y="189"/>
                    <a:pt x="442" y="189"/>
                  </a:cubicBezTo>
                  <a:cubicBezTo>
                    <a:pt x="534" y="228"/>
                    <a:pt x="625" y="271"/>
                    <a:pt x="722" y="317"/>
                  </a:cubicBezTo>
                  <a:cubicBezTo>
                    <a:pt x="960" y="429"/>
                    <a:pt x="1205" y="545"/>
                    <a:pt x="1452" y="596"/>
                  </a:cubicBezTo>
                  <a:cubicBezTo>
                    <a:pt x="1771" y="662"/>
                    <a:pt x="2109" y="602"/>
                    <a:pt x="2436" y="544"/>
                  </a:cubicBezTo>
                  <a:cubicBezTo>
                    <a:pt x="2837" y="473"/>
                    <a:pt x="3252" y="399"/>
                    <a:pt x="3630" y="560"/>
                  </a:cubicBezTo>
                  <a:cubicBezTo>
                    <a:pt x="4010" y="722"/>
                    <a:pt x="4239" y="1071"/>
                    <a:pt x="4461" y="1409"/>
                  </a:cubicBezTo>
                  <a:cubicBezTo>
                    <a:pt x="4652" y="1700"/>
                    <a:pt x="4850" y="2002"/>
                    <a:pt x="5145" y="2186"/>
                  </a:cubicBezTo>
                  <a:cubicBezTo>
                    <a:pt x="5357" y="2318"/>
                    <a:pt x="5605" y="2414"/>
                    <a:pt x="5845" y="2507"/>
                  </a:cubicBezTo>
                  <a:cubicBezTo>
                    <a:pt x="5947" y="2546"/>
                    <a:pt x="6052" y="2587"/>
                    <a:pt x="6151" y="2629"/>
                  </a:cubicBezTo>
                  <a:cubicBezTo>
                    <a:pt x="6482" y="2771"/>
                    <a:pt x="6482" y="2771"/>
                    <a:pt x="6482" y="2771"/>
                  </a:cubicBezTo>
                  <a:cubicBezTo>
                    <a:pt x="6497" y="2768"/>
                    <a:pt x="6497" y="2768"/>
                    <a:pt x="6497" y="2768"/>
                  </a:cubicBezTo>
                  <a:lnTo>
                    <a:pt x="6154" y="2621"/>
                  </a:lnTo>
                  <a:close/>
                </a:path>
              </a:pathLst>
            </a:custGeom>
            <a:solidFill>
              <a:srgbClr val="C6C8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0" name="Rectangle 29"/>
            <p:cNvSpPr>
              <a:spLocks noChangeArrowheads="1"/>
            </p:cNvSpPr>
            <p:nvPr userDrawn="1"/>
          </p:nvSpPr>
          <p:spPr bwMode="auto">
            <a:xfrm>
              <a:off x="12295875" y="4489591"/>
              <a:ext cx="1604" cy="14431"/>
            </a:xfrm>
            <a:prstGeom prst="rect">
              <a:avLst/>
            </a:prstGeom>
            <a:solidFill>
              <a:srgbClr val="C6C7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1" name="Freeform 30"/>
            <p:cNvSpPr>
              <a:spLocks/>
            </p:cNvSpPr>
            <p:nvPr userDrawn="1"/>
          </p:nvSpPr>
          <p:spPr bwMode="auto">
            <a:xfrm>
              <a:off x="1767786" y="0"/>
              <a:ext cx="9769670" cy="4168906"/>
            </a:xfrm>
            <a:custGeom>
              <a:avLst/>
              <a:gdLst>
                <a:gd name="T0" fmla="*/ 5896 w 6408"/>
                <a:gd name="T1" fmla="*/ 2511 h 2732"/>
                <a:gd name="T2" fmla="*/ 5589 w 6408"/>
                <a:gd name="T3" fmla="*/ 2387 h 2732"/>
                <a:gd name="T4" fmla="*/ 4891 w 6408"/>
                <a:gd name="T5" fmla="*/ 2069 h 2732"/>
                <a:gd name="T6" fmla="*/ 4206 w 6408"/>
                <a:gd name="T7" fmla="*/ 1340 h 2732"/>
                <a:gd name="T8" fmla="*/ 3376 w 6408"/>
                <a:gd name="T9" fmla="*/ 538 h 2732"/>
                <a:gd name="T10" fmla="*/ 2177 w 6408"/>
                <a:gd name="T11" fmla="*/ 474 h 2732"/>
                <a:gd name="T12" fmla="*/ 1195 w 6408"/>
                <a:gd name="T13" fmla="*/ 480 h 2732"/>
                <a:gd name="T14" fmla="*/ 469 w 6408"/>
                <a:gd name="T15" fmla="*/ 199 h 2732"/>
                <a:gd name="T16" fmla="*/ 186 w 6408"/>
                <a:gd name="T17" fmla="*/ 70 h 2732"/>
                <a:gd name="T18" fmla="*/ 22 w 6408"/>
                <a:gd name="T19" fmla="*/ 0 h 2732"/>
                <a:gd name="T20" fmla="*/ 0 w 6408"/>
                <a:gd name="T21" fmla="*/ 0 h 2732"/>
                <a:gd name="T22" fmla="*/ 183 w 6408"/>
                <a:gd name="T23" fmla="*/ 78 h 2732"/>
                <a:gd name="T24" fmla="*/ 465 w 6408"/>
                <a:gd name="T25" fmla="*/ 206 h 2732"/>
                <a:gd name="T26" fmla="*/ 1194 w 6408"/>
                <a:gd name="T27" fmla="*/ 488 h 2732"/>
                <a:gd name="T28" fmla="*/ 2178 w 6408"/>
                <a:gd name="T29" fmla="*/ 482 h 2732"/>
                <a:gd name="T30" fmla="*/ 3372 w 6408"/>
                <a:gd name="T31" fmla="*/ 546 h 2732"/>
                <a:gd name="T32" fmla="*/ 4199 w 6408"/>
                <a:gd name="T33" fmla="*/ 1345 h 2732"/>
                <a:gd name="T34" fmla="*/ 4886 w 6408"/>
                <a:gd name="T35" fmla="*/ 2076 h 2732"/>
                <a:gd name="T36" fmla="*/ 5586 w 6408"/>
                <a:gd name="T37" fmla="*/ 2395 h 2732"/>
                <a:gd name="T38" fmla="*/ 5892 w 6408"/>
                <a:gd name="T39" fmla="*/ 2518 h 2732"/>
                <a:gd name="T40" fmla="*/ 6393 w 6408"/>
                <a:gd name="T41" fmla="*/ 2732 h 2732"/>
                <a:gd name="T42" fmla="*/ 6408 w 6408"/>
                <a:gd name="T43" fmla="*/ 2730 h 2732"/>
                <a:gd name="T44" fmla="*/ 5896 w 6408"/>
                <a:gd name="T45" fmla="*/ 2511 h 27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408" h="2732">
                  <a:moveTo>
                    <a:pt x="5896" y="2511"/>
                  </a:moveTo>
                  <a:cubicBezTo>
                    <a:pt x="5796" y="2468"/>
                    <a:pt x="5691" y="2427"/>
                    <a:pt x="5589" y="2387"/>
                  </a:cubicBezTo>
                  <a:cubicBezTo>
                    <a:pt x="5351" y="2294"/>
                    <a:pt x="5105" y="2198"/>
                    <a:pt x="4891" y="2069"/>
                  </a:cubicBezTo>
                  <a:cubicBezTo>
                    <a:pt x="4603" y="1895"/>
                    <a:pt x="4401" y="1613"/>
                    <a:pt x="4206" y="1340"/>
                  </a:cubicBezTo>
                  <a:cubicBezTo>
                    <a:pt x="3980" y="1023"/>
                    <a:pt x="3746" y="695"/>
                    <a:pt x="3376" y="538"/>
                  </a:cubicBezTo>
                  <a:cubicBezTo>
                    <a:pt x="2997" y="377"/>
                    <a:pt x="2580" y="426"/>
                    <a:pt x="2177" y="474"/>
                  </a:cubicBezTo>
                  <a:cubicBezTo>
                    <a:pt x="1850" y="512"/>
                    <a:pt x="1512" y="552"/>
                    <a:pt x="1195" y="480"/>
                  </a:cubicBezTo>
                  <a:cubicBezTo>
                    <a:pt x="949" y="423"/>
                    <a:pt x="705" y="309"/>
                    <a:pt x="469" y="199"/>
                  </a:cubicBezTo>
                  <a:cubicBezTo>
                    <a:pt x="376" y="155"/>
                    <a:pt x="280" y="110"/>
                    <a:pt x="186" y="7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83" y="78"/>
                    <a:pt x="183" y="78"/>
                    <a:pt x="183" y="78"/>
                  </a:cubicBezTo>
                  <a:cubicBezTo>
                    <a:pt x="276" y="118"/>
                    <a:pt x="372" y="163"/>
                    <a:pt x="465" y="206"/>
                  </a:cubicBezTo>
                  <a:cubicBezTo>
                    <a:pt x="702" y="317"/>
                    <a:pt x="946" y="432"/>
                    <a:pt x="1194" y="488"/>
                  </a:cubicBezTo>
                  <a:cubicBezTo>
                    <a:pt x="1512" y="561"/>
                    <a:pt x="1851" y="521"/>
                    <a:pt x="2178" y="482"/>
                  </a:cubicBezTo>
                  <a:cubicBezTo>
                    <a:pt x="2580" y="434"/>
                    <a:pt x="2996" y="385"/>
                    <a:pt x="3372" y="546"/>
                  </a:cubicBezTo>
                  <a:cubicBezTo>
                    <a:pt x="3740" y="702"/>
                    <a:pt x="3974" y="1029"/>
                    <a:pt x="4199" y="1345"/>
                  </a:cubicBezTo>
                  <a:cubicBezTo>
                    <a:pt x="4395" y="1618"/>
                    <a:pt x="4597" y="1901"/>
                    <a:pt x="4886" y="2076"/>
                  </a:cubicBezTo>
                  <a:cubicBezTo>
                    <a:pt x="5101" y="2206"/>
                    <a:pt x="5347" y="2302"/>
                    <a:pt x="5586" y="2395"/>
                  </a:cubicBezTo>
                  <a:cubicBezTo>
                    <a:pt x="5688" y="2435"/>
                    <a:pt x="5793" y="2476"/>
                    <a:pt x="5892" y="2518"/>
                  </a:cubicBezTo>
                  <a:cubicBezTo>
                    <a:pt x="6393" y="2732"/>
                    <a:pt x="6393" y="2732"/>
                    <a:pt x="6393" y="2732"/>
                  </a:cubicBezTo>
                  <a:cubicBezTo>
                    <a:pt x="6408" y="2730"/>
                    <a:pt x="6408" y="2730"/>
                    <a:pt x="6408" y="2730"/>
                  </a:cubicBezTo>
                  <a:lnTo>
                    <a:pt x="5896" y="2511"/>
                  </a:lnTo>
                  <a:close/>
                </a:path>
              </a:pathLst>
            </a:custGeom>
            <a:solidFill>
              <a:srgbClr val="C6C7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2" name="Freeform 31"/>
            <p:cNvSpPr>
              <a:spLocks/>
            </p:cNvSpPr>
            <p:nvPr userDrawn="1"/>
          </p:nvSpPr>
          <p:spPr bwMode="auto">
            <a:xfrm>
              <a:off x="12295875" y="4293973"/>
              <a:ext cx="0" cy="9621"/>
            </a:xfrm>
            <a:custGeom>
              <a:avLst/>
              <a:gdLst>
                <a:gd name="T0" fmla="*/ 6 h 6"/>
                <a:gd name="T1" fmla="*/ 0 h 6"/>
                <a:gd name="T2" fmla="*/ 6 h 6"/>
                <a:gd name="T3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C5C7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3" name="Freeform 32"/>
            <p:cNvSpPr>
              <a:spLocks/>
            </p:cNvSpPr>
            <p:nvPr userDrawn="1"/>
          </p:nvSpPr>
          <p:spPr bwMode="auto">
            <a:xfrm>
              <a:off x="2232779" y="0"/>
              <a:ext cx="9636585" cy="4111183"/>
            </a:xfrm>
            <a:custGeom>
              <a:avLst/>
              <a:gdLst>
                <a:gd name="T0" fmla="*/ 5638 w 6320"/>
                <a:gd name="T1" fmla="*/ 2400 h 2694"/>
                <a:gd name="T2" fmla="*/ 5330 w 6320"/>
                <a:gd name="T3" fmla="*/ 2275 h 2694"/>
                <a:gd name="T4" fmla="*/ 4634 w 6320"/>
                <a:gd name="T5" fmla="*/ 1960 h 2694"/>
                <a:gd name="T6" fmla="*/ 3947 w 6320"/>
                <a:gd name="T7" fmla="*/ 1278 h 2694"/>
                <a:gd name="T8" fmla="*/ 3122 w 6320"/>
                <a:gd name="T9" fmla="*/ 527 h 2694"/>
                <a:gd name="T10" fmla="*/ 1923 w 6320"/>
                <a:gd name="T11" fmla="*/ 413 h 2694"/>
                <a:gd name="T12" fmla="*/ 939 w 6320"/>
                <a:gd name="T13" fmla="*/ 372 h 2694"/>
                <a:gd name="T14" fmla="*/ 214 w 6320"/>
                <a:gd name="T15" fmla="*/ 88 h 2694"/>
                <a:gd name="T16" fmla="*/ 21 w 6320"/>
                <a:gd name="T17" fmla="*/ 0 h 2694"/>
                <a:gd name="T18" fmla="*/ 0 w 6320"/>
                <a:gd name="T19" fmla="*/ 0 h 2694"/>
                <a:gd name="T20" fmla="*/ 210 w 6320"/>
                <a:gd name="T21" fmla="*/ 96 h 2694"/>
                <a:gd name="T22" fmla="*/ 936 w 6320"/>
                <a:gd name="T23" fmla="*/ 380 h 2694"/>
                <a:gd name="T24" fmla="*/ 1923 w 6320"/>
                <a:gd name="T25" fmla="*/ 422 h 2694"/>
                <a:gd name="T26" fmla="*/ 3119 w 6320"/>
                <a:gd name="T27" fmla="*/ 535 h 2694"/>
                <a:gd name="T28" fmla="*/ 3940 w 6320"/>
                <a:gd name="T29" fmla="*/ 1283 h 2694"/>
                <a:gd name="T30" fmla="*/ 4629 w 6320"/>
                <a:gd name="T31" fmla="*/ 1967 h 2694"/>
                <a:gd name="T32" fmla="*/ 5327 w 6320"/>
                <a:gd name="T33" fmla="*/ 2283 h 2694"/>
                <a:gd name="T34" fmla="*/ 5635 w 6320"/>
                <a:gd name="T35" fmla="*/ 2408 h 2694"/>
                <a:gd name="T36" fmla="*/ 6305 w 6320"/>
                <a:gd name="T37" fmla="*/ 2694 h 2694"/>
                <a:gd name="T38" fmla="*/ 6320 w 6320"/>
                <a:gd name="T39" fmla="*/ 2691 h 2694"/>
                <a:gd name="T40" fmla="*/ 5638 w 6320"/>
                <a:gd name="T41" fmla="*/ 2400 h 2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320" h="2694">
                  <a:moveTo>
                    <a:pt x="5638" y="2400"/>
                  </a:moveTo>
                  <a:cubicBezTo>
                    <a:pt x="5538" y="2357"/>
                    <a:pt x="5432" y="2315"/>
                    <a:pt x="5330" y="2275"/>
                  </a:cubicBezTo>
                  <a:cubicBezTo>
                    <a:pt x="5094" y="2182"/>
                    <a:pt x="4849" y="2086"/>
                    <a:pt x="4634" y="1960"/>
                  </a:cubicBezTo>
                  <a:cubicBezTo>
                    <a:pt x="4352" y="1795"/>
                    <a:pt x="4146" y="1532"/>
                    <a:pt x="3947" y="1278"/>
                  </a:cubicBezTo>
                  <a:cubicBezTo>
                    <a:pt x="3717" y="983"/>
                    <a:pt x="3479" y="679"/>
                    <a:pt x="3122" y="527"/>
                  </a:cubicBezTo>
                  <a:cubicBezTo>
                    <a:pt x="2744" y="366"/>
                    <a:pt x="2326" y="390"/>
                    <a:pt x="1923" y="413"/>
                  </a:cubicBezTo>
                  <a:cubicBezTo>
                    <a:pt x="1595" y="432"/>
                    <a:pt x="1255" y="452"/>
                    <a:pt x="939" y="372"/>
                  </a:cubicBezTo>
                  <a:cubicBezTo>
                    <a:pt x="692" y="310"/>
                    <a:pt x="449" y="197"/>
                    <a:pt x="214" y="88"/>
                  </a:cubicBezTo>
                  <a:cubicBezTo>
                    <a:pt x="150" y="58"/>
                    <a:pt x="86" y="29"/>
                    <a:pt x="2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0" y="31"/>
                    <a:pt x="141" y="64"/>
                    <a:pt x="210" y="96"/>
                  </a:cubicBezTo>
                  <a:cubicBezTo>
                    <a:pt x="445" y="205"/>
                    <a:pt x="689" y="318"/>
                    <a:pt x="936" y="380"/>
                  </a:cubicBezTo>
                  <a:cubicBezTo>
                    <a:pt x="1254" y="460"/>
                    <a:pt x="1594" y="441"/>
                    <a:pt x="1923" y="422"/>
                  </a:cubicBezTo>
                  <a:cubicBezTo>
                    <a:pt x="2326" y="399"/>
                    <a:pt x="2743" y="374"/>
                    <a:pt x="3119" y="535"/>
                  </a:cubicBezTo>
                  <a:cubicBezTo>
                    <a:pt x="3473" y="686"/>
                    <a:pt x="3710" y="990"/>
                    <a:pt x="3940" y="1283"/>
                  </a:cubicBezTo>
                  <a:cubicBezTo>
                    <a:pt x="4140" y="1538"/>
                    <a:pt x="4346" y="1801"/>
                    <a:pt x="4629" y="1967"/>
                  </a:cubicBezTo>
                  <a:cubicBezTo>
                    <a:pt x="4846" y="2094"/>
                    <a:pt x="5090" y="2190"/>
                    <a:pt x="5327" y="2283"/>
                  </a:cubicBezTo>
                  <a:cubicBezTo>
                    <a:pt x="5429" y="2323"/>
                    <a:pt x="5535" y="2365"/>
                    <a:pt x="5635" y="2408"/>
                  </a:cubicBezTo>
                  <a:cubicBezTo>
                    <a:pt x="6305" y="2694"/>
                    <a:pt x="6305" y="2694"/>
                    <a:pt x="6305" y="2694"/>
                  </a:cubicBezTo>
                  <a:cubicBezTo>
                    <a:pt x="6320" y="2691"/>
                    <a:pt x="6320" y="2691"/>
                    <a:pt x="6320" y="2691"/>
                  </a:cubicBezTo>
                  <a:lnTo>
                    <a:pt x="5638" y="2400"/>
                  </a:lnTo>
                  <a:close/>
                </a:path>
              </a:pathLst>
            </a:custGeom>
            <a:solidFill>
              <a:srgbClr val="C5C7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4" name="Freeform 33"/>
            <p:cNvSpPr>
              <a:spLocks/>
            </p:cNvSpPr>
            <p:nvPr userDrawn="1"/>
          </p:nvSpPr>
          <p:spPr bwMode="auto">
            <a:xfrm>
              <a:off x="2676927" y="0"/>
              <a:ext cx="9524346" cy="4053460"/>
            </a:xfrm>
            <a:custGeom>
              <a:avLst/>
              <a:gdLst>
                <a:gd name="T0" fmla="*/ 5394 w 6246"/>
                <a:gd name="T1" fmla="*/ 2289 h 2656"/>
                <a:gd name="T2" fmla="*/ 5084 w 6246"/>
                <a:gd name="T3" fmla="*/ 2163 h 2656"/>
                <a:gd name="T4" fmla="*/ 4389 w 6246"/>
                <a:gd name="T5" fmla="*/ 1851 h 2656"/>
                <a:gd name="T6" fmla="*/ 3702 w 6246"/>
                <a:gd name="T7" fmla="*/ 1217 h 2656"/>
                <a:gd name="T8" fmla="*/ 2884 w 6246"/>
                <a:gd name="T9" fmla="*/ 519 h 2656"/>
                <a:gd name="T10" fmla="*/ 1682 w 6246"/>
                <a:gd name="T11" fmla="*/ 354 h 2656"/>
                <a:gd name="T12" fmla="*/ 695 w 6246"/>
                <a:gd name="T13" fmla="*/ 264 h 2656"/>
                <a:gd name="T14" fmla="*/ 21 w 6246"/>
                <a:gd name="T15" fmla="*/ 0 h 2656"/>
                <a:gd name="T16" fmla="*/ 0 w 6246"/>
                <a:gd name="T17" fmla="*/ 0 h 2656"/>
                <a:gd name="T18" fmla="*/ 692 w 6246"/>
                <a:gd name="T19" fmla="*/ 273 h 2656"/>
                <a:gd name="T20" fmla="*/ 1682 w 6246"/>
                <a:gd name="T21" fmla="*/ 363 h 2656"/>
                <a:gd name="T22" fmla="*/ 2880 w 6246"/>
                <a:gd name="T23" fmla="*/ 527 h 2656"/>
                <a:gd name="T24" fmla="*/ 3696 w 6246"/>
                <a:gd name="T25" fmla="*/ 1223 h 2656"/>
                <a:gd name="T26" fmla="*/ 4385 w 6246"/>
                <a:gd name="T27" fmla="*/ 1858 h 2656"/>
                <a:gd name="T28" fmla="*/ 5081 w 6246"/>
                <a:gd name="T29" fmla="*/ 2171 h 2656"/>
                <a:gd name="T30" fmla="*/ 5390 w 6246"/>
                <a:gd name="T31" fmla="*/ 2297 h 2656"/>
                <a:gd name="T32" fmla="*/ 6230 w 6246"/>
                <a:gd name="T33" fmla="*/ 2656 h 2656"/>
                <a:gd name="T34" fmla="*/ 6246 w 6246"/>
                <a:gd name="T35" fmla="*/ 2653 h 2656"/>
                <a:gd name="T36" fmla="*/ 5394 w 6246"/>
                <a:gd name="T37" fmla="*/ 2289 h 2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246" h="2656">
                  <a:moveTo>
                    <a:pt x="5394" y="2289"/>
                  </a:moveTo>
                  <a:cubicBezTo>
                    <a:pt x="5292" y="2246"/>
                    <a:pt x="5186" y="2204"/>
                    <a:pt x="5084" y="2163"/>
                  </a:cubicBezTo>
                  <a:cubicBezTo>
                    <a:pt x="4849" y="2070"/>
                    <a:pt x="4607" y="1974"/>
                    <a:pt x="4389" y="1851"/>
                  </a:cubicBezTo>
                  <a:cubicBezTo>
                    <a:pt x="4115" y="1695"/>
                    <a:pt x="3905" y="1452"/>
                    <a:pt x="3702" y="1217"/>
                  </a:cubicBezTo>
                  <a:cubicBezTo>
                    <a:pt x="3468" y="946"/>
                    <a:pt x="3226" y="666"/>
                    <a:pt x="2884" y="519"/>
                  </a:cubicBezTo>
                  <a:cubicBezTo>
                    <a:pt x="2505" y="357"/>
                    <a:pt x="2087" y="355"/>
                    <a:pt x="1682" y="354"/>
                  </a:cubicBezTo>
                  <a:cubicBezTo>
                    <a:pt x="1353" y="353"/>
                    <a:pt x="1012" y="352"/>
                    <a:pt x="695" y="264"/>
                  </a:cubicBezTo>
                  <a:cubicBezTo>
                    <a:pt x="466" y="201"/>
                    <a:pt x="240" y="100"/>
                    <a:pt x="2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25" y="103"/>
                    <a:pt x="457" y="208"/>
                    <a:pt x="692" y="273"/>
                  </a:cubicBezTo>
                  <a:cubicBezTo>
                    <a:pt x="1011" y="361"/>
                    <a:pt x="1352" y="362"/>
                    <a:pt x="1682" y="363"/>
                  </a:cubicBezTo>
                  <a:cubicBezTo>
                    <a:pt x="2086" y="364"/>
                    <a:pt x="2503" y="366"/>
                    <a:pt x="2880" y="527"/>
                  </a:cubicBezTo>
                  <a:cubicBezTo>
                    <a:pt x="3221" y="673"/>
                    <a:pt x="3462" y="952"/>
                    <a:pt x="3696" y="1223"/>
                  </a:cubicBezTo>
                  <a:cubicBezTo>
                    <a:pt x="3899" y="1458"/>
                    <a:pt x="4109" y="1702"/>
                    <a:pt x="4385" y="1858"/>
                  </a:cubicBezTo>
                  <a:cubicBezTo>
                    <a:pt x="4603" y="1982"/>
                    <a:pt x="4846" y="2078"/>
                    <a:pt x="5081" y="2171"/>
                  </a:cubicBezTo>
                  <a:cubicBezTo>
                    <a:pt x="5183" y="2212"/>
                    <a:pt x="5289" y="2254"/>
                    <a:pt x="5390" y="2297"/>
                  </a:cubicBezTo>
                  <a:cubicBezTo>
                    <a:pt x="6230" y="2656"/>
                    <a:pt x="6230" y="2656"/>
                    <a:pt x="6230" y="2656"/>
                  </a:cubicBezTo>
                  <a:cubicBezTo>
                    <a:pt x="6246" y="2653"/>
                    <a:pt x="6246" y="2653"/>
                    <a:pt x="6246" y="2653"/>
                  </a:cubicBezTo>
                  <a:lnTo>
                    <a:pt x="5394" y="2289"/>
                  </a:lnTo>
                  <a:close/>
                </a:path>
              </a:pathLst>
            </a:custGeom>
            <a:solidFill>
              <a:srgbClr val="C5C6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20" name="Freeform: Shape 119"/>
            <p:cNvSpPr>
              <a:spLocks/>
            </p:cNvSpPr>
            <p:nvPr userDrawn="1"/>
          </p:nvSpPr>
          <p:spPr bwMode="auto">
            <a:xfrm>
              <a:off x="3133904" y="0"/>
              <a:ext cx="9059296" cy="3860342"/>
            </a:xfrm>
            <a:custGeom>
              <a:avLst/>
              <a:gdLst>
                <a:gd name="connsiteX0" fmla="*/ 0 w 9059296"/>
                <a:gd name="connsiteY0" fmla="*/ 0 h 3860342"/>
                <a:gd name="connsiteX1" fmla="*/ 35068 w 9059296"/>
                <a:gd name="connsiteY1" fmla="*/ 0 h 3860342"/>
                <a:gd name="connsiteX2" fmla="*/ 676971 w 9059296"/>
                <a:gd name="connsiteY2" fmla="*/ 238014 h 3860342"/>
                <a:gd name="connsiteX3" fmla="*/ 2189481 w 9059296"/>
                <a:gd name="connsiteY3" fmla="*/ 451616 h 3860342"/>
                <a:gd name="connsiteX4" fmla="*/ 4025230 w 9059296"/>
                <a:gd name="connsiteY4" fmla="*/ 781173 h 3860342"/>
                <a:gd name="connsiteX5" fmla="*/ 5260243 w 9059296"/>
                <a:gd name="connsiteY5" fmla="*/ 1763743 h 3860342"/>
                <a:gd name="connsiteX6" fmla="*/ 6309242 w 9059296"/>
                <a:gd name="connsiteY6" fmla="*/ 2657820 h 3860342"/>
                <a:gd name="connsiteX7" fmla="*/ 7365865 w 9059296"/>
                <a:gd name="connsiteY7" fmla="*/ 3129271 h 3860342"/>
                <a:gd name="connsiteX8" fmla="*/ 7840049 w 9059296"/>
                <a:gd name="connsiteY8" fmla="*/ 3323038 h 3860342"/>
                <a:gd name="connsiteX9" fmla="*/ 8929279 w 9059296"/>
                <a:gd name="connsiteY9" fmla="*/ 3789445 h 3860342"/>
                <a:gd name="connsiteX10" fmla="*/ 9059296 w 9059296"/>
                <a:gd name="connsiteY10" fmla="*/ 3845119 h 3860342"/>
                <a:gd name="connsiteX11" fmla="*/ 9059296 w 9059296"/>
                <a:gd name="connsiteY11" fmla="*/ 3860342 h 3860342"/>
                <a:gd name="connsiteX12" fmla="*/ 8995968 w 9059296"/>
                <a:gd name="connsiteY12" fmla="*/ 3833204 h 3860342"/>
                <a:gd name="connsiteX13" fmla="*/ 7833950 w 9059296"/>
                <a:gd name="connsiteY13" fmla="*/ 3335244 h 3860342"/>
                <a:gd name="connsiteX14" fmla="*/ 7361290 w 9059296"/>
                <a:gd name="connsiteY14" fmla="*/ 3141477 h 3860342"/>
                <a:gd name="connsiteX15" fmla="*/ 6303144 w 9059296"/>
                <a:gd name="connsiteY15" fmla="*/ 2670026 h 3860342"/>
                <a:gd name="connsiteX16" fmla="*/ 5249570 w 9059296"/>
                <a:gd name="connsiteY16" fmla="*/ 1774423 h 3860342"/>
                <a:gd name="connsiteX17" fmla="*/ 4019131 w 9059296"/>
                <a:gd name="connsiteY17" fmla="*/ 794905 h 3860342"/>
                <a:gd name="connsiteX18" fmla="*/ 2187956 w 9059296"/>
                <a:gd name="connsiteY18" fmla="*/ 465347 h 3860342"/>
                <a:gd name="connsiteX19" fmla="*/ 673921 w 9059296"/>
                <a:gd name="connsiteY19" fmla="*/ 251745 h 3860342"/>
                <a:gd name="connsiteX20" fmla="*/ 0 w 9059296"/>
                <a:gd name="connsiteY20" fmla="*/ 0 h 3860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059296" h="3860342">
                  <a:moveTo>
                    <a:pt x="0" y="0"/>
                  </a:moveTo>
                  <a:cubicBezTo>
                    <a:pt x="0" y="0"/>
                    <a:pt x="0" y="0"/>
                    <a:pt x="35068" y="0"/>
                  </a:cubicBezTo>
                  <a:cubicBezTo>
                    <a:pt x="247003" y="90018"/>
                    <a:pt x="460462" y="173933"/>
                    <a:pt x="676971" y="238014"/>
                  </a:cubicBezTo>
                  <a:cubicBezTo>
                    <a:pt x="1163352" y="384484"/>
                    <a:pt x="1684803" y="419576"/>
                    <a:pt x="2189481" y="451616"/>
                  </a:cubicBezTo>
                  <a:cubicBezTo>
                    <a:pt x="2806988" y="491285"/>
                    <a:pt x="3444316" y="532480"/>
                    <a:pt x="4025230" y="781173"/>
                  </a:cubicBezTo>
                  <a:cubicBezTo>
                    <a:pt x="4525334" y="996301"/>
                    <a:pt x="4898887" y="1386888"/>
                    <a:pt x="5260243" y="1763743"/>
                  </a:cubicBezTo>
                  <a:cubicBezTo>
                    <a:pt x="5575858" y="2093301"/>
                    <a:pt x="5900620" y="2433538"/>
                    <a:pt x="6309242" y="2657820"/>
                  </a:cubicBezTo>
                  <a:cubicBezTo>
                    <a:pt x="6644678" y="2839382"/>
                    <a:pt x="7010608" y="2987378"/>
                    <a:pt x="7365865" y="3129271"/>
                  </a:cubicBezTo>
                  <a:cubicBezTo>
                    <a:pt x="7522910" y="3191826"/>
                    <a:pt x="7684529" y="3255906"/>
                    <a:pt x="7840049" y="3323038"/>
                  </a:cubicBezTo>
                  <a:cubicBezTo>
                    <a:pt x="7840049" y="3323038"/>
                    <a:pt x="7840049" y="3323038"/>
                    <a:pt x="8929279" y="3789445"/>
                  </a:cubicBezTo>
                  <a:lnTo>
                    <a:pt x="9059296" y="3845119"/>
                  </a:lnTo>
                  <a:lnTo>
                    <a:pt x="9059296" y="3860342"/>
                  </a:lnTo>
                  <a:lnTo>
                    <a:pt x="8995968" y="3833204"/>
                  </a:lnTo>
                  <a:cubicBezTo>
                    <a:pt x="8829966" y="3762067"/>
                    <a:pt x="8497961" y="3619793"/>
                    <a:pt x="7833950" y="3335244"/>
                  </a:cubicBezTo>
                  <a:cubicBezTo>
                    <a:pt x="7678430" y="3269638"/>
                    <a:pt x="7516811" y="3204031"/>
                    <a:pt x="7361290" y="3141477"/>
                  </a:cubicBezTo>
                  <a:cubicBezTo>
                    <a:pt x="7006034" y="2999584"/>
                    <a:pt x="6638579" y="2853114"/>
                    <a:pt x="6303144" y="2670026"/>
                  </a:cubicBezTo>
                  <a:cubicBezTo>
                    <a:pt x="5892997" y="2445744"/>
                    <a:pt x="5565184" y="2103981"/>
                    <a:pt x="5249570" y="1774423"/>
                  </a:cubicBezTo>
                  <a:cubicBezTo>
                    <a:pt x="4889739" y="1397568"/>
                    <a:pt x="4516186" y="1008507"/>
                    <a:pt x="4019131" y="794905"/>
                  </a:cubicBezTo>
                  <a:cubicBezTo>
                    <a:pt x="3441266" y="546211"/>
                    <a:pt x="2803938" y="505016"/>
                    <a:pt x="2187956" y="465347"/>
                  </a:cubicBezTo>
                  <a:cubicBezTo>
                    <a:pt x="1683278" y="433307"/>
                    <a:pt x="1161828" y="398215"/>
                    <a:pt x="673921" y="251745"/>
                  </a:cubicBezTo>
                  <a:cubicBezTo>
                    <a:pt x="446740" y="183088"/>
                    <a:pt x="221083" y="94595"/>
                    <a:pt x="0" y="0"/>
                  </a:cubicBezTo>
                  <a:close/>
                </a:path>
              </a:pathLst>
            </a:custGeom>
            <a:solidFill>
              <a:srgbClr val="C4C6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16" name="Freeform: Shape 115"/>
            <p:cNvSpPr>
              <a:spLocks/>
            </p:cNvSpPr>
            <p:nvPr userDrawn="1"/>
          </p:nvSpPr>
          <p:spPr bwMode="auto">
            <a:xfrm>
              <a:off x="3630966" y="1"/>
              <a:ext cx="8562234" cy="3661559"/>
            </a:xfrm>
            <a:custGeom>
              <a:avLst/>
              <a:gdLst>
                <a:gd name="connsiteX0" fmla="*/ 0 w 8562234"/>
                <a:gd name="connsiteY0" fmla="*/ 0 h 3661559"/>
                <a:gd name="connsiteX1" fmla="*/ 39643 w 8562234"/>
                <a:gd name="connsiteY1" fmla="*/ 0 h 3661559"/>
                <a:gd name="connsiteX2" fmla="*/ 254626 w 8562234"/>
                <a:gd name="connsiteY2" fmla="*/ 74782 h 3661559"/>
                <a:gd name="connsiteX3" fmla="*/ 1773234 w 8562234"/>
                <a:gd name="connsiteY3" fmla="*/ 363226 h 3661559"/>
                <a:gd name="connsiteX4" fmla="*/ 3612031 w 8562234"/>
                <a:gd name="connsiteY4" fmla="*/ 772237 h 3661559"/>
                <a:gd name="connsiteX5" fmla="*/ 4834846 w 8562234"/>
                <a:gd name="connsiteY5" fmla="*/ 1672671 h 3661559"/>
                <a:gd name="connsiteX6" fmla="*/ 5886894 w 8562234"/>
                <a:gd name="connsiteY6" fmla="*/ 2492219 h 3661559"/>
                <a:gd name="connsiteX7" fmla="*/ 6937417 w 8562234"/>
                <a:gd name="connsiteY7" fmla="*/ 2957698 h 3661559"/>
                <a:gd name="connsiteX8" fmla="*/ 7414650 w 8562234"/>
                <a:gd name="connsiteY8" fmla="*/ 3154572 h 3661559"/>
                <a:gd name="connsiteX9" fmla="*/ 8444833 w 8562234"/>
                <a:gd name="connsiteY9" fmla="*/ 3595961 h 3661559"/>
                <a:gd name="connsiteX10" fmla="*/ 8562234 w 8562234"/>
                <a:gd name="connsiteY10" fmla="*/ 3646262 h 3661559"/>
                <a:gd name="connsiteX11" fmla="*/ 8562234 w 8562234"/>
                <a:gd name="connsiteY11" fmla="*/ 3661559 h 3661559"/>
                <a:gd name="connsiteX12" fmla="*/ 8508056 w 8562234"/>
                <a:gd name="connsiteY12" fmla="*/ 3638365 h 3661559"/>
                <a:gd name="connsiteX13" fmla="*/ 7410076 w 8562234"/>
                <a:gd name="connsiteY13" fmla="*/ 3168308 h 3661559"/>
                <a:gd name="connsiteX14" fmla="*/ 6932843 w 8562234"/>
                <a:gd name="connsiteY14" fmla="*/ 2971433 h 3661559"/>
                <a:gd name="connsiteX15" fmla="*/ 5879270 w 8562234"/>
                <a:gd name="connsiteY15" fmla="*/ 2504428 h 3661559"/>
                <a:gd name="connsiteX16" fmla="*/ 4825698 w 8562234"/>
                <a:gd name="connsiteY16" fmla="*/ 1683354 h 3661559"/>
                <a:gd name="connsiteX17" fmla="*/ 3605932 w 8562234"/>
                <a:gd name="connsiteY17" fmla="*/ 785972 h 3661559"/>
                <a:gd name="connsiteX18" fmla="*/ 1771710 w 8562234"/>
                <a:gd name="connsiteY18" fmla="*/ 378488 h 3661559"/>
                <a:gd name="connsiteX19" fmla="*/ 250052 w 8562234"/>
                <a:gd name="connsiteY19" fmla="*/ 88517 h 3661559"/>
                <a:gd name="connsiteX20" fmla="*/ 0 w 8562234"/>
                <a:gd name="connsiteY20" fmla="*/ 0 h 3661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8562234" h="3661559">
                  <a:moveTo>
                    <a:pt x="0" y="0"/>
                  </a:moveTo>
                  <a:cubicBezTo>
                    <a:pt x="0" y="0"/>
                    <a:pt x="0" y="0"/>
                    <a:pt x="39643" y="0"/>
                  </a:cubicBezTo>
                  <a:cubicBezTo>
                    <a:pt x="111304" y="25945"/>
                    <a:pt x="182965" y="51890"/>
                    <a:pt x="254626" y="74782"/>
                  </a:cubicBezTo>
                  <a:cubicBezTo>
                    <a:pt x="744057" y="233503"/>
                    <a:pt x="1267032" y="300654"/>
                    <a:pt x="1773234" y="363226"/>
                  </a:cubicBezTo>
                  <a:cubicBezTo>
                    <a:pt x="2390741" y="441060"/>
                    <a:pt x="3028068" y="521947"/>
                    <a:pt x="3612031" y="772237"/>
                  </a:cubicBezTo>
                  <a:cubicBezTo>
                    <a:pt x="4090789" y="978269"/>
                    <a:pt x="4468917" y="1330812"/>
                    <a:pt x="4834846" y="1672671"/>
                  </a:cubicBezTo>
                  <a:cubicBezTo>
                    <a:pt x="5155034" y="1973325"/>
                    <a:pt x="5487420" y="2283135"/>
                    <a:pt x="5886894" y="2492219"/>
                  </a:cubicBezTo>
                  <a:cubicBezTo>
                    <a:pt x="6222330" y="2669254"/>
                    <a:pt x="6586734" y="2815765"/>
                    <a:pt x="6937417" y="2957698"/>
                  </a:cubicBezTo>
                  <a:cubicBezTo>
                    <a:pt x="7095986" y="3021797"/>
                    <a:pt x="7257606" y="3087421"/>
                    <a:pt x="7414650" y="3154572"/>
                  </a:cubicBezTo>
                  <a:cubicBezTo>
                    <a:pt x="7414650" y="3154572"/>
                    <a:pt x="7414650" y="3154572"/>
                    <a:pt x="8444833" y="3595961"/>
                  </a:cubicBezTo>
                  <a:lnTo>
                    <a:pt x="8562234" y="3646262"/>
                  </a:lnTo>
                  <a:lnTo>
                    <a:pt x="8562234" y="3661559"/>
                  </a:lnTo>
                  <a:lnTo>
                    <a:pt x="8508056" y="3638365"/>
                  </a:lnTo>
                  <a:cubicBezTo>
                    <a:pt x="8351202" y="3571214"/>
                    <a:pt x="8037493" y="3436912"/>
                    <a:pt x="7410076" y="3168308"/>
                  </a:cubicBezTo>
                  <a:cubicBezTo>
                    <a:pt x="7253032" y="3099631"/>
                    <a:pt x="7089888" y="3034006"/>
                    <a:pt x="6932843" y="2971433"/>
                  </a:cubicBezTo>
                  <a:cubicBezTo>
                    <a:pt x="6580636" y="2827974"/>
                    <a:pt x="6216230" y="2681463"/>
                    <a:pt x="5879270" y="2504428"/>
                  </a:cubicBezTo>
                  <a:cubicBezTo>
                    <a:pt x="5479797" y="2293818"/>
                    <a:pt x="5147411" y="1984008"/>
                    <a:pt x="4825698" y="1683354"/>
                  </a:cubicBezTo>
                  <a:cubicBezTo>
                    <a:pt x="4459768" y="1343021"/>
                    <a:pt x="4081641" y="990478"/>
                    <a:pt x="3605932" y="785972"/>
                  </a:cubicBezTo>
                  <a:cubicBezTo>
                    <a:pt x="3025019" y="535682"/>
                    <a:pt x="2387691" y="456322"/>
                    <a:pt x="1771710" y="378488"/>
                  </a:cubicBezTo>
                  <a:cubicBezTo>
                    <a:pt x="1265507" y="314389"/>
                    <a:pt x="741008" y="247238"/>
                    <a:pt x="250052" y="88517"/>
                  </a:cubicBezTo>
                  <a:cubicBezTo>
                    <a:pt x="166193" y="61046"/>
                    <a:pt x="82335" y="30523"/>
                    <a:pt x="0" y="0"/>
                  </a:cubicBezTo>
                  <a:close/>
                </a:path>
              </a:pathLst>
            </a:custGeom>
            <a:solidFill>
              <a:srgbClr val="C4C5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18" name="Freeform: Shape 117"/>
            <p:cNvSpPr>
              <a:spLocks/>
            </p:cNvSpPr>
            <p:nvPr userDrawn="1"/>
          </p:nvSpPr>
          <p:spPr bwMode="auto">
            <a:xfrm>
              <a:off x="4188958" y="1"/>
              <a:ext cx="8004242" cy="3467965"/>
            </a:xfrm>
            <a:custGeom>
              <a:avLst/>
              <a:gdLst>
                <a:gd name="connsiteX0" fmla="*/ 0 w 8004242"/>
                <a:gd name="connsiteY0" fmla="*/ 0 h 3467965"/>
                <a:gd name="connsiteX1" fmla="*/ 50316 w 8004242"/>
                <a:gd name="connsiteY1" fmla="*/ 0 h 3467965"/>
                <a:gd name="connsiteX2" fmla="*/ 1299059 w 8004242"/>
                <a:gd name="connsiteY2" fmla="*/ 276214 h 3467965"/>
                <a:gd name="connsiteX3" fmla="*/ 3136342 w 8004242"/>
                <a:gd name="connsiteY3" fmla="*/ 761495 h 3467965"/>
                <a:gd name="connsiteX4" fmla="*/ 4346967 w 8004242"/>
                <a:gd name="connsiteY4" fmla="*/ 1579454 h 3467965"/>
                <a:gd name="connsiteX5" fmla="*/ 5402071 w 8004242"/>
                <a:gd name="connsiteY5" fmla="*/ 2325689 h 3467965"/>
                <a:gd name="connsiteX6" fmla="*/ 7582416 w 8004242"/>
                <a:gd name="connsiteY6" fmla="*/ 3279466 h 3467965"/>
                <a:gd name="connsiteX7" fmla="*/ 8004242 w 8004242"/>
                <a:gd name="connsiteY7" fmla="*/ 3452516 h 3467965"/>
                <a:gd name="connsiteX8" fmla="*/ 8004242 w 8004242"/>
                <a:gd name="connsiteY8" fmla="*/ 3467965 h 3467965"/>
                <a:gd name="connsiteX9" fmla="*/ 7576316 w 8004242"/>
                <a:gd name="connsiteY9" fmla="*/ 3293200 h 3467965"/>
                <a:gd name="connsiteX10" fmla="*/ 5394447 w 8004242"/>
                <a:gd name="connsiteY10" fmla="*/ 2337897 h 3467965"/>
                <a:gd name="connsiteX11" fmla="*/ 4337818 w 8004242"/>
                <a:gd name="connsiteY11" fmla="*/ 1591663 h 3467965"/>
                <a:gd name="connsiteX12" fmla="*/ 3130243 w 8004242"/>
                <a:gd name="connsiteY12" fmla="*/ 775230 h 3467965"/>
                <a:gd name="connsiteX13" fmla="*/ 1296009 w 8004242"/>
                <a:gd name="connsiteY13" fmla="*/ 289948 h 3467965"/>
                <a:gd name="connsiteX14" fmla="*/ 0 w 8004242"/>
                <a:gd name="connsiteY14" fmla="*/ 0 h 3467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004242" h="3467965">
                  <a:moveTo>
                    <a:pt x="0" y="0"/>
                  </a:moveTo>
                  <a:cubicBezTo>
                    <a:pt x="0" y="0"/>
                    <a:pt x="0" y="0"/>
                    <a:pt x="50316" y="0"/>
                  </a:cubicBezTo>
                  <a:cubicBezTo>
                    <a:pt x="460465" y="119031"/>
                    <a:pt x="885861" y="198386"/>
                    <a:pt x="1299059" y="276214"/>
                  </a:cubicBezTo>
                  <a:cubicBezTo>
                    <a:pt x="1913519" y="390667"/>
                    <a:pt x="2550851" y="509698"/>
                    <a:pt x="3136342" y="761495"/>
                  </a:cubicBezTo>
                  <a:cubicBezTo>
                    <a:pt x="3593757" y="958355"/>
                    <a:pt x="3976461" y="1274246"/>
                    <a:pt x="4346967" y="1579454"/>
                  </a:cubicBezTo>
                  <a:cubicBezTo>
                    <a:pt x="4673256" y="1849564"/>
                    <a:pt x="5011744" y="2130356"/>
                    <a:pt x="5402071" y="2325689"/>
                  </a:cubicBezTo>
                  <a:cubicBezTo>
                    <a:pt x="6104965" y="2679731"/>
                    <a:pt x="6856650" y="2984939"/>
                    <a:pt x="7582416" y="3279466"/>
                  </a:cubicBezTo>
                  <a:lnTo>
                    <a:pt x="8004242" y="3452516"/>
                  </a:lnTo>
                  <a:lnTo>
                    <a:pt x="8004242" y="3467965"/>
                  </a:lnTo>
                  <a:lnTo>
                    <a:pt x="7576316" y="3293200"/>
                  </a:lnTo>
                  <a:cubicBezTo>
                    <a:pt x="6850552" y="2998674"/>
                    <a:pt x="6100391" y="2693465"/>
                    <a:pt x="5394447" y="2337897"/>
                  </a:cubicBezTo>
                  <a:cubicBezTo>
                    <a:pt x="5004120" y="2142564"/>
                    <a:pt x="4665632" y="1861772"/>
                    <a:pt x="4337818" y="1591663"/>
                  </a:cubicBezTo>
                  <a:cubicBezTo>
                    <a:pt x="3968837" y="1286454"/>
                    <a:pt x="3586133" y="970563"/>
                    <a:pt x="3130243" y="775230"/>
                  </a:cubicBezTo>
                  <a:cubicBezTo>
                    <a:pt x="2546277" y="523433"/>
                    <a:pt x="1910470" y="405927"/>
                    <a:pt x="1296009" y="289948"/>
                  </a:cubicBezTo>
                  <a:cubicBezTo>
                    <a:pt x="867564" y="210594"/>
                    <a:pt x="425396" y="128188"/>
                    <a:pt x="0" y="0"/>
                  </a:cubicBezTo>
                  <a:close/>
                </a:path>
              </a:pathLst>
            </a:custGeom>
            <a:solidFill>
              <a:srgbClr val="C3C5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14" name="Freeform: Shape 113"/>
            <p:cNvSpPr>
              <a:spLocks/>
            </p:cNvSpPr>
            <p:nvPr userDrawn="1"/>
          </p:nvSpPr>
          <p:spPr bwMode="auto">
            <a:xfrm>
              <a:off x="4780622" y="1"/>
              <a:ext cx="7412579" cy="3266743"/>
            </a:xfrm>
            <a:custGeom>
              <a:avLst/>
              <a:gdLst>
                <a:gd name="connsiteX0" fmla="*/ 0 w 7412579"/>
                <a:gd name="connsiteY0" fmla="*/ 0 h 3266743"/>
                <a:gd name="connsiteX1" fmla="*/ 54890 w 7412579"/>
                <a:gd name="connsiteY1" fmla="*/ 0 h 3266743"/>
                <a:gd name="connsiteX2" fmla="*/ 792845 w 7412579"/>
                <a:gd name="connsiteY2" fmla="*/ 189200 h 3266743"/>
                <a:gd name="connsiteX3" fmla="*/ 2625536 w 7412579"/>
                <a:gd name="connsiteY3" fmla="*/ 749170 h 3266743"/>
                <a:gd name="connsiteX4" fmla="*/ 3822427 w 7412579"/>
                <a:gd name="connsiteY4" fmla="*/ 1484608 h 3266743"/>
                <a:gd name="connsiteX5" fmla="*/ 4882095 w 7412579"/>
                <a:gd name="connsiteY5" fmla="*/ 2159014 h 3266743"/>
                <a:gd name="connsiteX6" fmla="*/ 7057843 w 7412579"/>
                <a:gd name="connsiteY6" fmla="*/ 3103487 h 3266743"/>
                <a:gd name="connsiteX7" fmla="*/ 7412579 w 7412579"/>
                <a:gd name="connsiteY7" fmla="*/ 3250217 h 3266743"/>
                <a:gd name="connsiteX8" fmla="*/ 7412579 w 7412579"/>
                <a:gd name="connsiteY8" fmla="*/ 3266743 h 3266743"/>
                <a:gd name="connsiteX9" fmla="*/ 7053269 w 7412579"/>
                <a:gd name="connsiteY9" fmla="*/ 3117219 h 3266743"/>
                <a:gd name="connsiteX10" fmla="*/ 4875995 w 7412579"/>
                <a:gd name="connsiteY10" fmla="*/ 2171220 h 3266743"/>
                <a:gd name="connsiteX11" fmla="*/ 3814803 w 7412579"/>
                <a:gd name="connsiteY11" fmla="*/ 1496814 h 3266743"/>
                <a:gd name="connsiteX12" fmla="*/ 2620962 w 7412579"/>
                <a:gd name="connsiteY12" fmla="*/ 761377 h 3266743"/>
                <a:gd name="connsiteX13" fmla="*/ 789796 w 7412579"/>
                <a:gd name="connsiteY13" fmla="*/ 202932 h 3266743"/>
                <a:gd name="connsiteX14" fmla="*/ 0 w 7412579"/>
                <a:gd name="connsiteY14" fmla="*/ 0 h 3266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412579" h="3266743">
                  <a:moveTo>
                    <a:pt x="0" y="0"/>
                  </a:moveTo>
                  <a:cubicBezTo>
                    <a:pt x="0" y="0"/>
                    <a:pt x="0" y="0"/>
                    <a:pt x="54890" y="0"/>
                  </a:cubicBezTo>
                  <a:cubicBezTo>
                    <a:pt x="301891" y="67135"/>
                    <a:pt x="548893" y="128168"/>
                    <a:pt x="792845" y="189200"/>
                  </a:cubicBezTo>
                  <a:cubicBezTo>
                    <a:pt x="1404250" y="340254"/>
                    <a:pt x="2037001" y="495887"/>
                    <a:pt x="2625536" y="749170"/>
                  </a:cubicBezTo>
                  <a:cubicBezTo>
                    <a:pt x="3063126" y="936844"/>
                    <a:pt x="3448875" y="1214541"/>
                    <a:pt x="3822427" y="1484608"/>
                  </a:cubicBezTo>
                  <a:cubicBezTo>
                    <a:pt x="4156337" y="1725685"/>
                    <a:pt x="4502443" y="1975917"/>
                    <a:pt x="4882095" y="2159014"/>
                  </a:cubicBezTo>
                  <a:cubicBezTo>
                    <a:pt x="5592605" y="2500794"/>
                    <a:pt x="6338185" y="2807480"/>
                    <a:pt x="7057843" y="3103487"/>
                  </a:cubicBezTo>
                  <a:lnTo>
                    <a:pt x="7412579" y="3250217"/>
                  </a:lnTo>
                  <a:lnTo>
                    <a:pt x="7412579" y="3266743"/>
                  </a:lnTo>
                  <a:lnTo>
                    <a:pt x="7053269" y="3117219"/>
                  </a:lnTo>
                  <a:cubicBezTo>
                    <a:pt x="6332085" y="2821213"/>
                    <a:pt x="5586507" y="2513000"/>
                    <a:pt x="4875995" y="2171220"/>
                  </a:cubicBezTo>
                  <a:cubicBezTo>
                    <a:pt x="4494820" y="1988123"/>
                    <a:pt x="4148713" y="1737892"/>
                    <a:pt x="3814803" y="1496814"/>
                  </a:cubicBezTo>
                  <a:cubicBezTo>
                    <a:pt x="3441252" y="1226747"/>
                    <a:pt x="3055502" y="949051"/>
                    <a:pt x="2620962" y="761377"/>
                  </a:cubicBezTo>
                  <a:cubicBezTo>
                    <a:pt x="2030903" y="509619"/>
                    <a:pt x="1399676" y="353987"/>
                    <a:pt x="789796" y="202932"/>
                  </a:cubicBezTo>
                  <a:cubicBezTo>
                    <a:pt x="529072" y="138848"/>
                    <a:pt x="263774" y="73239"/>
                    <a:pt x="0" y="0"/>
                  </a:cubicBezTo>
                  <a:close/>
                </a:path>
              </a:pathLst>
            </a:custGeom>
            <a:solidFill>
              <a:srgbClr val="C3C4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12" name="Freeform: Shape 111"/>
            <p:cNvSpPr>
              <a:spLocks/>
            </p:cNvSpPr>
            <p:nvPr userDrawn="1"/>
          </p:nvSpPr>
          <p:spPr bwMode="auto">
            <a:xfrm>
              <a:off x="5279287" y="1"/>
              <a:ext cx="6913913" cy="3065889"/>
            </a:xfrm>
            <a:custGeom>
              <a:avLst/>
              <a:gdLst>
                <a:gd name="connsiteX0" fmla="*/ 0 w 6913913"/>
                <a:gd name="connsiteY0" fmla="*/ 0 h 3065889"/>
                <a:gd name="connsiteX1" fmla="*/ 50315 w 6913913"/>
                <a:gd name="connsiteY1" fmla="*/ 0 h 3065889"/>
                <a:gd name="connsiteX2" fmla="*/ 385745 w 6913913"/>
                <a:gd name="connsiteY2" fmla="*/ 102261 h 3065889"/>
                <a:gd name="connsiteX3" fmla="*/ 2204691 w 6913913"/>
                <a:gd name="connsiteY3" fmla="*/ 731090 h 3065889"/>
                <a:gd name="connsiteX4" fmla="*/ 3387845 w 6913913"/>
                <a:gd name="connsiteY4" fmla="*/ 1387393 h 3065889"/>
                <a:gd name="connsiteX5" fmla="*/ 4456647 w 6913913"/>
                <a:gd name="connsiteY5" fmla="*/ 1993328 h 3065889"/>
                <a:gd name="connsiteX6" fmla="*/ 6621696 w 6913913"/>
                <a:gd name="connsiteY6" fmla="*/ 2927414 h 3065889"/>
                <a:gd name="connsiteX7" fmla="*/ 6913913 w 6913913"/>
                <a:gd name="connsiteY7" fmla="*/ 3049393 h 3065889"/>
                <a:gd name="connsiteX8" fmla="*/ 6913913 w 6913913"/>
                <a:gd name="connsiteY8" fmla="*/ 3065889 h 3065889"/>
                <a:gd name="connsiteX9" fmla="*/ 6617122 w 6913913"/>
                <a:gd name="connsiteY9" fmla="*/ 2941151 h 3065889"/>
                <a:gd name="connsiteX10" fmla="*/ 4450549 w 6913913"/>
                <a:gd name="connsiteY10" fmla="*/ 2005538 h 3065889"/>
                <a:gd name="connsiteX11" fmla="*/ 3380221 w 6913913"/>
                <a:gd name="connsiteY11" fmla="*/ 1399603 h 3065889"/>
                <a:gd name="connsiteX12" fmla="*/ 2200117 w 6913913"/>
                <a:gd name="connsiteY12" fmla="*/ 744827 h 3065889"/>
                <a:gd name="connsiteX13" fmla="*/ 381171 w 6913913"/>
                <a:gd name="connsiteY13" fmla="*/ 117524 h 3065889"/>
                <a:gd name="connsiteX14" fmla="*/ 0 w 6913913"/>
                <a:gd name="connsiteY14" fmla="*/ 0 h 3065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913913" h="3065889">
                  <a:moveTo>
                    <a:pt x="0" y="0"/>
                  </a:moveTo>
                  <a:cubicBezTo>
                    <a:pt x="0" y="0"/>
                    <a:pt x="0" y="0"/>
                    <a:pt x="50315" y="0"/>
                  </a:cubicBezTo>
                  <a:cubicBezTo>
                    <a:pt x="163141" y="35105"/>
                    <a:pt x="274443" y="68683"/>
                    <a:pt x="385745" y="102261"/>
                  </a:cubicBezTo>
                  <a:cubicBezTo>
                    <a:pt x="989519" y="286942"/>
                    <a:pt x="1614639" y="477727"/>
                    <a:pt x="2204691" y="731090"/>
                  </a:cubicBezTo>
                  <a:cubicBezTo>
                    <a:pt x="2622454" y="911192"/>
                    <a:pt x="3011248" y="1152345"/>
                    <a:pt x="3387845" y="1387393"/>
                  </a:cubicBezTo>
                  <a:cubicBezTo>
                    <a:pt x="3729373" y="1601073"/>
                    <a:pt x="4083100" y="1820858"/>
                    <a:pt x="4456647" y="1993328"/>
                  </a:cubicBezTo>
                  <a:cubicBezTo>
                    <a:pt x="5170199" y="2319953"/>
                    <a:pt x="5908145" y="2629789"/>
                    <a:pt x="6621696" y="2927414"/>
                  </a:cubicBezTo>
                  <a:lnTo>
                    <a:pt x="6913913" y="3049393"/>
                  </a:lnTo>
                  <a:lnTo>
                    <a:pt x="6913913" y="3065889"/>
                  </a:lnTo>
                  <a:lnTo>
                    <a:pt x="6617122" y="2941151"/>
                  </a:lnTo>
                  <a:cubicBezTo>
                    <a:pt x="5902046" y="2641999"/>
                    <a:pt x="5164099" y="2333689"/>
                    <a:pt x="4450549" y="2005538"/>
                  </a:cubicBezTo>
                  <a:cubicBezTo>
                    <a:pt x="4075477" y="1834594"/>
                    <a:pt x="3721750" y="1613283"/>
                    <a:pt x="3380221" y="1399603"/>
                  </a:cubicBezTo>
                  <a:cubicBezTo>
                    <a:pt x="3005149" y="1166082"/>
                    <a:pt x="2616355" y="923402"/>
                    <a:pt x="2200117" y="744827"/>
                  </a:cubicBezTo>
                  <a:cubicBezTo>
                    <a:pt x="1608540" y="491464"/>
                    <a:pt x="984945" y="300678"/>
                    <a:pt x="381171" y="117524"/>
                  </a:cubicBezTo>
                  <a:cubicBezTo>
                    <a:pt x="254622" y="77841"/>
                    <a:pt x="128074" y="39683"/>
                    <a:pt x="0" y="0"/>
                  </a:cubicBezTo>
                  <a:close/>
                </a:path>
              </a:pathLst>
            </a:custGeom>
            <a:solidFill>
              <a:srgbClr val="C2C4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10" name="Freeform: Shape 109"/>
            <p:cNvSpPr>
              <a:spLocks/>
            </p:cNvSpPr>
            <p:nvPr userDrawn="1"/>
          </p:nvSpPr>
          <p:spPr bwMode="auto">
            <a:xfrm>
              <a:off x="5667316" y="1"/>
              <a:ext cx="6525884" cy="2863221"/>
            </a:xfrm>
            <a:custGeom>
              <a:avLst/>
              <a:gdLst>
                <a:gd name="connsiteX0" fmla="*/ 0 w 6525884"/>
                <a:gd name="connsiteY0" fmla="*/ 0 h 2863221"/>
                <a:gd name="connsiteX1" fmla="*/ 44221 w 6525884"/>
                <a:gd name="connsiteY1" fmla="*/ 0 h 2863221"/>
                <a:gd name="connsiteX2" fmla="*/ 109790 w 6525884"/>
                <a:gd name="connsiteY2" fmla="*/ 24416 h 2863221"/>
                <a:gd name="connsiteX3" fmla="*/ 1889300 w 6525884"/>
                <a:gd name="connsiteY3" fmla="*/ 708059 h 2863221"/>
                <a:gd name="connsiteX4" fmla="*/ 3051242 w 6525884"/>
                <a:gd name="connsiteY4" fmla="*/ 1281831 h 2863221"/>
                <a:gd name="connsiteX5" fmla="*/ 4141516 w 6525884"/>
                <a:gd name="connsiteY5" fmla="*/ 1825084 h 2863221"/>
                <a:gd name="connsiteX6" fmla="*/ 6273268 w 6525884"/>
                <a:gd name="connsiteY6" fmla="*/ 2739151 h 2863221"/>
                <a:gd name="connsiteX7" fmla="*/ 6525884 w 6525884"/>
                <a:gd name="connsiteY7" fmla="*/ 2846566 h 2863221"/>
                <a:gd name="connsiteX8" fmla="*/ 6525884 w 6525884"/>
                <a:gd name="connsiteY8" fmla="*/ 2863221 h 2863221"/>
                <a:gd name="connsiteX9" fmla="*/ 6267168 w 6525884"/>
                <a:gd name="connsiteY9" fmla="*/ 2752885 h 2863221"/>
                <a:gd name="connsiteX10" fmla="*/ 4135416 w 6525884"/>
                <a:gd name="connsiteY10" fmla="*/ 1838818 h 2863221"/>
                <a:gd name="connsiteX11" fmla="*/ 3045142 w 6525884"/>
                <a:gd name="connsiteY11" fmla="*/ 1295565 h 2863221"/>
                <a:gd name="connsiteX12" fmla="*/ 1883200 w 6525884"/>
                <a:gd name="connsiteY12" fmla="*/ 721793 h 2863221"/>
                <a:gd name="connsiteX13" fmla="*/ 105215 w 6525884"/>
                <a:gd name="connsiteY13" fmla="*/ 38150 h 2863221"/>
                <a:gd name="connsiteX14" fmla="*/ 0 w 6525884"/>
                <a:gd name="connsiteY14" fmla="*/ 0 h 2863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525884" h="2863221">
                  <a:moveTo>
                    <a:pt x="0" y="0"/>
                  </a:moveTo>
                  <a:cubicBezTo>
                    <a:pt x="0" y="0"/>
                    <a:pt x="0" y="0"/>
                    <a:pt x="44221" y="0"/>
                  </a:cubicBezTo>
                  <a:cubicBezTo>
                    <a:pt x="65569" y="7630"/>
                    <a:pt x="88442" y="15260"/>
                    <a:pt x="109790" y="24416"/>
                  </a:cubicBezTo>
                  <a:cubicBezTo>
                    <a:pt x="698385" y="238054"/>
                    <a:pt x="1305279" y="457797"/>
                    <a:pt x="1889300" y="708059"/>
                  </a:cubicBezTo>
                  <a:cubicBezTo>
                    <a:pt x="2288813" y="878970"/>
                    <a:pt x="2676127" y="1083453"/>
                    <a:pt x="3051242" y="1281831"/>
                  </a:cubicBezTo>
                  <a:cubicBezTo>
                    <a:pt x="3403484" y="1469528"/>
                    <a:pt x="3769450" y="1661803"/>
                    <a:pt x="4141516" y="1825084"/>
                  </a:cubicBezTo>
                  <a:cubicBezTo>
                    <a:pt x="4849050" y="2136385"/>
                    <a:pt x="5573358" y="2443109"/>
                    <a:pt x="6273268" y="2739151"/>
                  </a:cubicBezTo>
                  <a:lnTo>
                    <a:pt x="6525884" y="2846566"/>
                  </a:lnTo>
                  <a:lnTo>
                    <a:pt x="6525884" y="2863221"/>
                  </a:lnTo>
                  <a:lnTo>
                    <a:pt x="6267168" y="2752885"/>
                  </a:lnTo>
                  <a:cubicBezTo>
                    <a:pt x="5567258" y="2456843"/>
                    <a:pt x="4842950" y="2150119"/>
                    <a:pt x="4135416" y="1838818"/>
                  </a:cubicBezTo>
                  <a:cubicBezTo>
                    <a:pt x="3761826" y="1675537"/>
                    <a:pt x="3397385" y="1481736"/>
                    <a:pt x="3045142" y="1295565"/>
                  </a:cubicBezTo>
                  <a:cubicBezTo>
                    <a:pt x="2670027" y="1097187"/>
                    <a:pt x="2281188" y="892704"/>
                    <a:pt x="1883200" y="721793"/>
                  </a:cubicBezTo>
                  <a:cubicBezTo>
                    <a:pt x="1299180" y="471531"/>
                    <a:pt x="692286" y="251788"/>
                    <a:pt x="105215" y="38150"/>
                  </a:cubicBezTo>
                  <a:cubicBezTo>
                    <a:pt x="70144" y="25942"/>
                    <a:pt x="35072" y="12208"/>
                    <a:pt x="0" y="0"/>
                  </a:cubicBezTo>
                  <a:close/>
                </a:path>
              </a:pathLst>
            </a:custGeom>
            <a:solidFill>
              <a:srgbClr val="C2C3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51" name="Freeform 40"/>
            <p:cNvSpPr>
              <a:spLocks/>
            </p:cNvSpPr>
            <p:nvPr userDrawn="1"/>
          </p:nvSpPr>
          <p:spPr bwMode="auto">
            <a:xfrm>
              <a:off x="-792" y="4832724"/>
              <a:ext cx="5053996" cy="732765"/>
            </a:xfrm>
            <a:custGeom>
              <a:avLst/>
              <a:gdLst>
                <a:gd name="T0" fmla="*/ 2531 w 3314"/>
                <a:gd name="T1" fmla="*/ 341 h 480"/>
                <a:gd name="T2" fmla="*/ 2388 w 3314"/>
                <a:gd name="T3" fmla="*/ 357 h 480"/>
                <a:gd name="T4" fmla="*/ 2141 w 3314"/>
                <a:gd name="T5" fmla="*/ 386 h 480"/>
                <a:gd name="T6" fmla="*/ 1044 w 3314"/>
                <a:gd name="T7" fmla="*/ 413 h 480"/>
                <a:gd name="T8" fmla="*/ 290 w 3314"/>
                <a:gd name="T9" fmla="*/ 132 h 480"/>
                <a:gd name="T10" fmla="*/ 18 w 3314"/>
                <a:gd name="T11" fmla="*/ 8 h 480"/>
                <a:gd name="T12" fmla="*/ 0 w 3314"/>
                <a:gd name="T13" fmla="*/ 0 h 480"/>
                <a:gd name="T14" fmla="*/ 0 w 3314"/>
                <a:gd name="T15" fmla="*/ 4 h 480"/>
                <a:gd name="T16" fmla="*/ 17 w 3314"/>
                <a:gd name="T17" fmla="*/ 11 h 480"/>
                <a:gd name="T18" fmla="*/ 288 w 3314"/>
                <a:gd name="T19" fmla="*/ 135 h 480"/>
                <a:gd name="T20" fmla="*/ 1043 w 3314"/>
                <a:gd name="T21" fmla="*/ 416 h 480"/>
                <a:gd name="T22" fmla="*/ 2142 w 3314"/>
                <a:gd name="T23" fmla="*/ 390 h 480"/>
                <a:gd name="T24" fmla="*/ 2388 w 3314"/>
                <a:gd name="T25" fmla="*/ 361 h 480"/>
                <a:gd name="T26" fmla="*/ 2532 w 3314"/>
                <a:gd name="T27" fmla="*/ 345 h 480"/>
                <a:gd name="T28" fmla="*/ 3302 w 3314"/>
                <a:gd name="T29" fmla="*/ 315 h 480"/>
                <a:gd name="T30" fmla="*/ 3314 w 3314"/>
                <a:gd name="T31" fmla="*/ 313 h 480"/>
                <a:gd name="T32" fmla="*/ 2531 w 3314"/>
                <a:gd name="T33" fmla="*/ 341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14" h="480">
                  <a:moveTo>
                    <a:pt x="2531" y="341"/>
                  </a:moveTo>
                  <a:cubicBezTo>
                    <a:pt x="2481" y="347"/>
                    <a:pt x="2434" y="352"/>
                    <a:pt x="2388" y="357"/>
                  </a:cubicBezTo>
                  <a:cubicBezTo>
                    <a:pt x="2306" y="366"/>
                    <a:pt x="2222" y="376"/>
                    <a:pt x="2141" y="386"/>
                  </a:cubicBezTo>
                  <a:cubicBezTo>
                    <a:pt x="1778" y="431"/>
                    <a:pt x="1402" y="477"/>
                    <a:pt x="1044" y="413"/>
                  </a:cubicBezTo>
                  <a:cubicBezTo>
                    <a:pt x="788" y="367"/>
                    <a:pt x="535" y="247"/>
                    <a:pt x="290" y="132"/>
                  </a:cubicBezTo>
                  <a:cubicBezTo>
                    <a:pt x="196" y="88"/>
                    <a:pt x="107" y="46"/>
                    <a:pt x="18" y="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06" y="49"/>
                    <a:pt x="194" y="91"/>
                    <a:pt x="288" y="135"/>
                  </a:cubicBezTo>
                  <a:cubicBezTo>
                    <a:pt x="533" y="251"/>
                    <a:pt x="787" y="370"/>
                    <a:pt x="1043" y="416"/>
                  </a:cubicBezTo>
                  <a:cubicBezTo>
                    <a:pt x="1402" y="480"/>
                    <a:pt x="1778" y="434"/>
                    <a:pt x="2142" y="390"/>
                  </a:cubicBezTo>
                  <a:cubicBezTo>
                    <a:pt x="2223" y="380"/>
                    <a:pt x="2307" y="370"/>
                    <a:pt x="2388" y="361"/>
                  </a:cubicBezTo>
                  <a:cubicBezTo>
                    <a:pt x="2434" y="356"/>
                    <a:pt x="2482" y="351"/>
                    <a:pt x="2532" y="345"/>
                  </a:cubicBezTo>
                  <a:cubicBezTo>
                    <a:pt x="2781" y="315"/>
                    <a:pt x="3053" y="284"/>
                    <a:pt x="3302" y="315"/>
                  </a:cubicBezTo>
                  <a:cubicBezTo>
                    <a:pt x="3314" y="313"/>
                    <a:pt x="3314" y="313"/>
                    <a:pt x="3314" y="313"/>
                  </a:cubicBezTo>
                  <a:cubicBezTo>
                    <a:pt x="3062" y="279"/>
                    <a:pt x="2785" y="311"/>
                    <a:pt x="2531" y="341"/>
                  </a:cubicBezTo>
                  <a:close/>
                </a:path>
              </a:pathLst>
            </a:custGeom>
            <a:solidFill>
              <a:srgbClr val="D3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2" name="Freeform 41"/>
            <p:cNvSpPr>
              <a:spLocks/>
            </p:cNvSpPr>
            <p:nvPr userDrawn="1"/>
          </p:nvSpPr>
          <p:spPr bwMode="auto">
            <a:xfrm>
              <a:off x="-792" y="4632296"/>
              <a:ext cx="5714608" cy="755213"/>
            </a:xfrm>
            <a:custGeom>
              <a:avLst/>
              <a:gdLst>
                <a:gd name="T0" fmla="*/ 3707 w 3747"/>
                <a:gd name="T1" fmla="*/ 348 h 495"/>
                <a:gd name="T2" fmla="*/ 2619 w 3747"/>
                <a:gd name="T3" fmla="*/ 320 h 495"/>
                <a:gd name="T4" fmla="*/ 2467 w 3747"/>
                <a:gd name="T5" fmla="*/ 342 h 495"/>
                <a:gd name="T6" fmla="*/ 2211 w 3747"/>
                <a:gd name="T7" fmla="*/ 379 h 495"/>
                <a:gd name="T8" fmla="*/ 1093 w 3747"/>
                <a:gd name="T9" fmla="*/ 431 h 495"/>
                <a:gd name="T10" fmla="*/ 336 w 3747"/>
                <a:gd name="T11" fmla="*/ 152 h 495"/>
                <a:gd name="T12" fmla="*/ 66 w 3747"/>
                <a:gd name="T13" fmla="*/ 28 h 495"/>
                <a:gd name="T14" fmla="*/ 0 w 3747"/>
                <a:gd name="T15" fmla="*/ 0 h 495"/>
                <a:gd name="T16" fmla="*/ 0 w 3747"/>
                <a:gd name="T17" fmla="*/ 4 h 495"/>
                <a:gd name="T18" fmla="*/ 64 w 3747"/>
                <a:gd name="T19" fmla="*/ 31 h 495"/>
                <a:gd name="T20" fmla="*/ 334 w 3747"/>
                <a:gd name="T21" fmla="*/ 155 h 495"/>
                <a:gd name="T22" fmla="*/ 1092 w 3747"/>
                <a:gd name="T23" fmla="*/ 435 h 495"/>
                <a:gd name="T24" fmla="*/ 2212 w 3747"/>
                <a:gd name="T25" fmla="*/ 382 h 495"/>
                <a:gd name="T26" fmla="*/ 2468 w 3747"/>
                <a:gd name="T27" fmla="*/ 346 h 495"/>
                <a:gd name="T28" fmla="*/ 2620 w 3747"/>
                <a:gd name="T29" fmla="*/ 324 h 495"/>
                <a:gd name="T30" fmla="*/ 3705 w 3747"/>
                <a:gd name="T31" fmla="*/ 351 h 495"/>
                <a:gd name="T32" fmla="*/ 3741 w 3747"/>
                <a:gd name="T33" fmla="*/ 368 h 495"/>
                <a:gd name="T34" fmla="*/ 3747 w 3747"/>
                <a:gd name="T35" fmla="*/ 367 h 495"/>
                <a:gd name="T36" fmla="*/ 3707 w 3747"/>
                <a:gd name="T37" fmla="*/ 348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747" h="495">
                  <a:moveTo>
                    <a:pt x="3707" y="348"/>
                  </a:moveTo>
                  <a:cubicBezTo>
                    <a:pt x="3390" y="209"/>
                    <a:pt x="2962" y="271"/>
                    <a:pt x="2619" y="320"/>
                  </a:cubicBezTo>
                  <a:cubicBezTo>
                    <a:pt x="2566" y="328"/>
                    <a:pt x="2516" y="335"/>
                    <a:pt x="2467" y="342"/>
                  </a:cubicBezTo>
                  <a:cubicBezTo>
                    <a:pt x="2383" y="353"/>
                    <a:pt x="2296" y="366"/>
                    <a:pt x="2211" y="379"/>
                  </a:cubicBezTo>
                  <a:cubicBezTo>
                    <a:pt x="1841" y="434"/>
                    <a:pt x="1458" y="491"/>
                    <a:pt x="1093" y="431"/>
                  </a:cubicBezTo>
                  <a:cubicBezTo>
                    <a:pt x="837" y="389"/>
                    <a:pt x="582" y="268"/>
                    <a:pt x="336" y="152"/>
                  </a:cubicBezTo>
                  <a:cubicBezTo>
                    <a:pt x="242" y="107"/>
                    <a:pt x="154" y="66"/>
                    <a:pt x="66" y="2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64" y="31"/>
                    <a:pt x="64" y="31"/>
                    <a:pt x="64" y="31"/>
                  </a:cubicBezTo>
                  <a:cubicBezTo>
                    <a:pt x="153" y="69"/>
                    <a:pt x="241" y="111"/>
                    <a:pt x="334" y="155"/>
                  </a:cubicBezTo>
                  <a:cubicBezTo>
                    <a:pt x="580" y="272"/>
                    <a:pt x="835" y="392"/>
                    <a:pt x="1092" y="435"/>
                  </a:cubicBezTo>
                  <a:cubicBezTo>
                    <a:pt x="1458" y="495"/>
                    <a:pt x="1841" y="438"/>
                    <a:pt x="2212" y="382"/>
                  </a:cubicBezTo>
                  <a:cubicBezTo>
                    <a:pt x="2296" y="370"/>
                    <a:pt x="2384" y="357"/>
                    <a:pt x="2468" y="346"/>
                  </a:cubicBezTo>
                  <a:cubicBezTo>
                    <a:pt x="2517" y="339"/>
                    <a:pt x="2567" y="332"/>
                    <a:pt x="2620" y="324"/>
                  </a:cubicBezTo>
                  <a:cubicBezTo>
                    <a:pt x="2962" y="275"/>
                    <a:pt x="3389" y="213"/>
                    <a:pt x="3705" y="351"/>
                  </a:cubicBezTo>
                  <a:cubicBezTo>
                    <a:pt x="3717" y="357"/>
                    <a:pt x="3729" y="362"/>
                    <a:pt x="3741" y="368"/>
                  </a:cubicBezTo>
                  <a:cubicBezTo>
                    <a:pt x="3747" y="367"/>
                    <a:pt x="3747" y="367"/>
                    <a:pt x="3747" y="367"/>
                  </a:cubicBezTo>
                  <a:cubicBezTo>
                    <a:pt x="3734" y="361"/>
                    <a:pt x="3720" y="354"/>
                    <a:pt x="3707" y="348"/>
                  </a:cubicBezTo>
                  <a:close/>
                </a:path>
              </a:pathLst>
            </a:custGeom>
            <a:solidFill>
              <a:srgbClr val="D3D4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3" name="Freeform 42"/>
            <p:cNvSpPr>
              <a:spLocks/>
            </p:cNvSpPr>
            <p:nvPr userDrawn="1"/>
          </p:nvSpPr>
          <p:spPr bwMode="auto">
            <a:xfrm>
              <a:off x="-792" y="4433471"/>
              <a:ext cx="6110654" cy="780868"/>
            </a:xfrm>
            <a:custGeom>
              <a:avLst/>
              <a:gdLst>
                <a:gd name="T0" fmla="*/ 3801 w 4007"/>
                <a:gd name="T1" fmla="*/ 317 h 512"/>
                <a:gd name="T2" fmla="*/ 2697 w 4007"/>
                <a:gd name="T3" fmla="*/ 307 h 512"/>
                <a:gd name="T4" fmla="*/ 2542 w 4007"/>
                <a:gd name="T5" fmla="*/ 332 h 512"/>
                <a:gd name="T6" fmla="*/ 2277 w 4007"/>
                <a:gd name="T7" fmla="*/ 376 h 512"/>
                <a:gd name="T8" fmla="*/ 1141 w 4007"/>
                <a:gd name="T9" fmla="*/ 450 h 512"/>
                <a:gd name="T10" fmla="*/ 383 w 4007"/>
                <a:gd name="T11" fmla="*/ 172 h 512"/>
                <a:gd name="T12" fmla="*/ 113 w 4007"/>
                <a:gd name="T13" fmla="*/ 48 h 512"/>
                <a:gd name="T14" fmla="*/ 0 w 4007"/>
                <a:gd name="T15" fmla="*/ 0 h 512"/>
                <a:gd name="T16" fmla="*/ 0 w 4007"/>
                <a:gd name="T17" fmla="*/ 4 h 512"/>
                <a:gd name="T18" fmla="*/ 112 w 4007"/>
                <a:gd name="T19" fmla="*/ 52 h 512"/>
                <a:gd name="T20" fmla="*/ 381 w 4007"/>
                <a:gd name="T21" fmla="*/ 176 h 512"/>
                <a:gd name="T22" fmla="*/ 1140 w 4007"/>
                <a:gd name="T23" fmla="*/ 454 h 512"/>
                <a:gd name="T24" fmla="*/ 2277 w 4007"/>
                <a:gd name="T25" fmla="*/ 380 h 512"/>
                <a:gd name="T26" fmla="*/ 2542 w 4007"/>
                <a:gd name="T27" fmla="*/ 336 h 512"/>
                <a:gd name="T28" fmla="*/ 2698 w 4007"/>
                <a:gd name="T29" fmla="*/ 311 h 512"/>
                <a:gd name="T30" fmla="*/ 3799 w 4007"/>
                <a:gd name="T31" fmla="*/ 321 h 512"/>
                <a:gd name="T32" fmla="*/ 4002 w 4007"/>
                <a:gd name="T33" fmla="*/ 453 h 512"/>
                <a:gd name="T34" fmla="*/ 4007 w 4007"/>
                <a:gd name="T35" fmla="*/ 453 h 512"/>
                <a:gd name="T36" fmla="*/ 3801 w 4007"/>
                <a:gd name="T37" fmla="*/ 317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07" h="512">
                  <a:moveTo>
                    <a:pt x="3801" y="317"/>
                  </a:moveTo>
                  <a:cubicBezTo>
                    <a:pt x="3480" y="176"/>
                    <a:pt x="3046" y="249"/>
                    <a:pt x="2697" y="307"/>
                  </a:cubicBezTo>
                  <a:cubicBezTo>
                    <a:pt x="2643" y="316"/>
                    <a:pt x="2591" y="325"/>
                    <a:pt x="2542" y="332"/>
                  </a:cubicBezTo>
                  <a:cubicBezTo>
                    <a:pt x="2455" y="346"/>
                    <a:pt x="2364" y="361"/>
                    <a:pt x="2277" y="376"/>
                  </a:cubicBezTo>
                  <a:cubicBezTo>
                    <a:pt x="1901" y="441"/>
                    <a:pt x="1512" y="508"/>
                    <a:pt x="1141" y="450"/>
                  </a:cubicBezTo>
                  <a:cubicBezTo>
                    <a:pt x="885" y="410"/>
                    <a:pt x="630" y="289"/>
                    <a:pt x="383" y="172"/>
                  </a:cubicBezTo>
                  <a:cubicBezTo>
                    <a:pt x="289" y="128"/>
                    <a:pt x="201" y="86"/>
                    <a:pt x="113" y="4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12" y="52"/>
                    <a:pt x="112" y="52"/>
                    <a:pt x="112" y="52"/>
                  </a:cubicBezTo>
                  <a:cubicBezTo>
                    <a:pt x="200" y="89"/>
                    <a:pt x="288" y="131"/>
                    <a:pt x="381" y="176"/>
                  </a:cubicBezTo>
                  <a:cubicBezTo>
                    <a:pt x="628" y="293"/>
                    <a:pt x="884" y="414"/>
                    <a:pt x="1140" y="454"/>
                  </a:cubicBezTo>
                  <a:cubicBezTo>
                    <a:pt x="1512" y="512"/>
                    <a:pt x="1901" y="445"/>
                    <a:pt x="2277" y="380"/>
                  </a:cubicBezTo>
                  <a:cubicBezTo>
                    <a:pt x="2365" y="365"/>
                    <a:pt x="2455" y="350"/>
                    <a:pt x="2542" y="336"/>
                  </a:cubicBezTo>
                  <a:cubicBezTo>
                    <a:pt x="2592" y="329"/>
                    <a:pt x="2643" y="320"/>
                    <a:pt x="2698" y="311"/>
                  </a:cubicBezTo>
                  <a:cubicBezTo>
                    <a:pt x="3046" y="253"/>
                    <a:pt x="3479" y="180"/>
                    <a:pt x="3799" y="321"/>
                  </a:cubicBezTo>
                  <a:cubicBezTo>
                    <a:pt x="3877" y="355"/>
                    <a:pt x="3944" y="400"/>
                    <a:pt x="4002" y="453"/>
                  </a:cubicBezTo>
                  <a:cubicBezTo>
                    <a:pt x="4007" y="453"/>
                    <a:pt x="4007" y="453"/>
                    <a:pt x="4007" y="453"/>
                  </a:cubicBezTo>
                  <a:cubicBezTo>
                    <a:pt x="3945" y="396"/>
                    <a:pt x="3877" y="351"/>
                    <a:pt x="3801" y="317"/>
                  </a:cubicBezTo>
                  <a:close/>
                </a:path>
              </a:pathLst>
            </a:custGeom>
            <a:solidFill>
              <a:srgbClr val="D2D4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4" name="Freeform 43"/>
            <p:cNvSpPr>
              <a:spLocks/>
            </p:cNvSpPr>
            <p:nvPr userDrawn="1"/>
          </p:nvSpPr>
          <p:spPr bwMode="auto">
            <a:xfrm>
              <a:off x="-792" y="4233043"/>
              <a:ext cx="6388046" cy="841798"/>
            </a:xfrm>
            <a:custGeom>
              <a:avLst/>
              <a:gdLst>
                <a:gd name="T0" fmla="*/ 3883 w 4189"/>
                <a:gd name="T1" fmla="*/ 299 h 552"/>
                <a:gd name="T2" fmla="*/ 2764 w 4189"/>
                <a:gd name="T3" fmla="*/ 302 h 552"/>
                <a:gd name="T4" fmla="*/ 2609 w 4189"/>
                <a:gd name="T5" fmla="*/ 330 h 552"/>
                <a:gd name="T6" fmla="*/ 2337 w 4189"/>
                <a:gd name="T7" fmla="*/ 380 h 552"/>
                <a:gd name="T8" fmla="*/ 1188 w 4189"/>
                <a:gd name="T9" fmla="*/ 471 h 552"/>
                <a:gd name="T10" fmla="*/ 431 w 4189"/>
                <a:gd name="T11" fmla="*/ 193 h 552"/>
                <a:gd name="T12" fmla="*/ 160 w 4189"/>
                <a:gd name="T13" fmla="*/ 68 h 552"/>
                <a:gd name="T14" fmla="*/ 0 w 4189"/>
                <a:gd name="T15" fmla="*/ 0 h 552"/>
                <a:gd name="T16" fmla="*/ 0 w 4189"/>
                <a:gd name="T17" fmla="*/ 4 h 552"/>
                <a:gd name="T18" fmla="*/ 159 w 4189"/>
                <a:gd name="T19" fmla="*/ 72 h 552"/>
                <a:gd name="T20" fmla="*/ 430 w 4189"/>
                <a:gd name="T21" fmla="*/ 197 h 552"/>
                <a:gd name="T22" fmla="*/ 1187 w 4189"/>
                <a:gd name="T23" fmla="*/ 475 h 552"/>
                <a:gd name="T24" fmla="*/ 2338 w 4189"/>
                <a:gd name="T25" fmla="*/ 384 h 552"/>
                <a:gd name="T26" fmla="*/ 2610 w 4189"/>
                <a:gd name="T27" fmla="*/ 334 h 552"/>
                <a:gd name="T28" fmla="*/ 2765 w 4189"/>
                <a:gd name="T29" fmla="*/ 306 h 552"/>
                <a:gd name="T30" fmla="*/ 3881 w 4189"/>
                <a:gd name="T31" fmla="*/ 303 h 552"/>
                <a:gd name="T32" fmla="*/ 4183 w 4189"/>
                <a:gd name="T33" fmla="*/ 552 h 552"/>
                <a:gd name="T34" fmla="*/ 4189 w 4189"/>
                <a:gd name="T35" fmla="*/ 551 h 552"/>
                <a:gd name="T36" fmla="*/ 3883 w 4189"/>
                <a:gd name="T37" fmla="*/ 299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189" h="552">
                  <a:moveTo>
                    <a:pt x="3883" y="299"/>
                  </a:moveTo>
                  <a:cubicBezTo>
                    <a:pt x="3557" y="156"/>
                    <a:pt x="3118" y="237"/>
                    <a:pt x="2764" y="302"/>
                  </a:cubicBezTo>
                  <a:cubicBezTo>
                    <a:pt x="2710" y="312"/>
                    <a:pt x="2659" y="322"/>
                    <a:pt x="2609" y="330"/>
                  </a:cubicBezTo>
                  <a:cubicBezTo>
                    <a:pt x="2520" y="345"/>
                    <a:pt x="2427" y="363"/>
                    <a:pt x="2337" y="380"/>
                  </a:cubicBezTo>
                  <a:cubicBezTo>
                    <a:pt x="1956" y="453"/>
                    <a:pt x="1563" y="528"/>
                    <a:pt x="1188" y="471"/>
                  </a:cubicBezTo>
                  <a:cubicBezTo>
                    <a:pt x="933" y="432"/>
                    <a:pt x="678" y="310"/>
                    <a:pt x="431" y="193"/>
                  </a:cubicBezTo>
                  <a:cubicBezTo>
                    <a:pt x="338" y="148"/>
                    <a:pt x="249" y="106"/>
                    <a:pt x="160" y="6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59" y="72"/>
                    <a:pt x="159" y="72"/>
                    <a:pt x="159" y="72"/>
                  </a:cubicBezTo>
                  <a:cubicBezTo>
                    <a:pt x="247" y="110"/>
                    <a:pt x="336" y="152"/>
                    <a:pt x="430" y="197"/>
                  </a:cubicBezTo>
                  <a:cubicBezTo>
                    <a:pt x="676" y="314"/>
                    <a:pt x="932" y="436"/>
                    <a:pt x="1187" y="475"/>
                  </a:cubicBezTo>
                  <a:cubicBezTo>
                    <a:pt x="1563" y="532"/>
                    <a:pt x="1957" y="457"/>
                    <a:pt x="2338" y="384"/>
                  </a:cubicBezTo>
                  <a:cubicBezTo>
                    <a:pt x="2428" y="367"/>
                    <a:pt x="2521" y="350"/>
                    <a:pt x="2610" y="334"/>
                  </a:cubicBezTo>
                  <a:cubicBezTo>
                    <a:pt x="2660" y="326"/>
                    <a:pt x="2711" y="316"/>
                    <a:pt x="2765" y="306"/>
                  </a:cubicBezTo>
                  <a:cubicBezTo>
                    <a:pt x="3118" y="241"/>
                    <a:pt x="3556" y="161"/>
                    <a:pt x="3881" y="303"/>
                  </a:cubicBezTo>
                  <a:cubicBezTo>
                    <a:pt x="4012" y="360"/>
                    <a:pt x="4108" y="447"/>
                    <a:pt x="4183" y="552"/>
                  </a:cubicBezTo>
                  <a:cubicBezTo>
                    <a:pt x="4189" y="551"/>
                    <a:pt x="4189" y="551"/>
                    <a:pt x="4189" y="551"/>
                  </a:cubicBezTo>
                  <a:cubicBezTo>
                    <a:pt x="4106" y="436"/>
                    <a:pt x="4005" y="353"/>
                    <a:pt x="3883" y="299"/>
                  </a:cubicBezTo>
                  <a:close/>
                </a:path>
              </a:pathLst>
            </a:custGeom>
            <a:solidFill>
              <a:srgbClr val="D2D3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5" name="Freeform 44"/>
            <p:cNvSpPr>
              <a:spLocks/>
            </p:cNvSpPr>
            <p:nvPr userDrawn="1"/>
          </p:nvSpPr>
          <p:spPr bwMode="auto">
            <a:xfrm>
              <a:off x="-792" y="4032615"/>
              <a:ext cx="6590077" cy="1006952"/>
            </a:xfrm>
            <a:custGeom>
              <a:avLst/>
              <a:gdLst>
                <a:gd name="T0" fmla="*/ 3951 w 4322"/>
                <a:gd name="T1" fmla="*/ 296 h 660"/>
                <a:gd name="T2" fmla="*/ 2820 w 4322"/>
                <a:gd name="T3" fmla="*/ 308 h 660"/>
                <a:gd name="T4" fmla="*/ 2669 w 4322"/>
                <a:gd name="T5" fmla="*/ 336 h 660"/>
                <a:gd name="T6" fmla="*/ 2391 w 4322"/>
                <a:gd name="T7" fmla="*/ 391 h 660"/>
                <a:gd name="T8" fmla="*/ 1234 w 4322"/>
                <a:gd name="T9" fmla="*/ 493 h 660"/>
                <a:gd name="T10" fmla="*/ 482 w 4322"/>
                <a:gd name="T11" fmla="*/ 214 h 660"/>
                <a:gd name="T12" fmla="*/ 208 w 4322"/>
                <a:gd name="T13" fmla="*/ 88 h 660"/>
                <a:gd name="T14" fmla="*/ 0 w 4322"/>
                <a:gd name="T15" fmla="*/ 0 h 660"/>
                <a:gd name="T16" fmla="*/ 0 w 4322"/>
                <a:gd name="T17" fmla="*/ 4 h 660"/>
                <a:gd name="T18" fmla="*/ 206 w 4322"/>
                <a:gd name="T19" fmla="*/ 92 h 660"/>
                <a:gd name="T20" fmla="*/ 480 w 4322"/>
                <a:gd name="T21" fmla="*/ 218 h 660"/>
                <a:gd name="T22" fmla="*/ 1233 w 4322"/>
                <a:gd name="T23" fmla="*/ 497 h 660"/>
                <a:gd name="T24" fmla="*/ 2392 w 4322"/>
                <a:gd name="T25" fmla="*/ 396 h 660"/>
                <a:gd name="T26" fmla="*/ 2670 w 4322"/>
                <a:gd name="T27" fmla="*/ 341 h 660"/>
                <a:gd name="T28" fmla="*/ 2821 w 4322"/>
                <a:gd name="T29" fmla="*/ 312 h 660"/>
                <a:gd name="T30" fmla="*/ 3949 w 4322"/>
                <a:gd name="T31" fmla="*/ 300 h 660"/>
                <a:gd name="T32" fmla="*/ 4317 w 4322"/>
                <a:gd name="T33" fmla="*/ 660 h 660"/>
                <a:gd name="T34" fmla="*/ 4322 w 4322"/>
                <a:gd name="T35" fmla="*/ 659 h 660"/>
                <a:gd name="T36" fmla="*/ 3951 w 4322"/>
                <a:gd name="T37" fmla="*/ 296 h 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322" h="660">
                  <a:moveTo>
                    <a:pt x="3951" y="296"/>
                  </a:moveTo>
                  <a:cubicBezTo>
                    <a:pt x="3619" y="151"/>
                    <a:pt x="3176" y="238"/>
                    <a:pt x="2820" y="308"/>
                  </a:cubicBezTo>
                  <a:cubicBezTo>
                    <a:pt x="2767" y="318"/>
                    <a:pt x="2718" y="328"/>
                    <a:pt x="2669" y="336"/>
                  </a:cubicBezTo>
                  <a:cubicBezTo>
                    <a:pt x="2578" y="353"/>
                    <a:pt x="2487" y="372"/>
                    <a:pt x="2391" y="391"/>
                  </a:cubicBezTo>
                  <a:cubicBezTo>
                    <a:pt x="2008" y="470"/>
                    <a:pt x="1611" y="552"/>
                    <a:pt x="1234" y="493"/>
                  </a:cubicBezTo>
                  <a:cubicBezTo>
                    <a:pt x="981" y="453"/>
                    <a:pt x="727" y="332"/>
                    <a:pt x="482" y="214"/>
                  </a:cubicBezTo>
                  <a:cubicBezTo>
                    <a:pt x="387" y="169"/>
                    <a:pt x="297" y="126"/>
                    <a:pt x="208" y="8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06" y="92"/>
                    <a:pt x="206" y="92"/>
                    <a:pt x="206" y="92"/>
                  </a:cubicBezTo>
                  <a:cubicBezTo>
                    <a:pt x="295" y="130"/>
                    <a:pt x="385" y="173"/>
                    <a:pt x="480" y="218"/>
                  </a:cubicBezTo>
                  <a:cubicBezTo>
                    <a:pt x="725" y="336"/>
                    <a:pt x="979" y="457"/>
                    <a:pt x="1233" y="497"/>
                  </a:cubicBezTo>
                  <a:cubicBezTo>
                    <a:pt x="1611" y="556"/>
                    <a:pt x="2008" y="475"/>
                    <a:pt x="2392" y="396"/>
                  </a:cubicBezTo>
                  <a:cubicBezTo>
                    <a:pt x="2488" y="376"/>
                    <a:pt x="2579" y="357"/>
                    <a:pt x="2670" y="341"/>
                  </a:cubicBezTo>
                  <a:cubicBezTo>
                    <a:pt x="2718" y="332"/>
                    <a:pt x="2768" y="322"/>
                    <a:pt x="2821" y="312"/>
                  </a:cubicBezTo>
                  <a:cubicBezTo>
                    <a:pt x="3176" y="242"/>
                    <a:pt x="3618" y="156"/>
                    <a:pt x="3949" y="300"/>
                  </a:cubicBezTo>
                  <a:cubicBezTo>
                    <a:pt x="4124" y="377"/>
                    <a:pt x="4237" y="505"/>
                    <a:pt x="4317" y="660"/>
                  </a:cubicBezTo>
                  <a:cubicBezTo>
                    <a:pt x="4322" y="659"/>
                    <a:pt x="4322" y="659"/>
                    <a:pt x="4322" y="659"/>
                  </a:cubicBezTo>
                  <a:cubicBezTo>
                    <a:pt x="4232" y="485"/>
                    <a:pt x="4111" y="366"/>
                    <a:pt x="3951" y="296"/>
                  </a:cubicBezTo>
                  <a:close/>
                </a:path>
              </a:pathLst>
            </a:custGeom>
            <a:solidFill>
              <a:srgbClr val="D1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6" name="Freeform 45"/>
            <p:cNvSpPr>
              <a:spLocks/>
            </p:cNvSpPr>
            <p:nvPr userDrawn="1"/>
          </p:nvSpPr>
          <p:spPr bwMode="auto">
            <a:xfrm>
              <a:off x="-792" y="3832187"/>
              <a:ext cx="6752023" cy="1178518"/>
            </a:xfrm>
            <a:custGeom>
              <a:avLst/>
              <a:gdLst>
                <a:gd name="T0" fmla="*/ 4389 w 4428"/>
                <a:gd name="T1" fmla="*/ 681 h 773"/>
                <a:gd name="T2" fmla="*/ 4010 w 4428"/>
                <a:gd name="T3" fmla="*/ 297 h 773"/>
                <a:gd name="T4" fmla="*/ 2870 w 4428"/>
                <a:gd name="T5" fmla="*/ 316 h 773"/>
                <a:gd name="T6" fmla="*/ 2723 w 4428"/>
                <a:gd name="T7" fmla="*/ 346 h 773"/>
                <a:gd name="T8" fmla="*/ 2443 w 4428"/>
                <a:gd name="T9" fmla="*/ 405 h 773"/>
                <a:gd name="T10" fmla="*/ 1280 w 4428"/>
                <a:gd name="T11" fmla="*/ 515 h 773"/>
                <a:gd name="T12" fmla="*/ 531 w 4428"/>
                <a:gd name="T13" fmla="*/ 237 h 773"/>
                <a:gd name="T14" fmla="*/ 255 w 4428"/>
                <a:gd name="T15" fmla="*/ 109 h 773"/>
                <a:gd name="T16" fmla="*/ 0 w 4428"/>
                <a:gd name="T17" fmla="*/ 0 h 773"/>
                <a:gd name="T18" fmla="*/ 0 w 4428"/>
                <a:gd name="T19" fmla="*/ 5 h 773"/>
                <a:gd name="T20" fmla="*/ 253 w 4428"/>
                <a:gd name="T21" fmla="*/ 113 h 773"/>
                <a:gd name="T22" fmla="*/ 529 w 4428"/>
                <a:gd name="T23" fmla="*/ 241 h 773"/>
                <a:gd name="T24" fmla="*/ 1279 w 4428"/>
                <a:gd name="T25" fmla="*/ 519 h 773"/>
                <a:gd name="T26" fmla="*/ 2444 w 4428"/>
                <a:gd name="T27" fmla="*/ 409 h 773"/>
                <a:gd name="T28" fmla="*/ 2724 w 4428"/>
                <a:gd name="T29" fmla="*/ 350 h 773"/>
                <a:gd name="T30" fmla="*/ 2871 w 4428"/>
                <a:gd name="T31" fmla="*/ 320 h 773"/>
                <a:gd name="T32" fmla="*/ 4008 w 4428"/>
                <a:gd name="T33" fmla="*/ 301 h 773"/>
                <a:gd name="T34" fmla="*/ 4423 w 4428"/>
                <a:gd name="T35" fmla="*/ 773 h 773"/>
                <a:gd name="T36" fmla="*/ 4428 w 4428"/>
                <a:gd name="T37" fmla="*/ 772 h 773"/>
                <a:gd name="T38" fmla="*/ 4389 w 4428"/>
                <a:gd name="T39" fmla="*/ 681 h 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428" h="773">
                  <a:moveTo>
                    <a:pt x="4389" y="681"/>
                  </a:moveTo>
                  <a:cubicBezTo>
                    <a:pt x="4301" y="495"/>
                    <a:pt x="4177" y="370"/>
                    <a:pt x="4010" y="297"/>
                  </a:cubicBezTo>
                  <a:cubicBezTo>
                    <a:pt x="3673" y="150"/>
                    <a:pt x="3228" y="242"/>
                    <a:pt x="2870" y="316"/>
                  </a:cubicBezTo>
                  <a:cubicBezTo>
                    <a:pt x="2819" y="326"/>
                    <a:pt x="2770" y="336"/>
                    <a:pt x="2723" y="346"/>
                  </a:cubicBezTo>
                  <a:cubicBezTo>
                    <a:pt x="2631" y="363"/>
                    <a:pt x="2540" y="383"/>
                    <a:pt x="2443" y="405"/>
                  </a:cubicBezTo>
                  <a:cubicBezTo>
                    <a:pt x="2057" y="489"/>
                    <a:pt x="1658" y="576"/>
                    <a:pt x="1280" y="515"/>
                  </a:cubicBezTo>
                  <a:cubicBezTo>
                    <a:pt x="1028" y="475"/>
                    <a:pt x="776" y="354"/>
                    <a:pt x="531" y="237"/>
                  </a:cubicBezTo>
                  <a:cubicBezTo>
                    <a:pt x="436" y="191"/>
                    <a:pt x="345" y="148"/>
                    <a:pt x="255" y="10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253" y="113"/>
                    <a:pt x="253" y="113"/>
                    <a:pt x="253" y="113"/>
                  </a:cubicBezTo>
                  <a:cubicBezTo>
                    <a:pt x="343" y="152"/>
                    <a:pt x="434" y="195"/>
                    <a:pt x="529" y="241"/>
                  </a:cubicBezTo>
                  <a:cubicBezTo>
                    <a:pt x="774" y="358"/>
                    <a:pt x="1027" y="479"/>
                    <a:pt x="1279" y="519"/>
                  </a:cubicBezTo>
                  <a:cubicBezTo>
                    <a:pt x="1658" y="580"/>
                    <a:pt x="2057" y="493"/>
                    <a:pt x="2444" y="409"/>
                  </a:cubicBezTo>
                  <a:cubicBezTo>
                    <a:pt x="2541" y="388"/>
                    <a:pt x="2632" y="368"/>
                    <a:pt x="2724" y="350"/>
                  </a:cubicBezTo>
                  <a:cubicBezTo>
                    <a:pt x="2771" y="341"/>
                    <a:pt x="2820" y="331"/>
                    <a:pt x="2871" y="320"/>
                  </a:cubicBezTo>
                  <a:cubicBezTo>
                    <a:pt x="3228" y="247"/>
                    <a:pt x="3672" y="155"/>
                    <a:pt x="4008" y="301"/>
                  </a:cubicBezTo>
                  <a:cubicBezTo>
                    <a:pt x="4224" y="396"/>
                    <a:pt x="4344" y="569"/>
                    <a:pt x="4423" y="773"/>
                  </a:cubicBezTo>
                  <a:cubicBezTo>
                    <a:pt x="4428" y="772"/>
                    <a:pt x="4428" y="772"/>
                    <a:pt x="4428" y="772"/>
                  </a:cubicBezTo>
                  <a:cubicBezTo>
                    <a:pt x="4416" y="741"/>
                    <a:pt x="4403" y="710"/>
                    <a:pt x="4389" y="681"/>
                  </a:cubicBezTo>
                  <a:close/>
                </a:path>
              </a:pathLst>
            </a:custGeom>
            <a:solidFill>
              <a:srgbClr val="D1D2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7" name="Freeform 46"/>
            <p:cNvSpPr>
              <a:spLocks/>
            </p:cNvSpPr>
            <p:nvPr userDrawn="1"/>
          </p:nvSpPr>
          <p:spPr bwMode="auto">
            <a:xfrm>
              <a:off x="-792" y="3631758"/>
              <a:ext cx="6878694" cy="1356498"/>
            </a:xfrm>
            <a:custGeom>
              <a:avLst/>
              <a:gdLst>
                <a:gd name="T0" fmla="*/ 4069 w 4511"/>
                <a:gd name="T1" fmla="*/ 269 h 889"/>
                <a:gd name="T2" fmla="*/ 2931 w 4511"/>
                <a:gd name="T3" fmla="*/ 304 h 889"/>
                <a:gd name="T4" fmla="*/ 2777 w 4511"/>
                <a:gd name="T5" fmla="*/ 338 h 889"/>
                <a:gd name="T6" fmla="*/ 2497 w 4511"/>
                <a:gd name="T7" fmla="*/ 401 h 889"/>
                <a:gd name="T8" fmla="*/ 1330 w 4511"/>
                <a:gd name="T9" fmla="*/ 532 h 889"/>
                <a:gd name="T10" fmla="*/ 574 w 4511"/>
                <a:gd name="T11" fmla="*/ 255 h 889"/>
                <a:gd name="T12" fmla="*/ 303 w 4511"/>
                <a:gd name="T13" fmla="*/ 129 h 889"/>
                <a:gd name="T14" fmla="*/ 0 w 4511"/>
                <a:gd name="T15" fmla="*/ 0 h 889"/>
                <a:gd name="T16" fmla="*/ 0 w 4511"/>
                <a:gd name="T17" fmla="*/ 5 h 889"/>
                <a:gd name="T18" fmla="*/ 301 w 4511"/>
                <a:gd name="T19" fmla="*/ 134 h 889"/>
                <a:gd name="T20" fmla="*/ 572 w 4511"/>
                <a:gd name="T21" fmla="*/ 259 h 889"/>
                <a:gd name="T22" fmla="*/ 1330 w 4511"/>
                <a:gd name="T23" fmla="*/ 536 h 889"/>
                <a:gd name="T24" fmla="*/ 2498 w 4511"/>
                <a:gd name="T25" fmla="*/ 406 h 889"/>
                <a:gd name="T26" fmla="*/ 2778 w 4511"/>
                <a:gd name="T27" fmla="*/ 343 h 889"/>
                <a:gd name="T28" fmla="*/ 2932 w 4511"/>
                <a:gd name="T29" fmla="*/ 309 h 889"/>
                <a:gd name="T30" fmla="*/ 4067 w 4511"/>
                <a:gd name="T31" fmla="*/ 273 h 889"/>
                <a:gd name="T32" fmla="*/ 4507 w 4511"/>
                <a:gd name="T33" fmla="*/ 889 h 889"/>
                <a:gd name="T34" fmla="*/ 4511 w 4511"/>
                <a:gd name="T35" fmla="*/ 889 h 889"/>
                <a:gd name="T36" fmla="*/ 4069 w 4511"/>
                <a:gd name="T37" fmla="*/ 269 h 8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511" h="889">
                  <a:moveTo>
                    <a:pt x="4069" y="269"/>
                  </a:moveTo>
                  <a:cubicBezTo>
                    <a:pt x="3738" y="123"/>
                    <a:pt x="3290" y="224"/>
                    <a:pt x="2931" y="304"/>
                  </a:cubicBezTo>
                  <a:cubicBezTo>
                    <a:pt x="2877" y="316"/>
                    <a:pt x="2826" y="328"/>
                    <a:pt x="2777" y="338"/>
                  </a:cubicBezTo>
                  <a:cubicBezTo>
                    <a:pt x="2686" y="357"/>
                    <a:pt x="2594" y="379"/>
                    <a:pt x="2497" y="401"/>
                  </a:cubicBezTo>
                  <a:cubicBezTo>
                    <a:pt x="2111" y="492"/>
                    <a:pt x="1711" y="585"/>
                    <a:pt x="1330" y="532"/>
                  </a:cubicBezTo>
                  <a:cubicBezTo>
                    <a:pt x="1076" y="496"/>
                    <a:pt x="821" y="373"/>
                    <a:pt x="574" y="255"/>
                  </a:cubicBezTo>
                  <a:cubicBezTo>
                    <a:pt x="480" y="210"/>
                    <a:pt x="391" y="167"/>
                    <a:pt x="303" y="12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301" y="134"/>
                    <a:pt x="301" y="134"/>
                    <a:pt x="301" y="134"/>
                  </a:cubicBezTo>
                  <a:cubicBezTo>
                    <a:pt x="389" y="171"/>
                    <a:pt x="478" y="214"/>
                    <a:pt x="572" y="259"/>
                  </a:cubicBezTo>
                  <a:cubicBezTo>
                    <a:pt x="819" y="378"/>
                    <a:pt x="1075" y="500"/>
                    <a:pt x="1330" y="536"/>
                  </a:cubicBezTo>
                  <a:cubicBezTo>
                    <a:pt x="1712" y="590"/>
                    <a:pt x="2112" y="496"/>
                    <a:pt x="2498" y="406"/>
                  </a:cubicBezTo>
                  <a:cubicBezTo>
                    <a:pt x="2595" y="383"/>
                    <a:pt x="2687" y="362"/>
                    <a:pt x="2778" y="343"/>
                  </a:cubicBezTo>
                  <a:cubicBezTo>
                    <a:pt x="2827" y="332"/>
                    <a:pt x="2878" y="321"/>
                    <a:pt x="2932" y="309"/>
                  </a:cubicBezTo>
                  <a:cubicBezTo>
                    <a:pt x="3291" y="228"/>
                    <a:pt x="3737" y="128"/>
                    <a:pt x="4067" y="273"/>
                  </a:cubicBezTo>
                  <a:cubicBezTo>
                    <a:pt x="4312" y="380"/>
                    <a:pt x="4429" y="634"/>
                    <a:pt x="4507" y="889"/>
                  </a:cubicBezTo>
                  <a:cubicBezTo>
                    <a:pt x="4511" y="889"/>
                    <a:pt x="4511" y="889"/>
                    <a:pt x="4511" y="889"/>
                  </a:cubicBezTo>
                  <a:cubicBezTo>
                    <a:pt x="4433" y="632"/>
                    <a:pt x="4316" y="377"/>
                    <a:pt x="4069" y="269"/>
                  </a:cubicBez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8" name="Freeform 47"/>
            <p:cNvSpPr>
              <a:spLocks/>
            </p:cNvSpPr>
            <p:nvPr userDrawn="1"/>
          </p:nvSpPr>
          <p:spPr bwMode="auto">
            <a:xfrm>
              <a:off x="-792" y="3431331"/>
              <a:ext cx="6998951" cy="1537685"/>
            </a:xfrm>
            <a:custGeom>
              <a:avLst/>
              <a:gdLst>
                <a:gd name="T0" fmla="*/ 4455 w 4590"/>
                <a:gd name="T1" fmla="*/ 619 h 1007"/>
                <a:gd name="T2" fmla="*/ 4114 w 4590"/>
                <a:gd name="T3" fmla="*/ 255 h 1007"/>
                <a:gd name="T4" fmla="*/ 2978 w 4590"/>
                <a:gd name="T5" fmla="*/ 303 h 1007"/>
                <a:gd name="T6" fmla="*/ 2822 w 4590"/>
                <a:gd name="T7" fmla="*/ 339 h 1007"/>
                <a:gd name="T8" fmla="*/ 2545 w 4590"/>
                <a:gd name="T9" fmla="*/ 405 h 1007"/>
                <a:gd name="T10" fmla="*/ 1379 w 4590"/>
                <a:gd name="T11" fmla="*/ 549 h 1007"/>
                <a:gd name="T12" fmla="*/ 619 w 4590"/>
                <a:gd name="T13" fmla="*/ 274 h 1007"/>
                <a:gd name="T14" fmla="*/ 350 w 4590"/>
                <a:gd name="T15" fmla="*/ 150 h 1007"/>
                <a:gd name="T16" fmla="*/ 0 w 4590"/>
                <a:gd name="T17" fmla="*/ 0 h 1007"/>
                <a:gd name="T18" fmla="*/ 0 w 4590"/>
                <a:gd name="T19" fmla="*/ 5 h 1007"/>
                <a:gd name="T20" fmla="*/ 348 w 4590"/>
                <a:gd name="T21" fmla="*/ 154 h 1007"/>
                <a:gd name="T22" fmla="*/ 617 w 4590"/>
                <a:gd name="T23" fmla="*/ 278 h 1007"/>
                <a:gd name="T24" fmla="*/ 1379 w 4590"/>
                <a:gd name="T25" fmla="*/ 554 h 1007"/>
                <a:gd name="T26" fmla="*/ 2546 w 4590"/>
                <a:gd name="T27" fmla="*/ 410 h 1007"/>
                <a:gd name="T28" fmla="*/ 2823 w 4590"/>
                <a:gd name="T29" fmla="*/ 344 h 1007"/>
                <a:gd name="T30" fmla="*/ 2979 w 4590"/>
                <a:gd name="T31" fmla="*/ 307 h 1007"/>
                <a:gd name="T32" fmla="*/ 4112 w 4590"/>
                <a:gd name="T33" fmla="*/ 259 h 1007"/>
                <a:gd name="T34" fmla="*/ 4585 w 4590"/>
                <a:gd name="T35" fmla="*/ 1007 h 1007"/>
                <a:gd name="T36" fmla="*/ 4590 w 4590"/>
                <a:gd name="T37" fmla="*/ 1006 h 1007"/>
                <a:gd name="T38" fmla="*/ 4455 w 4590"/>
                <a:gd name="T39" fmla="*/ 619 h 10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590" h="1007">
                  <a:moveTo>
                    <a:pt x="4455" y="619"/>
                  </a:moveTo>
                  <a:cubicBezTo>
                    <a:pt x="4367" y="436"/>
                    <a:pt x="4255" y="317"/>
                    <a:pt x="4114" y="255"/>
                  </a:cubicBezTo>
                  <a:cubicBezTo>
                    <a:pt x="3785" y="110"/>
                    <a:pt x="3337" y="217"/>
                    <a:pt x="2978" y="303"/>
                  </a:cubicBezTo>
                  <a:cubicBezTo>
                    <a:pt x="2923" y="316"/>
                    <a:pt x="2872" y="328"/>
                    <a:pt x="2822" y="339"/>
                  </a:cubicBezTo>
                  <a:cubicBezTo>
                    <a:pt x="2731" y="359"/>
                    <a:pt x="2641" y="381"/>
                    <a:pt x="2545" y="405"/>
                  </a:cubicBezTo>
                  <a:cubicBezTo>
                    <a:pt x="2160" y="500"/>
                    <a:pt x="1761" y="598"/>
                    <a:pt x="1379" y="549"/>
                  </a:cubicBezTo>
                  <a:cubicBezTo>
                    <a:pt x="1124" y="517"/>
                    <a:pt x="867" y="393"/>
                    <a:pt x="619" y="274"/>
                  </a:cubicBezTo>
                  <a:cubicBezTo>
                    <a:pt x="525" y="229"/>
                    <a:pt x="437" y="187"/>
                    <a:pt x="350" y="15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348" y="154"/>
                    <a:pt x="348" y="154"/>
                    <a:pt x="348" y="154"/>
                  </a:cubicBezTo>
                  <a:cubicBezTo>
                    <a:pt x="435" y="191"/>
                    <a:pt x="523" y="234"/>
                    <a:pt x="617" y="278"/>
                  </a:cubicBezTo>
                  <a:cubicBezTo>
                    <a:pt x="865" y="398"/>
                    <a:pt x="1123" y="521"/>
                    <a:pt x="1379" y="554"/>
                  </a:cubicBezTo>
                  <a:cubicBezTo>
                    <a:pt x="1762" y="603"/>
                    <a:pt x="2160" y="505"/>
                    <a:pt x="2546" y="410"/>
                  </a:cubicBezTo>
                  <a:cubicBezTo>
                    <a:pt x="2642" y="386"/>
                    <a:pt x="2732" y="364"/>
                    <a:pt x="2823" y="344"/>
                  </a:cubicBezTo>
                  <a:cubicBezTo>
                    <a:pt x="2873" y="333"/>
                    <a:pt x="2924" y="320"/>
                    <a:pt x="2979" y="307"/>
                  </a:cubicBezTo>
                  <a:cubicBezTo>
                    <a:pt x="3338" y="222"/>
                    <a:pt x="3784" y="115"/>
                    <a:pt x="4112" y="259"/>
                  </a:cubicBezTo>
                  <a:cubicBezTo>
                    <a:pt x="4394" y="383"/>
                    <a:pt x="4506" y="711"/>
                    <a:pt x="4585" y="1007"/>
                  </a:cubicBezTo>
                  <a:cubicBezTo>
                    <a:pt x="4590" y="1006"/>
                    <a:pt x="4590" y="1006"/>
                    <a:pt x="4590" y="1006"/>
                  </a:cubicBezTo>
                  <a:cubicBezTo>
                    <a:pt x="4555" y="878"/>
                    <a:pt x="4514" y="742"/>
                    <a:pt x="4455" y="619"/>
                  </a:cubicBezTo>
                  <a:close/>
                </a:path>
              </a:pathLst>
            </a:custGeom>
            <a:solidFill>
              <a:srgbClr val="D0D1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9" name="Freeform 48"/>
            <p:cNvSpPr>
              <a:spLocks/>
            </p:cNvSpPr>
            <p:nvPr userDrawn="1"/>
          </p:nvSpPr>
          <p:spPr bwMode="auto">
            <a:xfrm>
              <a:off x="-792" y="3232506"/>
              <a:ext cx="7101570" cy="1717269"/>
            </a:xfrm>
            <a:custGeom>
              <a:avLst/>
              <a:gdLst>
                <a:gd name="T0" fmla="*/ 4653 w 4657"/>
                <a:gd name="T1" fmla="*/ 1112 h 1126"/>
                <a:gd name="T2" fmla="*/ 4486 w 4657"/>
                <a:gd name="T3" fmla="*/ 618 h 1126"/>
                <a:gd name="T4" fmla="*/ 4144 w 4657"/>
                <a:gd name="T5" fmla="*/ 253 h 1126"/>
                <a:gd name="T6" fmla="*/ 3013 w 4657"/>
                <a:gd name="T7" fmla="*/ 309 h 1126"/>
                <a:gd name="T8" fmla="*/ 2860 w 4657"/>
                <a:gd name="T9" fmla="*/ 347 h 1126"/>
                <a:gd name="T10" fmla="*/ 2586 w 4657"/>
                <a:gd name="T11" fmla="*/ 415 h 1126"/>
                <a:gd name="T12" fmla="*/ 1427 w 4657"/>
                <a:gd name="T13" fmla="*/ 568 h 1126"/>
                <a:gd name="T14" fmla="*/ 665 w 4657"/>
                <a:gd name="T15" fmla="*/ 294 h 1126"/>
                <a:gd name="T16" fmla="*/ 397 w 4657"/>
                <a:gd name="T17" fmla="*/ 170 h 1126"/>
                <a:gd name="T18" fmla="*/ 0 w 4657"/>
                <a:gd name="T19" fmla="*/ 0 h 1126"/>
                <a:gd name="T20" fmla="*/ 0 w 4657"/>
                <a:gd name="T21" fmla="*/ 5 h 1126"/>
                <a:gd name="T22" fmla="*/ 395 w 4657"/>
                <a:gd name="T23" fmla="*/ 174 h 1126"/>
                <a:gd name="T24" fmla="*/ 663 w 4657"/>
                <a:gd name="T25" fmla="*/ 298 h 1126"/>
                <a:gd name="T26" fmla="*/ 1426 w 4657"/>
                <a:gd name="T27" fmla="*/ 573 h 1126"/>
                <a:gd name="T28" fmla="*/ 2587 w 4657"/>
                <a:gd name="T29" fmla="*/ 420 h 1126"/>
                <a:gd name="T30" fmla="*/ 2861 w 4657"/>
                <a:gd name="T31" fmla="*/ 352 h 1126"/>
                <a:gd name="T32" fmla="*/ 3014 w 4657"/>
                <a:gd name="T33" fmla="*/ 314 h 1126"/>
                <a:gd name="T34" fmla="*/ 4142 w 4657"/>
                <a:gd name="T35" fmla="*/ 258 h 1126"/>
                <a:gd name="T36" fmla="*/ 4648 w 4657"/>
                <a:gd name="T37" fmla="*/ 1114 h 1126"/>
                <a:gd name="T38" fmla="*/ 4652 w 4657"/>
                <a:gd name="T39" fmla="*/ 1126 h 1126"/>
                <a:gd name="T40" fmla="*/ 4657 w 4657"/>
                <a:gd name="T41" fmla="*/ 1125 h 1126"/>
                <a:gd name="T42" fmla="*/ 4653 w 4657"/>
                <a:gd name="T43" fmla="*/ 1112 h 1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657" h="1126">
                  <a:moveTo>
                    <a:pt x="4653" y="1112"/>
                  </a:moveTo>
                  <a:cubicBezTo>
                    <a:pt x="4611" y="955"/>
                    <a:pt x="4564" y="777"/>
                    <a:pt x="4486" y="618"/>
                  </a:cubicBezTo>
                  <a:cubicBezTo>
                    <a:pt x="4397" y="435"/>
                    <a:pt x="4285" y="315"/>
                    <a:pt x="4144" y="253"/>
                  </a:cubicBezTo>
                  <a:cubicBezTo>
                    <a:pt x="3817" y="109"/>
                    <a:pt x="3371" y="220"/>
                    <a:pt x="3013" y="309"/>
                  </a:cubicBezTo>
                  <a:cubicBezTo>
                    <a:pt x="2959" y="323"/>
                    <a:pt x="2908" y="335"/>
                    <a:pt x="2860" y="347"/>
                  </a:cubicBezTo>
                  <a:cubicBezTo>
                    <a:pt x="2770" y="368"/>
                    <a:pt x="2681" y="391"/>
                    <a:pt x="2586" y="415"/>
                  </a:cubicBezTo>
                  <a:cubicBezTo>
                    <a:pt x="2203" y="513"/>
                    <a:pt x="1808" y="614"/>
                    <a:pt x="1427" y="568"/>
                  </a:cubicBezTo>
                  <a:cubicBezTo>
                    <a:pt x="1172" y="537"/>
                    <a:pt x="914" y="413"/>
                    <a:pt x="665" y="294"/>
                  </a:cubicBezTo>
                  <a:cubicBezTo>
                    <a:pt x="572" y="249"/>
                    <a:pt x="484" y="207"/>
                    <a:pt x="397" y="17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395" y="174"/>
                    <a:pt x="395" y="174"/>
                    <a:pt x="395" y="174"/>
                  </a:cubicBezTo>
                  <a:cubicBezTo>
                    <a:pt x="482" y="211"/>
                    <a:pt x="570" y="254"/>
                    <a:pt x="663" y="298"/>
                  </a:cubicBezTo>
                  <a:cubicBezTo>
                    <a:pt x="912" y="418"/>
                    <a:pt x="1170" y="542"/>
                    <a:pt x="1426" y="573"/>
                  </a:cubicBezTo>
                  <a:cubicBezTo>
                    <a:pt x="1808" y="620"/>
                    <a:pt x="2204" y="518"/>
                    <a:pt x="2587" y="420"/>
                  </a:cubicBezTo>
                  <a:cubicBezTo>
                    <a:pt x="2682" y="395"/>
                    <a:pt x="2771" y="372"/>
                    <a:pt x="2861" y="352"/>
                  </a:cubicBezTo>
                  <a:cubicBezTo>
                    <a:pt x="2909" y="340"/>
                    <a:pt x="2960" y="328"/>
                    <a:pt x="3014" y="314"/>
                  </a:cubicBezTo>
                  <a:cubicBezTo>
                    <a:pt x="3372" y="225"/>
                    <a:pt x="3817" y="115"/>
                    <a:pt x="4142" y="258"/>
                  </a:cubicBezTo>
                  <a:cubicBezTo>
                    <a:pt x="4457" y="396"/>
                    <a:pt x="4567" y="811"/>
                    <a:pt x="4648" y="1114"/>
                  </a:cubicBezTo>
                  <a:cubicBezTo>
                    <a:pt x="4649" y="1118"/>
                    <a:pt x="4650" y="1122"/>
                    <a:pt x="4652" y="1126"/>
                  </a:cubicBezTo>
                  <a:cubicBezTo>
                    <a:pt x="4657" y="1125"/>
                    <a:pt x="4657" y="1125"/>
                    <a:pt x="4657" y="1125"/>
                  </a:cubicBezTo>
                  <a:cubicBezTo>
                    <a:pt x="4655" y="1121"/>
                    <a:pt x="4654" y="1117"/>
                    <a:pt x="4653" y="1112"/>
                  </a:cubicBezTo>
                  <a:close/>
                </a:path>
              </a:pathLst>
            </a:custGeom>
            <a:solidFill>
              <a:srgbClr val="CFD1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0" name="Freeform 49"/>
            <p:cNvSpPr>
              <a:spLocks/>
            </p:cNvSpPr>
            <p:nvPr userDrawn="1"/>
          </p:nvSpPr>
          <p:spPr bwMode="auto">
            <a:xfrm>
              <a:off x="-792" y="3032077"/>
              <a:ext cx="7194569" cy="1901662"/>
            </a:xfrm>
            <a:custGeom>
              <a:avLst/>
              <a:gdLst>
                <a:gd name="T0" fmla="*/ 4699 w 4718"/>
                <a:gd name="T1" fmla="*/ 1179 h 1246"/>
                <a:gd name="T2" fmla="*/ 4683 w 4718"/>
                <a:gd name="T3" fmla="*/ 1122 h 1246"/>
                <a:gd name="T4" fmla="*/ 4509 w 4718"/>
                <a:gd name="T5" fmla="*/ 628 h 1246"/>
                <a:gd name="T6" fmla="*/ 4163 w 4718"/>
                <a:gd name="T7" fmla="*/ 263 h 1246"/>
                <a:gd name="T8" fmla="*/ 3038 w 4718"/>
                <a:gd name="T9" fmla="*/ 324 h 1246"/>
                <a:gd name="T10" fmla="*/ 2891 w 4718"/>
                <a:gd name="T11" fmla="*/ 361 h 1246"/>
                <a:gd name="T12" fmla="*/ 2622 w 4718"/>
                <a:gd name="T13" fmla="*/ 430 h 1246"/>
                <a:gd name="T14" fmla="*/ 1474 w 4718"/>
                <a:gd name="T15" fmla="*/ 588 h 1246"/>
                <a:gd name="T16" fmla="*/ 712 w 4718"/>
                <a:gd name="T17" fmla="*/ 314 h 1246"/>
                <a:gd name="T18" fmla="*/ 445 w 4718"/>
                <a:gd name="T19" fmla="*/ 190 h 1246"/>
                <a:gd name="T20" fmla="*/ 0 w 4718"/>
                <a:gd name="T21" fmla="*/ 0 h 1246"/>
                <a:gd name="T22" fmla="*/ 0 w 4718"/>
                <a:gd name="T23" fmla="*/ 5 h 1246"/>
                <a:gd name="T24" fmla="*/ 443 w 4718"/>
                <a:gd name="T25" fmla="*/ 195 h 1246"/>
                <a:gd name="T26" fmla="*/ 710 w 4718"/>
                <a:gd name="T27" fmla="*/ 319 h 1246"/>
                <a:gd name="T28" fmla="*/ 1473 w 4718"/>
                <a:gd name="T29" fmla="*/ 593 h 1246"/>
                <a:gd name="T30" fmla="*/ 2623 w 4718"/>
                <a:gd name="T31" fmla="*/ 435 h 1246"/>
                <a:gd name="T32" fmla="*/ 2892 w 4718"/>
                <a:gd name="T33" fmla="*/ 366 h 1246"/>
                <a:gd name="T34" fmla="*/ 3039 w 4718"/>
                <a:gd name="T35" fmla="*/ 329 h 1246"/>
                <a:gd name="T36" fmla="*/ 4161 w 4718"/>
                <a:gd name="T37" fmla="*/ 267 h 1246"/>
                <a:gd name="T38" fmla="*/ 4678 w 4718"/>
                <a:gd name="T39" fmla="*/ 1124 h 1246"/>
                <a:gd name="T40" fmla="*/ 4694 w 4718"/>
                <a:gd name="T41" fmla="*/ 1181 h 1246"/>
                <a:gd name="T42" fmla="*/ 4712 w 4718"/>
                <a:gd name="T43" fmla="*/ 1246 h 1246"/>
                <a:gd name="T44" fmla="*/ 4718 w 4718"/>
                <a:gd name="T45" fmla="*/ 1245 h 1246"/>
                <a:gd name="T46" fmla="*/ 4699 w 4718"/>
                <a:gd name="T47" fmla="*/ 1179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718" h="1246">
                  <a:moveTo>
                    <a:pt x="4699" y="1179"/>
                  </a:moveTo>
                  <a:cubicBezTo>
                    <a:pt x="4694" y="1161"/>
                    <a:pt x="4689" y="1142"/>
                    <a:pt x="4683" y="1122"/>
                  </a:cubicBezTo>
                  <a:cubicBezTo>
                    <a:pt x="4639" y="965"/>
                    <a:pt x="4588" y="786"/>
                    <a:pt x="4509" y="628"/>
                  </a:cubicBezTo>
                  <a:cubicBezTo>
                    <a:pt x="4417" y="444"/>
                    <a:pt x="4304" y="324"/>
                    <a:pt x="4163" y="263"/>
                  </a:cubicBezTo>
                  <a:cubicBezTo>
                    <a:pt x="3837" y="119"/>
                    <a:pt x="3394" y="232"/>
                    <a:pt x="3038" y="324"/>
                  </a:cubicBezTo>
                  <a:cubicBezTo>
                    <a:pt x="2986" y="337"/>
                    <a:pt x="2937" y="349"/>
                    <a:pt x="2891" y="361"/>
                  </a:cubicBezTo>
                  <a:cubicBezTo>
                    <a:pt x="2803" y="382"/>
                    <a:pt x="2715" y="405"/>
                    <a:pt x="2622" y="430"/>
                  </a:cubicBezTo>
                  <a:cubicBezTo>
                    <a:pt x="2243" y="530"/>
                    <a:pt x="1851" y="633"/>
                    <a:pt x="1474" y="588"/>
                  </a:cubicBezTo>
                  <a:cubicBezTo>
                    <a:pt x="1219" y="558"/>
                    <a:pt x="961" y="434"/>
                    <a:pt x="712" y="314"/>
                  </a:cubicBezTo>
                  <a:cubicBezTo>
                    <a:pt x="619" y="269"/>
                    <a:pt x="532" y="227"/>
                    <a:pt x="445" y="19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443" y="195"/>
                    <a:pt x="443" y="195"/>
                    <a:pt x="443" y="195"/>
                  </a:cubicBezTo>
                  <a:cubicBezTo>
                    <a:pt x="530" y="232"/>
                    <a:pt x="617" y="274"/>
                    <a:pt x="710" y="319"/>
                  </a:cubicBezTo>
                  <a:cubicBezTo>
                    <a:pt x="960" y="439"/>
                    <a:pt x="1217" y="563"/>
                    <a:pt x="1473" y="593"/>
                  </a:cubicBezTo>
                  <a:cubicBezTo>
                    <a:pt x="1852" y="639"/>
                    <a:pt x="2244" y="535"/>
                    <a:pt x="2623" y="435"/>
                  </a:cubicBezTo>
                  <a:cubicBezTo>
                    <a:pt x="2716" y="410"/>
                    <a:pt x="2804" y="387"/>
                    <a:pt x="2892" y="366"/>
                  </a:cubicBezTo>
                  <a:cubicBezTo>
                    <a:pt x="2939" y="354"/>
                    <a:pt x="2988" y="342"/>
                    <a:pt x="3039" y="329"/>
                  </a:cubicBezTo>
                  <a:cubicBezTo>
                    <a:pt x="3394" y="238"/>
                    <a:pt x="3837" y="125"/>
                    <a:pt x="4161" y="267"/>
                  </a:cubicBezTo>
                  <a:cubicBezTo>
                    <a:pt x="4476" y="406"/>
                    <a:pt x="4588" y="804"/>
                    <a:pt x="4678" y="1124"/>
                  </a:cubicBezTo>
                  <a:cubicBezTo>
                    <a:pt x="4684" y="1143"/>
                    <a:pt x="4689" y="1162"/>
                    <a:pt x="4694" y="1181"/>
                  </a:cubicBezTo>
                  <a:cubicBezTo>
                    <a:pt x="4700" y="1202"/>
                    <a:pt x="4706" y="1224"/>
                    <a:pt x="4712" y="1246"/>
                  </a:cubicBezTo>
                  <a:cubicBezTo>
                    <a:pt x="4718" y="1245"/>
                    <a:pt x="4718" y="1245"/>
                    <a:pt x="4718" y="1245"/>
                  </a:cubicBezTo>
                  <a:cubicBezTo>
                    <a:pt x="4711" y="1223"/>
                    <a:pt x="4705" y="1201"/>
                    <a:pt x="4699" y="1179"/>
                  </a:cubicBezTo>
                  <a:close/>
                </a:path>
              </a:pathLst>
            </a:custGeom>
            <a:solidFill>
              <a:srgbClr val="CFD0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1" name="Freeform 50"/>
            <p:cNvSpPr>
              <a:spLocks/>
            </p:cNvSpPr>
            <p:nvPr userDrawn="1"/>
          </p:nvSpPr>
          <p:spPr bwMode="auto">
            <a:xfrm>
              <a:off x="-792" y="2831650"/>
              <a:ext cx="7281154" cy="2086056"/>
            </a:xfrm>
            <a:custGeom>
              <a:avLst/>
              <a:gdLst>
                <a:gd name="T0" fmla="*/ 4769 w 4775"/>
                <a:gd name="T1" fmla="*/ 1346 h 1367"/>
                <a:gd name="T2" fmla="*/ 4726 w 4775"/>
                <a:gd name="T3" fmla="*/ 1198 h 1367"/>
                <a:gd name="T4" fmla="*/ 4708 w 4775"/>
                <a:gd name="T5" fmla="*/ 1139 h 1367"/>
                <a:gd name="T6" fmla="*/ 4173 w 4775"/>
                <a:gd name="T7" fmla="*/ 281 h 1367"/>
                <a:gd name="T8" fmla="*/ 3055 w 4775"/>
                <a:gd name="T9" fmla="*/ 344 h 1367"/>
                <a:gd name="T10" fmla="*/ 2916 w 4775"/>
                <a:gd name="T11" fmla="*/ 379 h 1367"/>
                <a:gd name="T12" fmla="*/ 2654 w 4775"/>
                <a:gd name="T13" fmla="*/ 448 h 1367"/>
                <a:gd name="T14" fmla="*/ 1520 w 4775"/>
                <a:gd name="T15" fmla="*/ 609 h 1367"/>
                <a:gd name="T16" fmla="*/ 761 w 4775"/>
                <a:gd name="T17" fmla="*/ 334 h 1367"/>
                <a:gd name="T18" fmla="*/ 492 w 4775"/>
                <a:gd name="T19" fmla="*/ 210 h 1367"/>
                <a:gd name="T20" fmla="*/ 0 w 4775"/>
                <a:gd name="T21" fmla="*/ 0 h 1367"/>
                <a:gd name="T22" fmla="*/ 0 w 4775"/>
                <a:gd name="T23" fmla="*/ 6 h 1367"/>
                <a:gd name="T24" fmla="*/ 490 w 4775"/>
                <a:gd name="T25" fmla="*/ 215 h 1367"/>
                <a:gd name="T26" fmla="*/ 758 w 4775"/>
                <a:gd name="T27" fmla="*/ 339 h 1367"/>
                <a:gd name="T28" fmla="*/ 1519 w 4775"/>
                <a:gd name="T29" fmla="*/ 614 h 1367"/>
                <a:gd name="T30" fmla="*/ 2655 w 4775"/>
                <a:gd name="T31" fmla="*/ 454 h 1367"/>
                <a:gd name="T32" fmla="*/ 2918 w 4775"/>
                <a:gd name="T33" fmla="*/ 385 h 1367"/>
                <a:gd name="T34" fmla="*/ 3057 w 4775"/>
                <a:gd name="T35" fmla="*/ 349 h 1367"/>
                <a:gd name="T36" fmla="*/ 4171 w 4775"/>
                <a:gd name="T37" fmla="*/ 286 h 1367"/>
                <a:gd name="T38" fmla="*/ 4703 w 4775"/>
                <a:gd name="T39" fmla="*/ 1141 h 1367"/>
                <a:gd name="T40" fmla="*/ 4721 w 4775"/>
                <a:gd name="T41" fmla="*/ 1200 h 1367"/>
                <a:gd name="T42" fmla="*/ 4764 w 4775"/>
                <a:gd name="T43" fmla="*/ 1348 h 1367"/>
                <a:gd name="T44" fmla="*/ 4770 w 4775"/>
                <a:gd name="T45" fmla="*/ 1367 h 1367"/>
                <a:gd name="T46" fmla="*/ 4775 w 4775"/>
                <a:gd name="T47" fmla="*/ 1366 h 1367"/>
                <a:gd name="T48" fmla="*/ 4769 w 4775"/>
                <a:gd name="T49" fmla="*/ 1346 h 1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775" h="1367">
                  <a:moveTo>
                    <a:pt x="4769" y="1346"/>
                  </a:moveTo>
                  <a:cubicBezTo>
                    <a:pt x="4755" y="1295"/>
                    <a:pt x="4741" y="1246"/>
                    <a:pt x="4726" y="1198"/>
                  </a:cubicBezTo>
                  <a:cubicBezTo>
                    <a:pt x="4720" y="1179"/>
                    <a:pt x="4714" y="1160"/>
                    <a:pt x="4708" y="1139"/>
                  </a:cubicBezTo>
                  <a:cubicBezTo>
                    <a:pt x="4612" y="819"/>
                    <a:pt x="4491" y="420"/>
                    <a:pt x="4173" y="281"/>
                  </a:cubicBezTo>
                  <a:cubicBezTo>
                    <a:pt x="3847" y="138"/>
                    <a:pt x="3408" y="252"/>
                    <a:pt x="3055" y="344"/>
                  </a:cubicBezTo>
                  <a:cubicBezTo>
                    <a:pt x="3007" y="356"/>
                    <a:pt x="2961" y="368"/>
                    <a:pt x="2916" y="379"/>
                  </a:cubicBezTo>
                  <a:cubicBezTo>
                    <a:pt x="2830" y="401"/>
                    <a:pt x="2744" y="424"/>
                    <a:pt x="2654" y="448"/>
                  </a:cubicBezTo>
                  <a:cubicBezTo>
                    <a:pt x="2280" y="550"/>
                    <a:pt x="1893" y="654"/>
                    <a:pt x="1520" y="609"/>
                  </a:cubicBezTo>
                  <a:cubicBezTo>
                    <a:pt x="1266" y="578"/>
                    <a:pt x="1009" y="454"/>
                    <a:pt x="761" y="334"/>
                  </a:cubicBezTo>
                  <a:cubicBezTo>
                    <a:pt x="667" y="290"/>
                    <a:pt x="579" y="247"/>
                    <a:pt x="492" y="21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490" y="215"/>
                    <a:pt x="490" y="215"/>
                    <a:pt x="490" y="215"/>
                  </a:cubicBezTo>
                  <a:cubicBezTo>
                    <a:pt x="577" y="252"/>
                    <a:pt x="665" y="294"/>
                    <a:pt x="758" y="339"/>
                  </a:cubicBezTo>
                  <a:cubicBezTo>
                    <a:pt x="1007" y="459"/>
                    <a:pt x="1264" y="583"/>
                    <a:pt x="1519" y="614"/>
                  </a:cubicBezTo>
                  <a:cubicBezTo>
                    <a:pt x="1893" y="660"/>
                    <a:pt x="2281" y="555"/>
                    <a:pt x="2655" y="454"/>
                  </a:cubicBezTo>
                  <a:cubicBezTo>
                    <a:pt x="2746" y="429"/>
                    <a:pt x="2832" y="406"/>
                    <a:pt x="2918" y="385"/>
                  </a:cubicBezTo>
                  <a:cubicBezTo>
                    <a:pt x="2962" y="374"/>
                    <a:pt x="3008" y="362"/>
                    <a:pt x="3057" y="349"/>
                  </a:cubicBezTo>
                  <a:cubicBezTo>
                    <a:pt x="3408" y="257"/>
                    <a:pt x="3846" y="143"/>
                    <a:pt x="4171" y="286"/>
                  </a:cubicBezTo>
                  <a:cubicBezTo>
                    <a:pt x="4487" y="424"/>
                    <a:pt x="4607" y="822"/>
                    <a:pt x="4703" y="1141"/>
                  </a:cubicBezTo>
                  <a:cubicBezTo>
                    <a:pt x="4709" y="1161"/>
                    <a:pt x="4715" y="1181"/>
                    <a:pt x="4721" y="1200"/>
                  </a:cubicBezTo>
                  <a:cubicBezTo>
                    <a:pt x="4735" y="1248"/>
                    <a:pt x="4749" y="1296"/>
                    <a:pt x="4764" y="1348"/>
                  </a:cubicBezTo>
                  <a:cubicBezTo>
                    <a:pt x="4766" y="1354"/>
                    <a:pt x="4768" y="1360"/>
                    <a:pt x="4770" y="1367"/>
                  </a:cubicBezTo>
                  <a:cubicBezTo>
                    <a:pt x="4775" y="1366"/>
                    <a:pt x="4775" y="1366"/>
                    <a:pt x="4775" y="1366"/>
                  </a:cubicBezTo>
                  <a:cubicBezTo>
                    <a:pt x="4773" y="1359"/>
                    <a:pt x="4771" y="1353"/>
                    <a:pt x="4769" y="1346"/>
                  </a:cubicBezTo>
                  <a:close/>
                </a:path>
              </a:pathLst>
            </a:custGeom>
            <a:solidFill>
              <a:srgbClr val="CED0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2" name="Freeform 51"/>
            <p:cNvSpPr>
              <a:spLocks/>
            </p:cNvSpPr>
            <p:nvPr userDrawn="1"/>
          </p:nvSpPr>
          <p:spPr bwMode="auto">
            <a:xfrm>
              <a:off x="-792" y="2632825"/>
              <a:ext cx="7369342" cy="2270450"/>
            </a:xfrm>
            <a:custGeom>
              <a:avLst/>
              <a:gdLst>
                <a:gd name="T0" fmla="*/ 4796 w 4833"/>
                <a:gd name="T1" fmla="*/ 1369 h 1488"/>
                <a:gd name="T2" fmla="*/ 4749 w 4833"/>
                <a:gd name="T3" fmla="*/ 1221 h 1488"/>
                <a:gd name="T4" fmla="*/ 4730 w 4833"/>
                <a:gd name="T5" fmla="*/ 1162 h 1488"/>
                <a:gd name="T6" fmla="*/ 4175 w 4833"/>
                <a:gd name="T7" fmla="*/ 306 h 1488"/>
                <a:gd name="T8" fmla="*/ 3066 w 4833"/>
                <a:gd name="T9" fmla="*/ 369 h 1488"/>
                <a:gd name="T10" fmla="*/ 2938 w 4833"/>
                <a:gd name="T11" fmla="*/ 402 h 1488"/>
                <a:gd name="T12" fmla="*/ 2682 w 4833"/>
                <a:gd name="T13" fmla="*/ 471 h 1488"/>
                <a:gd name="T14" fmla="*/ 1565 w 4833"/>
                <a:gd name="T15" fmla="*/ 630 h 1488"/>
                <a:gd name="T16" fmla="*/ 810 w 4833"/>
                <a:gd name="T17" fmla="*/ 355 h 1488"/>
                <a:gd name="T18" fmla="*/ 540 w 4833"/>
                <a:gd name="T19" fmla="*/ 230 h 1488"/>
                <a:gd name="T20" fmla="*/ 0 w 4833"/>
                <a:gd name="T21" fmla="*/ 0 h 1488"/>
                <a:gd name="T22" fmla="*/ 0 w 4833"/>
                <a:gd name="T23" fmla="*/ 6 h 1488"/>
                <a:gd name="T24" fmla="*/ 537 w 4833"/>
                <a:gd name="T25" fmla="*/ 235 h 1488"/>
                <a:gd name="T26" fmla="*/ 807 w 4833"/>
                <a:gd name="T27" fmla="*/ 360 h 1488"/>
                <a:gd name="T28" fmla="*/ 1564 w 4833"/>
                <a:gd name="T29" fmla="*/ 636 h 1488"/>
                <a:gd name="T30" fmla="*/ 2683 w 4833"/>
                <a:gd name="T31" fmla="*/ 476 h 1488"/>
                <a:gd name="T32" fmla="*/ 2939 w 4833"/>
                <a:gd name="T33" fmla="*/ 408 h 1488"/>
                <a:gd name="T34" fmla="*/ 3067 w 4833"/>
                <a:gd name="T35" fmla="*/ 374 h 1488"/>
                <a:gd name="T36" fmla="*/ 4173 w 4833"/>
                <a:gd name="T37" fmla="*/ 311 h 1488"/>
                <a:gd name="T38" fmla="*/ 4724 w 4833"/>
                <a:gd name="T39" fmla="*/ 1164 h 1488"/>
                <a:gd name="T40" fmla="*/ 4743 w 4833"/>
                <a:gd name="T41" fmla="*/ 1223 h 1488"/>
                <a:gd name="T42" fmla="*/ 4790 w 4833"/>
                <a:gd name="T43" fmla="*/ 1371 h 1488"/>
                <a:gd name="T44" fmla="*/ 4827 w 4833"/>
                <a:gd name="T45" fmla="*/ 1488 h 1488"/>
                <a:gd name="T46" fmla="*/ 4833 w 4833"/>
                <a:gd name="T47" fmla="*/ 1487 h 1488"/>
                <a:gd name="T48" fmla="*/ 4796 w 4833"/>
                <a:gd name="T49" fmla="*/ 1369 h 1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833" h="1488">
                  <a:moveTo>
                    <a:pt x="4796" y="1369"/>
                  </a:moveTo>
                  <a:cubicBezTo>
                    <a:pt x="4780" y="1317"/>
                    <a:pt x="4764" y="1269"/>
                    <a:pt x="4749" y="1221"/>
                  </a:cubicBezTo>
                  <a:cubicBezTo>
                    <a:pt x="4742" y="1202"/>
                    <a:pt x="4736" y="1182"/>
                    <a:pt x="4730" y="1162"/>
                  </a:cubicBezTo>
                  <a:cubicBezTo>
                    <a:pt x="4626" y="843"/>
                    <a:pt x="4496" y="446"/>
                    <a:pt x="4175" y="306"/>
                  </a:cubicBezTo>
                  <a:cubicBezTo>
                    <a:pt x="3848" y="163"/>
                    <a:pt x="3414" y="277"/>
                    <a:pt x="3066" y="369"/>
                  </a:cubicBezTo>
                  <a:cubicBezTo>
                    <a:pt x="3021" y="381"/>
                    <a:pt x="2979" y="392"/>
                    <a:pt x="2938" y="402"/>
                  </a:cubicBezTo>
                  <a:cubicBezTo>
                    <a:pt x="2854" y="423"/>
                    <a:pt x="2770" y="446"/>
                    <a:pt x="2682" y="471"/>
                  </a:cubicBezTo>
                  <a:cubicBezTo>
                    <a:pt x="2313" y="572"/>
                    <a:pt x="1932" y="677"/>
                    <a:pt x="1565" y="630"/>
                  </a:cubicBezTo>
                  <a:cubicBezTo>
                    <a:pt x="1312" y="598"/>
                    <a:pt x="1057" y="475"/>
                    <a:pt x="810" y="355"/>
                  </a:cubicBezTo>
                  <a:cubicBezTo>
                    <a:pt x="716" y="310"/>
                    <a:pt x="627" y="267"/>
                    <a:pt x="540" y="23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537" y="235"/>
                    <a:pt x="537" y="235"/>
                    <a:pt x="537" y="235"/>
                  </a:cubicBezTo>
                  <a:cubicBezTo>
                    <a:pt x="625" y="273"/>
                    <a:pt x="714" y="315"/>
                    <a:pt x="807" y="360"/>
                  </a:cubicBezTo>
                  <a:cubicBezTo>
                    <a:pt x="1055" y="480"/>
                    <a:pt x="1311" y="603"/>
                    <a:pt x="1564" y="636"/>
                  </a:cubicBezTo>
                  <a:cubicBezTo>
                    <a:pt x="1933" y="683"/>
                    <a:pt x="2314" y="578"/>
                    <a:pt x="2683" y="476"/>
                  </a:cubicBezTo>
                  <a:cubicBezTo>
                    <a:pt x="2772" y="452"/>
                    <a:pt x="2855" y="429"/>
                    <a:pt x="2939" y="408"/>
                  </a:cubicBezTo>
                  <a:cubicBezTo>
                    <a:pt x="2980" y="397"/>
                    <a:pt x="3023" y="386"/>
                    <a:pt x="3067" y="374"/>
                  </a:cubicBezTo>
                  <a:cubicBezTo>
                    <a:pt x="3415" y="283"/>
                    <a:pt x="3847" y="169"/>
                    <a:pt x="4173" y="311"/>
                  </a:cubicBezTo>
                  <a:cubicBezTo>
                    <a:pt x="4492" y="450"/>
                    <a:pt x="4621" y="846"/>
                    <a:pt x="4724" y="1164"/>
                  </a:cubicBezTo>
                  <a:cubicBezTo>
                    <a:pt x="4731" y="1184"/>
                    <a:pt x="4737" y="1204"/>
                    <a:pt x="4743" y="1223"/>
                  </a:cubicBezTo>
                  <a:cubicBezTo>
                    <a:pt x="4759" y="1271"/>
                    <a:pt x="4774" y="1319"/>
                    <a:pt x="4790" y="1371"/>
                  </a:cubicBezTo>
                  <a:cubicBezTo>
                    <a:pt x="4802" y="1409"/>
                    <a:pt x="4814" y="1448"/>
                    <a:pt x="4827" y="1488"/>
                  </a:cubicBezTo>
                  <a:cubicBezTo>
                    <a:pt x="4833" y="1487"/>
                    <a:pt x="4833" y="1487"/>
                    <a:pt x="4833" y="1487"/>
                  </a:cubicBezTo>
                  <a:cubicBezTo>
                    <a:pt x="4820" y="1447"/>
                    <a:pt x="4808" y="1408"/>
                    <a:pt x="4796" y="1369"/>
                  </a:cubicBezTo>
                  <a:close/>
                </a:path>
              </a:pathLst>
            </a:custGeom>
            <a:solidFill>
              <a:srgbClr val="CECF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3" name="Freeform 52"/>
            <p:cNvSpPr>
              <a:spLocks/>
            </p:cNvSpPr>
            <p:nvPr userDrawn="1"/>
          </p:nvSpPr>
          <p:spPr bwMode="auto">
            <a:xfrm>
              <a:off x="-792" y="2430793"/>
              <a:ext cx="7462341" cy="2454844"/>
            </a:xfrm>
            <a:custGeom>
              <a:avLst/>
              <a:gdLst>
                <a:gd name="T0" fmla="*/ 4819 w 4894"/>
                <a:gd name="T1" fmla="*/ 1395 h 1609"/>
                <a:gd name="T2" fmla="*/ 4768 w 4894"/>
                <a:gd name="T3" fmla="*/ 1248 h 1609"/>
                <a:gd name="T4" fmla="*/ 4749 w 4894"/>
                <a:gd name="T5" fmla="*/ 1191 h 1609"/>
                <a:gd name="T6" fmla="*/ 4172 w 4894"/>
                <a:gd name="T7" fmla="*/ 337 h 1609"/>
                <a:gd name="T8" fmla="*/ 3072 w 4894"/>
                <a:gd name="T9" fmla="*/ 398 h 1609"/>
                <a:gd name="T10" fmla="*/ 2956 w 4894"/>
                <a:gd name="T11" fmla="*/ 429 h 1609"/>
                <a:gd name="T12" fmla="*/ 2707 w 4894"/>
                <a:gd name="T13" fmla="*/ 496 h 1609"/>
                <a:gd name="T14" fmla="*/ 1610 w 4894"/>
                <a:gd name="T15" fmla="*/ 653 h 1609"/>
                <a:gd name="T16" fmla="*/ 860 w 4894"/>
                <a:gd name="T17" fmla="*/ 378 h 1609"/>
                <a:gd name="T18" fmla="*/ 587 w 4894"/>
                <a:gd name="T19" fmla="*/ 251 h 1609"/>
                <a:gd name="T20" fmla="*/ 0 w 4894"/>
                <a:gd name="T21" fmla="*/ 0 h 1609"/>
                <a:gd name="T22" fmla="*/ 0 w 4894"/>
                <a:gd name="T23" fmla="*/ 7 h 1609"/>
                <a:gd name="T24" fmla="*/ 585 w 4894"/>
                <a:gd name="T25" fmla="*/ 256 h 1609"/>
                <a:gd name="T26" fmla="*/ 857 w 4894"/>
                <a:gd name="T27" fmla="*/ 383 h 1609"/>
                <a:gd name="T28" fmla="*/ 1609 w 4894"/>
                <a:gd name="T29" fmla="*/ 658 h 1609"/>
                <a:gd name="T30" fmla="*/ 2709 w 4894"/>
                <a:gd name="T31" fmla="*/ 502 h 1609"/>
                <a:gd name="T32" fmla="*/ 2957 w 4894"/>
                <a:gd name="T33" fmla="*/ 434 h 1609"/>
                <a:gd name="T34" fmla="*/ 3073 w 4894"/>
                <a:gd name="T35" fmla="*/ 404 h 1609"/>
                <a:gd name="T36" fmla="*/ 4169 w 4894"/>
                <a:gd name="T37" fmla="*/ 342 h 1609"/>
                <a:gd name="T38" fmla="*/ 4743 w 4894"/>
                <a:gd name="T39" fmla="*/ 1193 h 1609"/>
                <a:gd name="T40" fmla="*/ 4763 w 4894"/>
                <a:gd name="T41" fmla="*/ 1250 h 1609"/>
                <a:gd name="T42" fmla="*/ 4814 w 4894"/>
                <a:gd name="T43" fmla="*/ 1397 h 1609"/>
                <a:gd name="T44" fmla="*/ 4888 w 4894"/>
                <a:gd name="T45" fmla="*/ 1609 h 1609"/>
                <a:gd name="T46" fmla="*/ 4894 w 4894"/>
                <a:gd name="T47" fmla="*/ 1608 h 1609"/>
                <a:gd name="T48" fmla="*/ 4819 w 4894"/>
                <a:gd name="T49" fmla="*/ 1395 h 1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894" h="1609">
                  <a:moveTo>
                    <a:pt x="4819" y="1395"/>
                  </a:moveTo>
                  <a:cubicBezTo>
                    <a:pt x="4802" y="1344"/>
                    <a:pt x="4785" y="1295"/>
                    <a:pt x="4768" y="1248"/>
                  </a:cubicBezTo>
                  <a:cubicBezTo>
                    <a:pt x="4762" y="1229"/>
                    <a:pt x="4755" y="1210"/>
                    <a:pt x="4749" y="1191"/>
                  </a:cubicBezTo>
                  <a:cubicBezTo>
                    <a:pt x="4637" y="874"/>
                    <a:pt x="4497" y="478"/>
                    <a:pt x="4172" y="337"/>
                  </a:cubicBezTo>
                  <a:cubicBezTo>
                    <a:pt x="3843" y="194"/>
                    <a:pt x="3416" y="307"/>
                    <a:pt x="3072" y="398"/>
                  </a:cubicBezTo>
                  <a:cubicBezTo>
                    <a:pt x="3032" y="409"/>
                    <a:pt x="2993" y="419"/>
                    <a:pt x="2956" y="429"/>
                  </a:cubicBezTo>
                  <a:cubicBezTo>
                    <a:pt x="2875" y="449"/>
                    <a:pt x="2793" y="472"/>
                    <a:pt x="2707" y="496"/>
                  </a:cubicBezTo>
                  <a:cubicBezTo>
                    <a:pt x="2345" y="597"/>
                    <a:pt x="1970" y="702"/>
                    <a:pt x="1610" y="653"/>
                  </a:cubicBezTo>
                  <a:cubicBezTo>
                    <a:pt x="1359" y="618"/>
                    <a:pt x="1105" y="496"/>
                    <a:pt x="860" y="378"/>
                  </a:cubicBezTo>
                  <a:cubicBezTo>
                    <a:pt x="765" y="332"/>
                    <a:pt x="675" y="289"/>
                    <a:pt x="587" y="2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585" y="256"/>
                    <a:pt x="585" y="256"/>
                    <a:pt x="585" y="256"/>
                  </a:cubicBezTo>
                  <a:cubicBezTo>
                    <a:pt x="673" y="294"/>
                    <a:pt x="763" y="337"/>
                    <a:pt x="857" y="383"/>
                  </a:cubicBezTo>
                  <a:cubicBezTo>
                    <a:pt x="1103" y="501"/>
                    <a:pt x="1357" y="624"/>
                    <a:pt x="1609" y="658"/>
                  </a:cubicBezTo>
                  <a:cubicBezTo>
                    <a:pt x="1971" y="708"/>
                    <a:pt x="2346" y="603"/>
                    <a:pt x="2709" y="502"/>
                  </a:cubicBezTo>
                  <a:cubicBezTo>
                    <a:pt x="2795" y="478"/>
                    <a:pt x="2876" y="455"/>
                    <a:pt x="2957" y="434"/>
                  </a:cubicBezTo>
                  <a:cubicBezTo>
                    <a:pt x="2995" y="425"/>
                    <a:pt x="3033" y="415"/>
                    <a:pt x="3073" y="404"/>
                  </a:cubicBezTo>
                  <a:cubicBezTo>
                    <a:pt x="3416" y="313"/>
                    <a:pt x="3843" y="200"/>
                    <a:pt x="4169" y="342"/>
                  </a:cubicBezTo>
                  <a:cubicBezTo>
                    <a:pt x="4493" y="482"/>
                    <a:pt x="4632" y="877"/>
                    <a:pt x="4743" y="1193"/>
                  </a:cubicBezTo>
                  <a:cubicBezTo>
                    <a:pt x="4750" y="1212"/>
                    <a:pt x="4757" y="1231"/>
                    <a:pt x="4763" y="1250"/>
                  </a:cubicBezTo>
                  <a:cubicBezTo>
                    <a:pt x="4780" y="1297"/>
                    <a:pt x="4796" y="1346"/>
                    <a:pt x="4814" y="1397"/>
                  </a:cubicBezTo>
                  <a:cubicBezTo>
                    <a:pt x="4837" y="1466"/>
                    <a:pt x="4861" y="1538"/>
                    <a:pt x="4888" y="1609"/>
                  </a:cubicBezTo>
                  <a:cubicBezTo>
                    <a:pt x="4894" y="1608"/>
                    <a:pt x="4894" y="1608"/>
                    <a:pt x="4894" y="1608"/>
                  </a:cubicBezTo>
                  <a:cubicBezTo>
                    <a:pt x="4867" y="1537"/>
                    <a:pt x="4843" y="1465"/>
                    <a:pt x="4819" y="1395"/>
                  </a:cubicBezTo>
                  <a:close/>
                </a:path>
              </a:pathLst>
            </a:custGeom>
            <a:solidFill>
              <a:srgbClr val="CDCF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4" name="Freeform 53"/>
            <p:cNvSpPr>
              <a:spLocks/>
            </p:cNvSpPr>
            <p:nvPr userDrawn="1"/>
          </p:nvSpPr>
          <p:spPr bwMode="auto">
            <a:xfrm>
              <a:off x="-792" y="2230365"/>
              <a:ext cx="7563356" cy="2637635"/>
            </a:xfrm>
            <a:custGeom>
              <a:avLst/>
              <a:gdLst>
                <a:gd name="T0" fmla="*/ 4841 w 4960"/>
                <a:gd name="T1" fmla="*/ 1422 h 1728"/>
                <a:gd name="T2" fmla="*/ 4786 w 4960"/>
                <a:gd name="T3" fmla="*/ 1275 h 1728"/>
                <a:gd name="T4" fmla="*/ 4766 w 4960"/>
                <a:gd name="T5" fmla="*/ 1222 h 1728"/>
                <a:gd name="T6" fmla="*/ 4165 w 4960"/>
                <a:gd name="T7" fmla="*/ 370 h 1728"/>
                <a:gd name="T8" fmla="*/ 3074 w 4960"/>
                <a:gd name="T9" fmla="*/ 429 h 1728"/>
                <a:gd name="T10" fmla="*/ 2972 w 4960"/>
                <a:gd name="T11" fmla="*/ 456 h 1728"/>
                <a:gd name="T12" fmla="*/ 2731 w 4960"/>
                <a:gd name="T13" fmla="*/ 522 h 1728"/>
                <a:gd name="T14" fmla="*/ 1654 w 4960"/>
                <a:gd name="T15" fmla="*/ 675 h 1728"/>
                <a:gd name="T16" fmla="*/ 910 w 4960"/>
                <a:gd name="T17" fmla="*/ 399 h 1728"/>
                <a:gd name="T18" fmla="*/ 634 w 4960"/>
                <a:gd name="T19" fmla="*/ 271 h 1728"/>
                <a:gd name="T20" fmla="*/ 0 w 4960"/>
                <a:gd name="T21" fmla="*/ 0 h 1728"/>
                <a:gd name="T22" fmla="*/ 0 w 4960"/>
                <a:gd name="T23" fmla="*/ 7 h 1728"/>
                <a:gd name="T24" fmla="*/ 632 w 4960"/>
                <a:gd name="T25" fmla="*/ 277 h 1728"/>
                <a:gd name="T26" fmla="*/ 907 w 4960"/>
                <a:gd name="T27" fmla="*/ 404 h 1728"/>
                <a:gd name="T28" fmla="*/ 1653 w 4960"/>
                <a:gd name="T29" fmla="*/ 680 h 1728"/>
                <a:gd name="T30" fmla="*/ 2733 w 4960"/>
                <a:gd name="T31" fmla="*/ 528 h 1728"/>
                <a:gd name="T32" fmla="*/ 2974 w 4960"/>
                <a:gd name="T33" fmla="*/ 462 h 1728"/>
                <a:gd name="T34" fmla="*/ 3076 w 4960"/>
                <a:gd name="T35" fmla="*/ 435 h 1728"/>
                <a:gd name="T36" fmla="*/ 4163 w 4960"/>
                <a:gd name="T37" fmla="*/ 375 h 1728"/>
                <a:gd name="T38" fmla="*/ 4761 w 4960"/>
                <a:gd name="T39" fmla="*/ 1224 h 1728"/>
                <a:gd name="T40" fmla="*/ 4781 w 4960"/>
                <a:gd name="T41" fmla="*/ 1277 h 1728"/>
                <a:gd name="T42" fmla="*/ 4836 w 4960"/>
                <a:gd name="T43" fmla="*/ 1424 h 1728"/>
                <a:gd name="T44" fmla="*/ 4954 w 4960"/>
                <a:gd name="T45" fmla="*/ 1728 h 1728"/>
                <a:gd name="T46" fmla="*/ 4960 w 4960"/>
                <a:gd name="T47" fmla="*/ 1727 h 1728"/>
                <a:gd name="T48" fmla="*/ 4841 w 4960"/>
                <a:gd name="T49" fmla="*/ 1422 h 1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960" h="1728">
                  <a:moveTo>
                    <a:pt x="4841" y="1422"/>
                  </a:moveTo>
                  <a:cubicBezTo>
                    <a:pt x="4823" y="1371"/>
                    <a:pt x="4805" y="1322"/>
                    <a:pt x="4786" y="1275"/>
                  </a:cubicBezTo>
                  <a:cubicBezTo>
                    <a:pt x="4780" y="1257"/>
                    <a:pt x="4773" y="1240"/>
                    <a:pt x="4766" y="1222"/>
                  </a:cubicBezTo>
                  <a:cubicBezTo>
                    <a:pt x="4646" y="906"/>
                    <a:pt x="4496" y="513"/>
                    <a:pt x="4165" y="370"/>
                  </a:cubicBezTo>
                  <a:cubicBezTo>
                    <a:pt x="3835" y="227"/>
                    <a:pt x="3413" y="339"/>
                    <a:pt x="3074" y="429"/>
                  </a:cubicBezTo>
                  <a:cubicBezTo>
                    <a:pt x="3040" y="438"/>
                    <a:pt x="3006" y="447"/>
                    <a:pt x="2972" y="456"/>
                  </a:cubicBezTo>
                  <a:cubicBezTo>
                    <a:pt x="2894" y="476"/>
                    <a:pt x="2815" y="499"/>
                    <a:pt x="2731" y="522"/>
                  </a:cubicBezTo>
                  <a:cubicBezTo>
                    <a:pt x="2376" y="623"/>
                    <a:pt x="2008" y="727"/>
                    <a:pt x="1654" y="675"/>
                  </a:cubicBezTo>
                  <a:cubicBezTo>
                    <a:pt x="1406" y="638"/>
                    <a:pt x="1154" y="517"/>
                    <a:pt x="910" y="399"/>
                  </a:cubicBezTo>
                  <a:cubicBezTo>
                    <a:pt x="814" y="353"/>
                    <a:pt x="724" y="309"/>
                    <a:pt x="634" y="27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632" y="277"/>
                    <a:pt x="632" y="277"/>
                    <a:pt x="632" y="277"/>
                  </a:cubicBezTo>
                  <a:cubicBezTo>
                    <a:pt x="721" y="315"/>
                    <a:pt x="812" y="358"/>
                    <a:pt x="907" y="404"/>
                  </a:cubicBezTo>
                  <a:cubicBezTo>
                    <a:pt x="1151" y="522"/>
                    <a:pt x="1404" y="644"/>
                    <a:pt x="1653" y="680"/>
                  </a:cubicBezTo>
                  <a:cubicBezTo>
                    <a:pt x="2008" y="733"/>
                    <a:pt x="2377" y="629"/>
                    <a:pt x="2733" y="528"/>
                  </a:cubicBezTo>
                  <a:cubicBezTo>
                    <a:pt x="2816" y="504"/>
                    <a:pt x="2895" y="482"/>
                    <a:pt x="2974" y="462"/>
                  </a:cubicBezTo>
                  <a:cubicBezTo>
                    <a:pt x="3007" y="453"/>
                    <a:pt x="3041" y="444"/>
                    <a:pt x="3076" y="435"/>
                  </a:cubicBezTo>
                  <a:cubicBezTo>
                    <a:pt x="3414" y="345"/>
                    <a:pt x="3834" y="234"/>
                    <a:pt x="4163" y="375"/>
                  </a:cubicBezTo>
                  <a:cubicBezTo>
                    <a:pt x="4491" y="517"/>
                    <a:pt x="4641" y="909"/>
                    <a:pt x="4761" y="1224"/>
                  </a:cubicBezTo>
                  <a:cubicBezTo>
                    <a:pt x="4768" y="1242"/>
                    <a:pt x="4774" y="1260"/>
                    <a:pt x="4781" y="1277"/>
                  </a:cubicBezTo>
                  <a:cubicBezTo>
                    <a:pt x="4799" y="1324"/>
                    <a:pt x="4817" y="1373"/>
                    <a:pt x="4836" y="1424"/>
                  </a:cubicBezTo>
                  <a:cubicBezTo>
                    <a:pt x="4872" y="1524"/>
                    <a:pt x="4910" y="1627"/>
                    <a:pt x="4954" y="1728"/>
                  </a:cubicBezTo>
                  <a:cubicBezTo>
                    <a:pt x="4960" y="1727"/>
                    <a:pt x="4960" y="1727"/>
                    <a:pt x="4960" y="1727"/>
                  </a:cubicBezTo>
                  <a:cubicBezTo>
                    <a:pt x="4916" y="1626"/>
                    <a:pt x="4878" y="1522"/>
                    <a:pt x="4841" y="1422"/>
                  </a:cubicBezTo>
                  <a:close/>
                </a:path>
              </a:pathLst>
            </a:custGeom>
            <a:solidFill>
              <a:srgbClr val="CDCE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5" name="Freeform 54"/>
            <p:cNvSpPr>
              <a:spLocks/>
            </p:cNvSpPr>
            <p:nvPr userDrawn="1"/>
          </p:nvSpPr>
          <p:spPr bwMode="auto">
            <a:xfrm>
              <a:off x="-792" y="2031540"/>
              <a:ext cx="7677200" cy="2817218"/>
            </a:xfrm>
            <a:custGeom>
              <a:avLst/>
              <a:gdLst>
                <a:gd name="T0" fmla="*/ 4863 w 5034"/>
                <a:gd name="T1" fmla="*/ 1450 h 1846"/>
                <a:gd name="T2" fmla="*/ 4804 w 5034"/>
                <a:gd name="T3" fmla="*/ 1303 h 1846"/>
                <a:gd name="T4" fmla="*/ 4784 w 5034"/>
                <a:gd name="T5" fmla="*/ 1255 h 1846"/>
                <a:gd name="T6" fmla="*/ 4157 w 5034"/>
                <a:gd name="T7" fmla="*/ 404 h 1846"/>
                <a:gd name="T8" fmla="*/ 3075 w 5034"/>
                <a:gd name="T9" fmla="*/ 461 h 1846"/>
                <a:gd name="T10" fmla="*/ 2988 w 5034"/>
                <a:gd name="T11" fmla="*/ 484 h 1846"/>
                <a:gd name="T12" fmla="*/ 2755 w 5034"/>
                <a:gd name="T13" fmla="*/ 549 h 1846"/>
                <a:gd name="T14" fmla="*/ 1699 w 5034"/>
                <a:gd name="T15" fmla="*/ 697 h 1846"/>
                <a:gd name="T16" fmla="*/ 960 w 5034"/>
                <a:gd name="T17" fmla="*/ 421 h 1846"/>
                <a:gd name="T18" fmla="*/ 682 w 5034"/>
                <a:gd name="T19" fmla="*/ 291 h 1846"/>
                <a:gd name="T20" fmla="*/ 0 w 5034"/>
                <a:gd name="T21" fmla="*/ 0 h 1846"/>
                <a:gd name="T22" fmla="*/ 0 w 5034"/>
                <a:gd name="T23" fmla="*/ 7 h 1846"/>
                <a:gd name="T24" fmla="*/ 679 w 5034"/>
                <a:gd name="T25" fmla="*/ 297 h 1846"/>
                <a:gd name="T26" fmla="*/ 958 w 5034"/>
                <a:gd name="T27" fmla="*/ 426 h 1846"/>
                <a:gd name="T28" fmla="*/ 1698 w 5034"/>
                <a:gd name="T29" fmla="*/ 703 h 1846"/>
                <a:gd name="T30" fmla="*/ 2756 w 5034"/>
                <a:gd name="T31" fmla="*/ 555 h 1846"/>
                <a:gd name="T32" fmla="*/ 2990 w 5034"/>
                <a:gd name="T33" fmla="*/ 490 h 1846"/>
                <a:gd name="T34" fmla="*/ 3076 w 5034"/>
                <a:gd name="T35" fmla="*/ 467 h 1846"/>
                <a:gd name="T36" fmla="*/ 4155 w 5034"/>
                <a:gd name="T37" fmla="*/ 410 h 1846"/>
                <a:gd name="T38" fmla="*/ 4778 w 5034"/>
                <a:gd name="T39" fmla="*/ 1257 h 1846"/>
                <a:gd name="T40" fmla="*/ 4798 w 5034"/>
                <a:gd name="T41" fmla="*/ 1305 h 1846"/>
                <a:gd name="T42" fmla="*/ 4857 w 5034"/>
                <a:gd name="T43" fmla="*/ 1452 h 1846"/>
                <a:gd name="T44" fmla="*/ 5028 w 5034"/>
                <a:gd name="T45" fmla="*/ 1846 h 1846"/>
                <a:gd name="T46" fmla="*/ 5034 w 5034"/>
                <a:gd name="T47" fmla="*/ 1845 h 1846"/>
                <a:gd name="T48" fmla="*/ 4863 w 5034"/>
                <a:gd name="T49" fmla="*/ 1450 h 18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034" h="1846">
                  <a:moveTo>
                    <a:pt x="4863" y="1450"/>
                  </a:moveTo>
                  <a:cubicBezTo>
                    <a:pt x="4842" y="1398"/>
                    <a:pt x="4823" y="1350"/>
                    <a:pt x="4804" y="1303"/>
                  </a:cubicBezTo>
                  <a:cubicBezTo>
                    <a:pt x="4797" y="1287"/>
                    <a:pt x="4791" y="1271"/>
                    <a:pt x="4784" y="1255"/>
                  </a:cubicBezTo>
                  <a:cubicBezTo>
                    <a:pt x="4655" y="940"/>
                    <a:pt x="4494" y="549"/>
                    <a:pt x="4157" y="404"/>
                  </a:cubicBezTo>
                  <a:cubicBezTo>
                    <a:pt x="3825" y="262"/>
                    <a:pt x="3409" y="372"/>
                    <a:pt x="3075" y="461"/>
                  </a:cubicBezTo>
                  <a:cubicBezTo>
                    <a:pt x="3045" y="469"/>
                    <a:pt x="3016" y="477"/>
                    <a:pt x="2988" y="484"/>
                  </a:cubicBezTo>
                  <a:cubicBezTo>
                    <a:pt x="2912" y="504"/>
                    <a:pt x="2836" y="526"/>
                    <a:pt x="2755" y="549"/>
                  </a:cubicBezTo>
                  <a:cubicBezTo>
                    <a:pt x="2406" y="648"/>
                    <a:pt x="2045" y="751"/>
                    <a:pt x="1699" y="697"/>
                  </a:cubicBezTo>
                  <a:cubicBezTo>
                    <a:pt x="1452" y="658"/>
                    <a:pt x="1202" y="537"/>
                    <a:pt x="960" y="421"/>
                  </a:cubicBezTo>
                  <a:cubicBezTo>
                    <a:pt x="864" y="374"/>
                    <a:pt x="772" y="330"/>
                    <a:pt x="682" y="29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679" y="297"/>
                    <a:pt x="679" y="297"/>
                    <a:pt x="679" y="297"/>
                  </a:cubicBezTo>
                  <a:cubicBezTo>
                    <a:pt x="770" y="336"/>
                    <a:pt x="861" y="380"/>
                    <a:pt x="958" y="426"/>
                  </a:cubicBezTo>
                  <a:cubicBezTo>
                    <a:pt x="1200" y="543"/>
                    <a:pt x="1450" y="664"/>
                    <a:pt x="1698" y="703"/>
                  </a:cubicBezTo>
                  <a:cubicBezTo>
                    <a:pt x="2045" y="758"/>
                    <a:pt x="2407" y="654"/>
                    <a:pt x="2756" y="555"/>
                  </a:cubicBezTo>
                  <a:cubicBezTo>
                    <a:pt x="2837" y="532"/>
                    <a:pt x="2914" y="510"/>
                    <a:pt x="2990" y="490"/>
                  </a:cubicBezTo>
                  <a:cubicBezTo>
                    <a:pt x="3018" y="483"/>
                    <a:pt x="3047" y="475"/>
                    <a:pt x="3076" y="467"/>
                  </a:cubicBezTo>
                  <a:cubicBezTo>
                    <a:pt x="3409" y="378"/>
                    <a:pt x="3824" y="268"/>
                    <a:pt x="4155" y="410"/>
                  </a:cubicBezTo>
                  <a:cubicBezTo>
                    <a:pt x="4489" y="554"/>
                    <a:pt x="4649" y="944"/>
                    <a:pt x="4778" y="1257"/>
                  </a:cubicBezTo>
                  <a:cubicBezTo>
                    <a:pt x="4785" y="1273"/>
                    <a:pt x="4792" y="1289"/>
                    <a:pt x="4798" y="1305"/>
                  </a:cubicBezTo>
                  <a:cubicBezTo>
                    <a:pt x="4818" y="1352"/>
                    <a:pt x="4837" y="1401"/>
                    <a:pt x="4857" y="1452"/>
                  </a:cubicBezTo>
                  <a:cubicBezTo>
                    <a:pt x="4908" y="1581"/>
                    <a:pt x="4962" y="1718"/>
                    <a:pt x="5028" y="1846"/>
                  </a:cubicBezTo>
                  <a:cubicBezTo>
                    <a:pt x="5034" y="1845"/>
                    <a:pt x="5034" y="1845"/>
                    <a:pt x="5034" y="1845"/>
                  </a:cubicBezTo>
                  <a:cubicBezTo>
                    <a:pt x="4968" y="1716"/>
                    <a:pt x="4914" y="1579"/>
                    <a:pt x="4863" y="1450"/>
                  </a:cubicBezTo>
                  <a:close/>
                </a:path>
              </a:pathLst>
            </a:custGeom>
            <a:solidFill>
              <a:srgbClr val="CCCE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6" name="Freeform 55"/>
            <p:cNvSpPr>
              <a:spLocks/>
            </p:cNvSpPr>
            <p:nvPr userDrawn="1"/>
          </p:nvSpPr>
          <p:spPr bwMode="auto">
            <a:xfrm>
              <a:off x="-792" y="1831112"/>
              <a:ext cx="7800664" cy="2995199"/>
            </a:xfrm>
            <a:custGeom>
              <a:avLst/>
              <a:gdLst>
                <a:gd name="T0" fmla="*/ 4862 w 5116"/>
                <a:gd name="T1" fmla="*/ 1408 h 1963"/>
                <a:gd name="T2" fmla="*/ 4150 w 5116"/>
                <a:gd name="T3" fmla="*/ 438 h 1963"/>
                <a:gd name="T4" fmla="*/ 3074 w 5116"/>
                <a:gd name="T5" fmla="*/ 493 h 1963"/>
                <a:gd name="T6" fmla="*/ 3004 w 5116"/>
                <a:gd name="T7" fmla="*/ 512 h 1963"/>
                <a:gd name="T8" fmla="*/ 2779 w 5116"/>
                <a:gd name="T9" fmla="*/ 575 h 1963"/>
                <a:gd name="T10" fmla="*/ 1743 w 5116"/>
                <a:gd name="T11" fmla="*/ 719 h 1963"/>
                <a:gd name="T12" fmla="*/ 1011 w 5116"/>
                <a:gd name="T13" fmla="*/ 442 h 1963"/>
                <a:gd name="T14" fmla="*/ 729 w 5116"/>
                <a:gd name="T15" fmla="*/ 312 h 1963"/>
                <a:gd name="T16" fmla="*/ 0 w 5116"/>
                <a:gd name="T17" fmla="*/ 0 h 1963"/>
                <a:gd name="T18" fmla="*/ 0 w 5116"/>
                <a:gd name="T19" fmla="*/ 7 h 1963"/>
                <a:gd name="T20" fmla="*/ 727 w 5116"/>
                <a:gd name="T21" fmla="*/ 317 h 1963"/>
                <a:gd name="T22" fmla="*/ 1008 w 5116"/>
                <a:gd name="T23" fmla="*/ 448 h 1963"/>
                <a:gd name="T24" fmla="*/ 1742 w 5116"/>
                <a:gd name="T25" fmla="*/ 725 h 1963"/>
                <a:gd name="T26" fmla="*/ 2780 w 5116"/>
                <a:gd name="T27" fmla="*/ 581 h 1963"/>
                <a:gd name="T28" fmla="*/ 3006 w 5116"/>
                <a:gd name="T29" fmla="*/ 518 h 1963"/>
                <a:gd name="T30" fmla="*/ 3076 w 5116"/>
                <a:gd name="T31" fmla="*/ 499 h 1963"/>
                <a:gd name="T32" fmla="*/ 4147 w 5116"/>
                <a:gd name="T33" fmla="*/ 444 h 1963"/>
                <a:gd name="T34" fmla="*/ 4856 w 5116"/>
                <a:gd name="T35" fmla="*/ 1411 h 1963"/>
                <a:gd name="T36" fmla="*/ 5109 w 5116"/>
                <a:gd name="T37" fmla="*/ 1963 h 1963"/>
                <a:gd name="T38" fmla="*/ 5116 w 5116"/>
                <a:gd name="T39" fmla="*/ 1962 h 1963"/>
                <a:gd name="T40" fmla="*/ 4862 w 5116"/>
                <a:gd name="T41" fmla="*/ 1408 h 1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16" h="1963">
                  <a:moveTo>
                    <a:pt x="4862" y="1408"/>
                  </a:moveTo>
                  <a:cubicBezTo>
                    <a:pt x="4708" y="1015"/>
                    <a:pt x="4548" y="609"/>
                    <a:pt x="4150" y="438"/>
                  </a:cubicBezTo>
                  <a:cubicBezTo>
                    <a:pt x="3815" y="295"/>
                    <a:pt x="3422" y="400"/>
                    <a:pt x="3074" y="493"/>
                  </a:cubicBezTo>
                  <a:cubicBezTo>
                    <a:pt x="3051" y="499"/>
                    <a:pt x="3027" y="506"/>
                    <a:pt x="3004" y="512"/>
                  </a:cubicBezTo>
                  <a:cubicBezTo>
                    <a:pt x="2931" y="531"/>
                    <a:pt x="2857" y="552"/>
                    <a:pt x="2779" y="575"/>
                  </a:cubicBezTo>
                  <a:cubicBezTo>
                    <a:pt x="2436" y="674"/>
                    <a:pt x="2082" y="776"/>
                    <a:pt x="1743" y="719"/>
                  </a:cubicBezTo>
                  <a:cubicBezTo>
                    <a:pt x="1499" y="677"/>
                    <a:pt x="1251" y="558"/>
                    <a:pt x="1011" y="442"/>
                  </a:cubicBezTo>
                  <a:cubicBezTo>
                    <a:pt x="913" y="395"/>
                    <a:pt x="821" y="351"/>
                    <a:pt x="729" y="3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727" y="317"/>
                    <a:pt x="727" y="317"/>
                    <a:pt x="727" y="317"/>
                  </a:cubicBezTo>
                  <a:cubicBezTo>
                    <a:pt x="818" y="356"/>
                    <a:pt x="911" y="401"/>
                    <a:pt x="1008" y="448"/>
                  </a:cubicBezTo>
                  <a:cubicBezTo>
                    <a:pt x="1248" y="564"/>
                    <a:pt x="1497" y="683"/>
                    <a:pt x="1742" y="725"/>
                  </a:cubicBezTo>
                  <a:cubicBezTo>
                    <a:pt x="2083" y="783"/>
                    <a:pt x="2437" y="680"/>
                    <a:pt x="2780" y="581"/>
                  </a:cubicBezTo>
                  <a:cubicBezTo>
                    <a:pt x="2858" y="558"/>
                    <a:pt x="2932" y="537"/>
                    <a:pt x="3006" y="518"/>
                  </a:cubicBezTo>
                  <a:cubicBezTo>
                    <a:pt x="3029" y="512"/>
                    <a:pt x="3052" y="505"/>
                    <a:pt x="3076" y="499"/>
                  </a:cubicBezTo>
                  <a:cubicBezTo>
                    <a:pt x="3422" y="406"/>
                    <a:pt x="3815" y="301"/>
                    <a:pt x="4147" y="444"/>
                  </a:cubicBezTo>
                  <a:cubicBezTo>
                    <a:pt x="4544" y="614"/>
                    <a:pt x="4702" y="1019"/>
                    <a:pt x="4856" y="1411"/>
                  </a:cubicBezTo>
                  <a:cubicBezTo>
                    <a:pt x="4930" y="1600"/>
                    <a:pt x="5006" y="1794"/>
                    <a:pt x="5109" y="1963"/>
                  </a:cubicBezTo>
                  <a:cubicBezTo>
                    <a:pt x="5116" y="1962"/>
                    <a:pt x="5116" y="1962"/>
                    <a:pt x="5116" y="1962"/>
                  </a:cubicBezTo>
                  <a:cubicBezTo>
                    <a:pt x="5012" y="1793"/>
                    <a:pt x="4936" y="1599"/>
                    <a:pt x="4862" y="1408"/>
                  </a:cubicBezTo>
                  <a:close/>
                </a:path>
              </a:pathLst>
            </a:custGeom>
            <a:solidFill>
              <a:srgbClr val="CCCE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7" name="Freeform 56"/>
            <p:cNvSpPr>
              <a:spLocks/>
            </p:cNvSpPr>
            <p:nvPr userDrawn="1"/>
          </p:nvSpPr>
          <p:spPr bwMode="auto">
            <a:xfrm>
              <a:off x="-792" y="1630683"/>
              <a:ext cx="7949782" cy="3169972"/>
            </a:xfrm>
            <a:custGeom>
              <a:avLst/>
              <a:gdLst>
                <a:gd name="T0" fmla="*/ 4880 w 5213"/>
                <a:gd name="T1" fmla="*/ 1433 h 2077"/>
                <a:gd name="T2" fmla="*/ 4145 w 5213"/>
                <a:gd name="T3" fmla="*/ 469 h 2077"/>
                <a:gd name="T4" fmla="*/ 3076 w 5213"/>
                <a:gd name="T5" fmla="*/ 523 h 2077"/>
                <a:gd name="T6" fmla="*/ 3022 w 5213"/>
                <a:gd name="T7" fmla="*/ 538 h 2077"/>
                <a:gd name="T8" fmla="*/ 2804 w 5213"/>
                <a:gd name="T9" fmla="*/ 600 h 2077"/>
                <a:gd name="T10" fmla="*/ 1788 w 5213"/>
                <a:gd name="T11" fmla="*/ 740 h 2077"/>
                <a:gd name="T12" fmla="*/ 1062 w 5213"/>
                <a:gd name="T13" fmla="*/ 464 h 2077"/>
                <a:gd name="T14" fmla="*/ 777 w 5213"/>
                <a:gd name="T15" fmla="*/ 332 h 2077"/>
                <a:gd name="T16" fmla="*/ 0 w 5213"/>
                <a:gd name="T17" fmla="*/ 0 h 2077"/>
                <a:gd name="T18" fmla="*/ 0 w 5213"/>
                <a:gd name="T19" fmla="*/ 7 h 2077"/>
                <a:gd name="T20" fmla="*/ 774 w 5213"/>
                <a:gd name="T21" fmla="*/ 338 h 2077"/>
                <a:gd name="T22" fmla="*/ 1059 w 5213"/>
                <a:gd name="T23" fmla="*/ 470 h 2077"/>
                <a:gd name="T24" fmla="*/ 1787 w 5213"/>
                <a:gd name="T25" fmla="*/ 747 h 2077"/>
                <a:gd name="T26" fmla="*/ 2805 w 5213"/>
                <a:gd name="T27" fmla="*/ 606 h 2077"/>
                <a:gd name="T28" fmla="*/ 3024 w 5213"/>
                <a:gd name="T29" fmla="*/ 544 h 2077"/>
                <a:gd name="T30" fmla="*/ 3078 w 5213"/>
                <a:gd name="T31" fmla="*/ 529 h 2077"/>
                <a:gd name="T32" fmla="*/ 4143 w 5213"/>
                <a:gd name="T33" fmla="*/ 475 h 2077"/>
                <a:gd name="T34" fmla="*/ 4874 w 5213"/>
                <a:gd name="T35" fmla="*/ 1436 h 2077"/>
                <a:gd name="T36" fmla="*/ 5206 w 5213"/>
                <a:gd name="T37" fmla="*/ 2077 h 2077"/>
                <a:gd name="T38" fmla="*/ 5213 w 5213"/>
                <a:gd name="T39" fmla="*/ 2076 h 2077"/>
                <a:gd name="T40" fmla="*/ 4880 w 5213"/>
                <a:gd name="T41" fmla="*/ 1433 h 20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213" h="2077">
                  <a:moveTo>
                    <a:pt x="4880" y="1433"/>
                  </a:moveTo>
                  <a:cubicBezTo>
                    <a:pt x="4716" y="1044"/>
                    <a:pt x="4547" y="641"/>
                    <a:pt x="4145" y="469"/>
                  </a:cubicBezTo>
                  <a:cubicBezTo>
                    <a:pt x="3809" y="326"/>
                    <a:pt x="3419" y="431"/>
                    <a:pt x="3076" y="523"/>
                  </a:cubicBezTo>
                  <a:cubicBezTo>
                    <a:pt x="3058" y="528"/>
                    <a:pt x="3040" y="533"/>
                    <a:pt x="3022" y="538"/>
                  </a:cubicBezTo>
                  <a:cubicBezTo>
                    <a:pt x="2951" y="557"/>
                    <a:pt x="2879" y="578"/>
                    <a:pt x="2804" y="600"/>
                  </a:cubicBezTo>
                  <a:cubicBezTo>
                    <a:pt x="2468" y="698"/>
                    <a:pt x="2120" y="800"/>
                    <a:pt x="1788" y="740"/>
                  </a:cubicBezTo>
                  <a:cubicBezTo>
                    <a:pt x="1545" y="697"/>
                    <a:pt x="1299" y="578"/>
                    <a:pt x="1062" y="464"/>
                  </a:cubicBezTo>
                  <a:cubicBezTo>
                    <a:pt x="963" y="416"/>
                    <a:pt x="869" y="371"/>
                    <a:pt x="777" y="3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774" y="338"/>
                    <a:pt x="774" y="338"/>
                    <a:pt x="774" y="338"/>
                  </a:cubicBezTo>
                  <a:cubicBezTo>
                    <a:pt x="867" y="377"/>
                    <a:pt x="960" y="422"/>
                    <a:pt x="1059" y="470"/>
                  </a:cubicBezTo>
                  <a:cubicBezTo>
                    <a:pt x="1297" y="584"/>
                    <a:pt x="1543" y="703"/>
                    <a:pt x="1787" y="747"/>
                  </a:cubicBezTo>
                  <a:cubicBezTo>
                    <a:pt x="2120" y="807"/>
                    <a:pt x="2469" y="705"/>
                    <a:pt x="2805" y="606"/>
                  </a:cubicBezTo>
                  <a:cubicBezTo>
                    <a:pt x="2881" y="584"/>
                    <a:pt x="2952" y="563"/>
                    <a:pt x="3024" y="544"/>
                  </a:cubicBezTo>
                  <a:cubicBezTo>
                    <a:pt x="3041" y="539"/>
                    <a:pt x="3060" y="534"/>
                    <a:pt x="3078" y="529"/>
                  </a:cubicBezTo>
                  <a:cubicBezTo>
                    <a:pt x="3420" y="437"/>
                    <a:pt x="3808" y="332"/>
                    <a:pt x="4143" y="475"/>
                  </a:cubicBezTo>
                  <a:cubicBezTo>
                    <a:pt x="4542" y="646"/>
                    <a:pt x="4711" y="1047"/>
                    <a:pt x="4874" y="1436"/>
                  </a:cubicBezTo>
                  <a:cubicBezTo>
                    <a:pt x="4968" y="1660"/>
                    <a:pt x="5065" y="1889"/>
                    <a:pt x="5206" y="2077"/>
                  </a:cubicBezTo>
                  <a:cubicBezTo>
                    <a:pt x="5213" y="2076"/>
                    <a:pt x="5213" y="2076"/>
                    <a:pt x="5213" y="2076"/>
                  </a:cubicBezTo>
                  <a:cubicBezTo>
                    <a:pt x="5071" y="1888"/>
                    <a:pt x="4975" y="1658"/>
                    <a:pt x="4880" y="1433"/>
                  </a:cubicBezTo>
                  <a:close/>
                </a:path>
              </a:pathLst>
            </a:custGeom>
            <a:solidFill>
              <a:srgbClr val="CBCD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8" name="Freeform 57"/>
            <p:cNvSpPr>
              <a:spLocks/>
            </p:cNvSpPr>
            <p:nvPr userDrawn="1"/>
          </p:nvSpPr>
          <p:spPr bwMode="auto">
            <a:xfrm>
              <a:off x="-792" y="1431859"/>
              <a:ext cx="8122952" cy="3338331"/>
            </a:xfrm>
            <a:custGeom>
              <a:avLst/>
              <a:gdLst>
                <a:gd name="T0" fmla="*/ 4902 w 5327"/>
                <a:gd name="T1" fmla="*/ 1456 h 2188"/>
                <a:gd name="T2" fmla="*/ 4146 w 5327"/>
                <a:gd name="T3" fmla="*/ 496 h 2188"/>
                <a:gd name="T4" fmla="*/ 2889 w 5327"/>
                <a:gd name="T5" fmla="*/ 597 h 2188"/>
                <a:gd name="T6" fmla="*/ 1833 w 5327"/>
                <a:gd name="T7" fmla="*/ 762 h 2188"/>
                <a:gd name="T8" fmla="*/ 1112 w 5327"/>
                <a:gd name="T9" fmla="*/ 485 h 2188"/>
                <a:gd name="T10" fmla="*/ 824 w 5327"/>
                <a:gd name="T11" fmla="*/ 352 h 2188"/>
                <a:gd name="T12" fmla="*/ 0 w 5327"/>
                <a:gd name="T13" fmla="*/ 0 h 2188"/>
                <a:gd name="T14" fmla="*/ 0 w 5327"/>
                <a:gd name="T15" fmla="*/ 7 h 2188"/>
                <a:gd name="T16" fmla="*/ 821 w 5327"/>
                <a:gd name="T17" fmla="*/ 358 h 2188"/>
                <a:gd name="T18" fmla="*/ 1109 w 5327"/>
                <a:gd name="T19" fmla="*/ 491 h 2188"/>
                <a:gd name="T20" fmla="*/ 1832 w 5327"/>
                <a:gd name="T21" fmla="*/ 768 h 2188"/>
                <a:gd name="T22" fmla="*/ 2891 w 5327"/>
                <a:gd name="T23" fmla="*/ 603 h 2188"/>
                <a:gd name="T24" fmla="*/ 4143 w 5327"/>
                <a:gd name="T25" fmla="*/ 502 h 2188"/>
                <a:gd name="T26" fmla="*/ 4896 w 5327"/>
                <a:gd name="T27" fmla="*/ 1459 h 2188"/>
                <a:gd name="T28" fmla="*/ 5319 w 5327"/>
                <a:gd name="T29" fmla="*/ 2188 h 2188"/>
                <a:gd name="T30" fmla="*/ 5327 w 5327"/>
                <a:gd name="T31" fmla="*/ 2187 h 2188"/>
                <a:gd name="T32" fmla="*/ 4902 w 5327"/>
                <a:gd name="T33" fmla="*/ 1456 h 2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27" h="2188">
                  <a:moveTo>
                    <a:pt x="4902" y="1456"/>
                  </a:moveTo>
                  <a:cubicBezTo>
                    <a:pt x="4729" y="1069"/>
                    <a:pt x="4550" y="668"/>
                    <a:pt x="4146" y="496"/>
                  </a:cubicBezTo>
                  <a:cubicBezTo>
                    <a:pt x="3736" y="321"/>
                    <a:pt x="3306" y="461"/>
                    <a:pt x="2889" y="597"/>
                  </a:cubicBezTo>
                  <a:cubicBezTo>
                    <a:pt x="2541" y="710"/>
                    <a:pt x="2181" y="827"/>
                    <a:pt x="1833" y="762"/>
                  </a:cubicBezTo>
                  <a:cubicBezTo>
                    <a:pt x="1592" y="717"/>
                    <a:pt x="1348" y="599"/>
                    <a:pt x="1112" y="485"/>
                  </a:cubicBezTo>
                  <a:cubicBezTo>
                    <a:pt x="1012" y="437"/>
                    <a:pt x="918" y="392"/>
                    <a:pt x="824" y="35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821" y="358"/>
                    <a:pt x="821" y="358"/>
                    <a:pt x="821" y="358"/>
                  </a:cubicBezTo>
                  <a:cubicBezTo>
                    <a:pt x="915" y="398"/>
                    <a:pt x="1009" y="443"/>
                    <a:pt x="1109" y="491"/>
                  </a:cubicBezTo>
                  <a:cubicBezTo>
                    <a:pt x="1345" y="605"/>
                    <a:pt x="1590" y="723"/>
                    <a:pt x="1832" y="768"/>
                  </a:cubicBezTo>
                  <a:cubicBezTo>
                    <a:pt x="2182" y="834"/>
                    <a:pt x="2542" y="717"/>
                    <a:pt x="2891" y="603"/>
                  </a:cubicBezTo>
                  <a:cubicBezTo>
                    <a:pt x="3306" y="468"/>
                    <a:pt x="3736" y="328"/>
                    <a:pt x="4143" y="502"/>
                  </a:cubicBezTo>
                  <a:cubicBezTo>
                    <a:pt x="4545" y="674"/>
                    <a:pt x="4723" y="1073"/>
                    <a:pt x="4896" y="1459"/>
                  </a:cubicBezTo>
                  <a:cubicBezTo>
                    <a:pt x="5012" y="1720"/>
                    <a:pt x="5131" y="1987"/>
                    <a:pt x="5319" y="2188"/>
                  </a:cubicBezTo>
                  <a:cubicBezTo>
                    <a:pt x="5327" y="2187"/>
                    <a:pt x="5327" y="2187"/>
                    <a:pt x="5327" y="2187"/>
                  </a:cubicBezTo>
                  <a:cubicBezTo>
                    <a:pt x="5138" y="1986"/>
                    <a:pt x="5018" y="1718"/>
                    <a:pt x="4902" y="1456"/>
                  </a:cubicBezTo>
                  <a:close/>
                </a:path>
              </a:pathLst>
            </a:custGeom>
            <a:solidFill>
              <a:srgbClr val="CBCD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9" name="Freeform 58"/>
            <p:cNvSpPr>
              <a:spLocks/>
            </p:cNvSpPr>
            <p:nvPr userDrawn="1"/>
          </p:nvSpPr>
          <p:spPr bwMode="auto">
            <a:xfrm>
              <a:off x="-792" y="1231431"/>
              <a:ext cx="8329794" cy="3501881"/>
            </a:xfrm>
            <a:custGeom>
              <a:avLst/>
              <a:gdLst>
                <a:gd name="T0" fmla="*/ 4928 w 5463"/>
                <a:gd name="T1" fmla="*/ 1476 h 2295"/>
                <a:gd name="T2" fmla="*/ 4153 w 5463"/>
                <a:gd name="T3" fmla="*/ 516 h 2295"/>
                <a:gd name="T4" fmla="*/ 2920 w 5463"/>
                <a:gd name="T5" fmla="*/ 618 h 2295"/>
                <a:gd name="T6" fmla="*/ 1879 w 5463"/>
                <a:gd name="T7" fmla="*/ 783 h 2295"/>
                <a:gd name="T8" fmla="*/ 1161 w 5463"/>
                <a:gd name="T9" fmla="*/ 506 h 2295"/>
                <a:gd name="T10" fmla="*/ 871 w 5463"/>
                <a:gd name="T11" fmla="*/ 372 h 2295"/>
                <a:gd name="T12" fmla="*/ 0 w 5463"/>
                <a:gd name="T13" fmla="*/ 0 h 2295"/>
                <a:gd name="T14" fmla="*/ 0 w 5463"/>
                <a:gd name="T15" fmla="*/ 7 h 2295"/>
                <a:gd name="T16" fmla="*/ 869 w 5463"/>
                <a:gd name="T17" fmla="*/ 378 h 2295"/>
                <a:gd name="T18" fmla="*/ 1158 w 5463"/>
                <a:gd name="T19" fmla="*/ 512 h 2295"/>
                <a:gd name="T20" fmla="*/ 1878 w 5463"/>
                <a:gd name="T21" fmla="*/ 789 h 2295"/>
                <a:gd name="T22" fmla="*/ 2922 w 5463"/>
                <a:gd name="T23" fmla="*/ 625 h 2295"/>
                <a:gd name="T24" fmla="*/ 4150 w 5463"/>
                <a:gd name="T25" fmla="*/ 523 h 2295"/>
                <a:gd name="T26" fmla="*/ 4921 w 5463"/>
                <a:gd name="T27" fmla="*/ 1479 h 2295"/>
                <a:gd name="T28" fmla="*/ 5454 w 5463"/>
                <a:gd name="T29" fmla="*/ 2295 h 2295"/>
                <a:gd name="T30" fmla="*/ 5463 w 5463"/>
                <a:gd name="T31" fmla="*/ 2294 h 2295"/>
                <a:gd name="T32" fmla="*/ 4928 w 5463"/>
                <a:gd name="T33" fmla="*/ 1476 h 2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463" h="2295">
                  <a:moveTo>
                    <a:pt x="4928" y="1476"/>
                  </a:moveTo>
                  <a:cubicBezTo>
                    <a:pt x="4747" y="1090"/>
                    <a:pt x="4561" y="690"/>
                    <a:pt x="4153" y="516"/>
                  </a:cubicBezTo>
                  <a:cubicBezTo>
                    <a:pt x="3748" y="344"/>
                    <a:pt x="3327" y="483"/>
                    <a:pt x="2920" y="618"/>
                  </a:cubicBezTo>
                  <a:cubicBezTo>
                    <a:pt x="2578" y="732"/>
                    <a:pt x="2224" y="849"/>
                    <a:pt x="1879" y="783"/>
                  </a:cubicBezTo>
                  <a:cubicBezTo>
                    <a:pt x="1639" y="737"/>
                    <a:pt x="1396" y="619"/>
                    <a:pt x="1161" y="506"/>
                  </a:cubicBezTo>
                  <a:cubicBezTo>
                    <a:pt x="1060" y="458"/>
                    <a:pt x="966" y="412"/>
                    <a:pt x="871" y="37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869" y="378"/>
                    <a:pt x="869" y="378"/>
                    <a:pt x="869" y="378"/>
                  </a:cubicBezTo>
                  <a:cubicBezTo>
                    <a:pt x="963" y="418"/>
                    <a:pt x="1057" y="464"/>
                    <a:pt x="1158" y="512"/>
                  </a:cubicBezTo>
                  <a:cubicBezTo>
                    <a:pt x="1393" y="626"/>
                    <a:pt x="1637" y="743"/>
                    <a:pt x="1878" y="789"/>
                  </a:cubicBezTo>
                  <a:cubicBezTo>
                    <a:pt x="2224" y="856"/>
                    <a:pt x="2579" y="738"/>
                    <a:pt x="2922" y="625"/>
                  </a:cubicBezTo>
                  <a:cubicBezTo>
                    <a:pt x="3328" y="490"/>
                    <a:pt x="3748" y="351"/>
                    <a:pt x="4150" y="523"/>
                  </a:cubicBezTo>
                  <a:cubicBezTo>
                    <a:pt x="4555" y="695"/>
                    <a:pt x="4741" y="1094"/>
                    <a:pt x="4921" y="1479"/>
                  </a:cubicBezTo>
                  <a:cubicBezTo>
                    <a:pt x="5062" y="1780"/>
                    <a:pt x="5206" y="2089"/>
                    <a:pt x="5454" y="2295"/>
                  </a:cubicBezTo>
                  <a:cubicBezTo>
                    <a:pt x="5463" y="2294"/>
                    <a:pt x="5463" y="2294"/>
                    <a:pt x="5463" y="2294"/>
                  </a:cubicBezTo>
                  <a:cubicBezTo>
                    <a:pt x="5213" y="2088"/>
                    <a:pt x="5068" y="1778"/>
                    <a:pt x="4928" y="1476"/>
                  </a:cubicBezTo>
                  <a:close/>
                </a:path>
              </a:pathLst>
            </a:custGeom>
            <a:solidFill>
              <a:srgbClr val="CBCC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0" name="Freeform 59"/>
            <p:cNvSpPr>
              <a:spLocks/>
            </p:cNvSpPr>
            <p:nvPr userDrawn="1"/>
          </p:nvSpPr>
          <p:spPr bwMode="auto">
            <a:xfrm>
              <a:off x="-792" y="1029400"/>
              <a:ext cx="8578325" cy="3662224"/>
            </a:xfrm>
            <a:custGeom>
              <a:avLst/>
              <a:gdLst>
                <a:gd name="T0" fmla="*/ 5621 w 5625"/>
                <a:gd name="T1" fmla="*/ 2395 h 2399"/>
                <a:gd name="T2" fmla="*/ 4960 w 5625"/>
                <a:gd name="T3" fmla="*/ 1494 h 2399"/>
                <a:gd name="T4" fmla="*/ 4169 w 5625"/>
                <a:gd name="T5" fmla="*/ 529 h 2399"/>
                <a:gd name="T6" fmla="*/ 2953 w 5625"/>
                <a:gd name="T7" fmla="*/ 636 h 2399"/>
                <a:gd name="T8" fmla="*/ 1925 w 5625"/>
                <a:gd name="T9" fmla="*/ 804 h 2399"/>
                <a:gd name="T10" fmla="*/ 1208 w 5625"/>
                <a:gd name="T11" fmla="*/ 527 h 2399"/>
                <a:gd name="T12" fmla="*/ 919 w 5625"/>
                <a:gd name="T13" fmla="*/ 393 h 2399"/>
                <a:gd name="T14" fmla="*/ 0 w 5625"/>
                <a:gd name="T15" fmla="*/ 0 h 2399"/>
                <a:gd name="T16" fmla="*/ 0 w 5625"/>
                <a:gd name="T17" fmla="*/ 8 h 2399"/>
                <a:gd name="T18" fmla="*/ 916 w 5625"/>
                <a:gd name="T19" fmla="*/ 399 h 2399"/>
                <a:gd name="T20" fmla="*/ 1205 w 5625"/>
                <a:gd name="T21" fmla="*/ 534 h 2399"/>
                <a:gd name="T22" fmla="*/ 1924 w 5625"/>
                <a:gd name="T23" fmla="*/ 811 h 2399"/>
                <a:gd name="T24" fmla="*/ 2956 w 5625"/>
                <a:gd name="T25" fmla="*/ 643 h 2399"/>
                <a:gd name="T26" fmla="*/ 4166 w 5625"/>
                <a:gd name="T27" fmla="*/ 536 h 2399"/>
                <a:gd name="T28" fmla="*/ 4953 w 5625"/>
                <a:gd name="T29" fmla="*/ 1497 h 2399"/>
                <a:gd name="T30" fmla="*/ 5614 w 5625"/>
                <a:gd name="T31" fmla="*/ 2399 h 2399"/>
                <a:gd name="T32" fmla="*/ 5625 w 5625"/>
                <a:gd name="T33" fmla="*/ 2397 h 2399"/>
                <a:gd name="T34" fmla="*/ 5621 w 5625"/>
                <a:gd name="T35" fmla="*/ 2395 h 2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625" h="2399">
                  <a:moveTo>
                    <a:pt x="5621" y="2395"/>
                  </a:moveTo>
                  <a:cubicBezTo>
                    <a:pt x="5297" y="2195"/>
                    <a:pt x="5125" y="1839"/>
                    <a:pt x="4960" y="1494"/>
                  </a:cubicBezTo>
                  <a:cubicBezTo>
                    <a:pt x="4773" y="1106"/>
                    <a:pt x="4580" y="704"/>
                    <a:pt x="4169" y="529"/>
                  </a:cubicBezTo>
                  <a:cubicBezTo>
                    <a:pt x="3768" y="359"/>
                    <a:pt x="3354" y="500"/>
                    <a:pt x="2953" y="636"/>
                  </a:cubicBezTo>
                  <a:cubicBezTo>
                    <a:pt x="2616" y="751"/>
                    <a:pt x="2267" y="869"/>
                    <a:pt x="1925" y="804"/>
                  </a:cubicBezTo>
                  <a:cubicBezTo>
                    <a:pt x="1686" y="758"/>
                    <a:pt x="1443" y="641"/>
                    <a:pt x="1208" y="527"/>
                  </a:cubicBezTo>
                  <a:cubicBezTo>
                    <a:pt x="1108" y="479"/>
                    <a:pt x="1013" y="433"/>
                    <a:pt x="919" y="39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16" y="399"/>
                    <a:pt x="916" y="399"/>
                    <a:pt x="916" y="399"/>
                  </a:cubicBezTo>
                  <a:cubicBezTo>
                    <a:pt x="1010" y="440"/>
                    <a:pt x="1105" y="485"/>
                    <a:pt x="1205" y="534"/>
                  </a:cubicBezTo>
                  <a:cubicBezTo>
                    <a:pt x="1440" y="647"/>
                    <a:pt x="1684" y="764"/>
                    <a:pt x="1924" y="811"/>
                  </a:cubicBezTo>
                  <a:cubicBezTo>
                    <a:pt x="2268" y="877"/>
                    <a:pt x="2617" y="758"/>
                    <a:pt x="2956" y="643"/>
                  </a:cubicBezTo>
                  <a:cubicBezTo>
                    <a:pt x="3355" y="507"/>
                    <a:pt x="3768" y="366"/>
                    <a:pt x="4166" y="536"/>
                  </a:cubicBezTo>
                  <a:cubicBezTo>
                    <a:pt x="4575" y="709"/>
                    <a:pt x="4767" y="1110"/>
                    <a:pt x="4953" y="1497"/>
                  </a:cubicBezTo>
                  <a:cubicBezTo>
                    <a:pt x="5119" y="1842"/>
                    <a:pt x="5291" y="2198"/>
                    <a:pt x="5614" y="2399"/>
                  </a:cubicBezTo>
                  <a:cubicBezTo>
                    <a:pt x="5625" y="2397"/>
                    <a:pt x="5625" y="2397"/>
                    <a:pt x="5625" y="2397"/>
                  </a:cubicBezTo>
                  <a:cubicBezTo>
                    <a:pt x="5623" y="2396"/>
                    <a:pt x="5622" y="2396"/>
                    <a:pt x="5621" y="2395"/>
                  </a:cubicBezTo>
                  <a:close/>
                </a:path>
              </a:pathLst>
            </a:custGeom>
            <a:solidFill>
              <a:srgbClr val="CACC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1" name="Freeform 60"/>
            <p:cNvSpPr>
              <a:spLocks/>
            </p:cNvSpPr>
            <p:nvPr userDrawn="1"/>
          </p:nvSpPr>
          <p:spPr bwMode="auto">
            <a:xfrm>
              <a:off x="-792" y="830575"/>
              <a:ext cx="8862131" cy="3809739"/>
            </a:xfrm>
            <a:custGeom>
              <a:avLst/>
              <a:gdLst>
                <a:gd name="T0" fmla="*/ 5668 w 5812"/>
                <a:gd name="T1" fmla="*/ 2414 h 2497"/>
                <a:gd name="T2" fmla="*/ 4999 w 5812"/>
                <a:gd name="T3" fmla="*/ 1506 h 2497"/>
                <a:gd name="T4" fmla="*/ 4196 w 5812"/>
                <a:gd name="T5" fmla="*/ 531 h 2497"/>
                <a:gd name="T6" fmla="*/ 2990 w 5812"/>
                <a:gd name="T7" fmla="*/ 647 h 2497"/>
                <a:gd name="T8" fmla="*/ 1973 w 5812"/>
                <a:gd name="T9" fmla="*/ 823 h 2497"/>
                <a:gd name="T10" fmla="*/ 1254 w 5812"/>
                <a:gd name="T11" fmla="*/ 547 h 2497"/>
                <a:gd name="T12" fmla="*/ 966 w 5812"/>
                <a:gd name="T13" fmla="*/ 413 h 2497"/>
                <a:gd name="T14" fmla="*/ 0 w 5812"/>
                <a:gd name="T15" fmla="*/ 0 h 2497"/>
                <a:gd name="T16" fmla="*/ 0 w 5812"/>
                <a:gd name="T17" fmla="*/ 8 h 2497"/>
                <a:gd name="T18" fmla="*/ 963 w 5812"/>
                <a:gd name="T19" fmla="*/ 420 h 2497"/>
                <a:gd name="T20" fmla="*/ 1251 w 5812"/>
                <a:gd name="T21" fmla="*/ 554 h 2497"/>
                <a:gd name="T22" fmla="*/ 1971 w 5812"/>
                <a:gd name="T23" fmla="*/ 830 h 2497"/>
                <a:gd name="T24" fmla="*/ 2993 w 5812"/>
                <a:gd name="T25" fmla="*/ 653 h 2497"/>
                <a:gd name="T26" fmla="*/ 4193 w 5812"/>
                <a:gd name="T27" fmla="*/ 538 h 2497"/>
                <a:gd name="T28" fmla="*/ 4993 w 5812"/>
                <a:gd name="T29" fmla="*/ 1509 h 2497"/>
                <a:gd name="T30" fmla="*/ 5664 w 5812"/>
                <a:gd name="T31" fmla="*/ 2420 h 2497"/>
                <a:gd name="T32" fmla="*/ 5801 w 5812"/>
                <a:gd name="T33" fmla="*/ 2497 h 2497"/>
                <a:gd name="T34" fmla="*/ 5812 w 5812"/>
                <a:gd name="T35" fmla="*/ 2495 h 2497"/>
                <a:gd name="T36" fmla="*/ 5668 w 5812"/>
                <a:gd name="T37" fmla="*/ 2414 h 2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12" h="2497">
                  <a:moveTo>
                    <a:pt x="5668" y="2414"/>
                  </a:moveTo>
                  <a:cubicBezTo>
                    <a:pt x="5344" y="2212"/>
                    <a:pt x="5168" y="1853"/>
                    <a:pt x="4999" y="1506"/>
                  </a:cubicBezTo>
                  <a:cubicBezTo>
                    <a:pt x="4808" y="1113"/>
                    <a:pt x="4610" y="707"/>
                    <a:pt x="4196" y="531"/>
                  </a:cubicBezTo>
                  <a:cubicBezTo>
                    <a:pt x="3797" y="362"/>
                    <a:pt x="3387" y="506"/>
                    <a:pt x="2990" y="647"/>
                  </a:cubicBezTo>
                  <a:cubicBezTo>
                    <a:pt x="2657" y="764"/>
                    <a:pt x="2312" y="886"/>
                    <a:pt x="1973" y="823"/>
                  </a:cubicBezTo>
                  <a:cubicBezTo>
                    <a:pt x="1733" y="778"/>
                    <a:pt x="1490" y="661"/>
                    <a:pt x="1254" y="547"/>
                  </a:cubicBezTo>
                  <a:cubicBezTo>
                    <a:pt x="1154" y="499"/>
                    <a:pt x="1060" y="453"/>
                    <a:pt x="966" y="4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63" y="420"/>
                    <a:pt x="963" y="420"/>
                    <a:pt x="963" y="420"/>
                  </a:cubicBezTo>
                  <a:cubicBezTo>
                    <a:pt x="1057" y="460"/>
                    <a:pt x="1151" y="505"/>
                    <a:pt x="1251" y="554"/>
                  </a:cubicBezTo>
                  <a:cubicBezTo>
                    <a:pt x="1487" y="667"/>
                    <a:pt x="1731" y="785"/>
                    <a:pt x="1971" y="830"/>
                  </a:cubicBezTo>
                  <a:cubicBezTo>
                    <a:pt x="2312" y="894"/>
                    <a:pt x="2658" y="771"/>
                    <a:pt x="2993" y="653"/>
                  </a:cubicBezTo>
                  <a:cubicBezTo>
                    <a:pt x="3388" y="514"/>
                    <a:pt x="3797" y="369"/>
                    <a:pt x="4193" y="538"/>
                  </a:cubicBezTo>
                  <a:cubicBezTo>
                    <a:pt x="4605" y="713"/>
                    <a:pt x="4802" y="1117"/>
                    <a:pt x="4993" y="1509"/>
                  </a:cubicBezTo>
                  <a:cubicBezTo>
                    <a:pt x="5162" y="1857"/>
                    <a:pt x="5338" y="2217"/>
                    <a:pt x="5664" y="2420"/>
                  </a:cubicBezTo>
                  <a:cubicBezTo>
                    <a:pt x="5708" y="2447"/>
                    <a:pt x="5754" y="2473"/>
                    <a:pt x="5801" y="2497"/>
                  </a:cubicBezTo>
                  <a:cubicBezTo>
                    <a:pt x="5812" y="2495"/>
                    <a:pt x="5812" y="2495"/>
                    <a:pt x="5812" y="2495"/>
                  </a:cubicBezTo>
                  <a:cubicBezTo>
                    <a:pt x="5763" y="2470"/>
                    <a:pt x="5714" y="2443"/>
                    <a:pt x="5668" y="2414"/>
                  </a:cubicBezTo>
                  <a:close/>
                </a:path>
              </a:pathLst>
            </a:custGeom>
            <a:solidFill>
              <a:srgbClr val="CACB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2" name="Freeform 61"/>
            <p:cNvSpPr>
              <a:spLocks/>
            </p:cNvSpPr>
            <p:nvPr userDrawn="1"/>
          </p:nvSpPr>
          <p:spPr bwMode="auto">
            <a:xfrm>
              <a:off x="-792" y="630146"/>
              <a:ext cx="9171592" cy="3957254"/>
            </a:xfrm>
            <a:custGeom>
              <a:avLst/>
              <a:gdLst>
                <a:gd name="T0" fmla="*/ 5717 w 6015"/>
                <a:gd name="T1" fmla="*/ 2433 h 2593"/>
                <a:gd name="T2" fmla="*/ 5048 w 6015"/>
                <a:gd name="T3" fmla="*/ 1512 h 2593"/>
                <a:gd name="T4" fmla="*/ 4236 w 6015"/>
                <a:gd name="T5" fmla="*/ 521 h 2593"/>
                <a:gd name="T6" fmla="*/ 3031 w 6015"/>
                <a:gd name="T7" fmla="*/ 650 h 2593"/>
                <a:gd name="T8" fmla="*/ 2021 w 6015"/>
                <a:gd name="T9" fmla="*/ 841 h 2593"/>
                <a:gd name="T10" fmla="*/ 1299 w 6015"/>
                <a:gd name="T11" fmla="*/ 566 h 2593"/>
                <a:gd name="T12" fmla="*/ 1014 w 6015"/>
                <a:gd name="T13" fmla="*/ 433 h 2593"/>
                <a:gd name="T14" fmla="*/ 0 w 6015"/>
                <a:gd name="T15" fmla="*/ 0 h 2593"/>
                <a:gd name="T16" fmla="*/ 0 w 6015"/>
                <a:gd name="T17" fmla="*/ 8 h 2593"/>
                <a:gd name="T18" fmla="*/ 1011 w 6015"/>
                <a:gd name="T19" fmla="*/ 440 h 2593"/>
                <a:gd name="T20" fmla="*/ 1296 w 6015"/>
                <a:gd name="T21" fmla="*/ 573 h 2593"/>
                <a:gd name="T22" fmla="*/ 2020 w 6015"/>
                <a:gd name="T23" fmla="*/ 848 h 2593"/>
                <a:gd name="T24" fmla="*/ 3034 w 6015"/>
                <a:gd name="T25" fmla="*/ 657 h 2593"/>
                <a:gd name="T26" fmla="*/ 4233 w 6015"/>
                <a:gd name="T27" fmla="*/ 528 h 2593"/>
                <a:gd name="T28" fmla="*/ 5041 w 6015"/>
                <a:gd name="T29" fmla="*/ 1515 h 2593"/>
                <a:gd name="T30" fmla="*/ 5713 w 6015"/>
                <a:gd name="T31" fmla="*/ 2439 h 2593"/>
                <a:gd name="T32" fmla="*/ 6002 w 6015"/>
                <a:gd name="T33" fmla="*/ 2593 h 2593"/>
                <a:gd name="T34" fmla="*/ 6015 w 6015"/>
                <a:gd name="T35" fmla="*/ 2590 h 2593"/>
                <a:gd name="T36" fmla="*/ 5717 w 6015"/>
                <a:gd name="T37" fmla="*/ 2433 h 25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015" h="2593">
                  <a:moveTo>
                    <a:pt x="5717" y="2433"/>
                  </a:moveTo>
                  <a:cubicBezTo>
                    <a:pt x="5394" y="2227"/>
                    <a:pt x="5218" y="1864"/>
                    <a:pt x="5048" y="1512"/>
                  </a:cubicBezTo>
                  <a:cubicBezTo>
                    <a:pt x="4854" y="1112"/>
                    <a:pt x="4654" y="698"/>
                    <a:pt x="4236" y="521"/>
                  </a:cubicBezTo>
                  <a:cubicBezTo>
                    <a:pt x="3838" y="352"/>
                    <a:pt x="3428" y="503"/>
                    <a:pt x="3031" y="650"/>
                  </a:cubicBezTo>
                  <a:cubicBezTo>
                    <a:pt x="2700" y="773"/>
                    <a:pt x="2358" y="900"/>
                    <a:pt x="2021" y="841"/>
                  </a:cubicBezTo>
                  <a:cubicBezTo>
                    <a:pt x="1781" y="799"/>
                    <a:pt x="1536" y="681"/>
                    <a:pt x="1299" y="566"/>
                  </a:cubicBezTo>
                  <a:cubicBezTo>
                    <a:pt x="1200" y="518"/>
                    <a:pt x="1106" y="473"/>
                    <a:pt x="1014" y="43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011" y="440"/>
                    <a:pt x="1011" y="440"/>
                    <a:pt x="1011" y="440"/>
                  </a:cubicBezTo>
                  <a:cubicBezTo>
                    <a:pt x="1103" y="479"/>
                    <a:pt x="1197" y="525"/>
                    <a:pt x="1296" y="573"/>
                  </a:cubicBezTo>
                  <a:cubicBezTo>
                    <a:pt x="1533" y="687"/>
                    <a:pt x="1778" y="806"/>
                    <a:pt x="2020" y="848"/>
                  </a:cubicBezTo>
                  <a:cubicBezTo>
                    <a:pt x="2358" y="907"/>
                    <a:pt x="2702" y="780"/>
                    <a:pt x="3034" y="657"/>
                  </a:cubicBezTo>
                  <a:cubicBezTo>
                    <a:pt x="3429" y="511"/>
                    <a:pt x="3838" y="359"/>
                    <a:pt x="4233" y="528"/>
                  </a:cubicBezTo>
                  <a:cubicBezTo>
                    <a:pt x="4648" y="704"/>
                    <a:pt x="4848" y="1117"/>
                    <a:pt x="5041" y="1515"/>
                  </a:cubicBezTo>
                  <a:cubicBezTo>
                    <a:pt x="5212" y="1868"/>
                    <a:pt x="5388" y="2232"/>
                    <a:pt x="5713" y="2439"/>
                  </a:cubicBezTo>
                  <a:cubicBezTo>
                    <a:pt x="5803" y="2497"/>
                    <a:pt x="5900" y="2547"/>
                    <a:pt x="6002" y="2593"/>
                  </a:cubicBezTo>
                  <a:cubicBezTo>
                    <a:pt x="6015" y="2590"/>
                    <a:pt x="6015" y="2590"/>
                    <a:pt x="6015" y="2590"/>
                  </a:cubicBezTo>
                  <a:cubicBezTo>
                    <a:pt x="5910" y="2543"/>
                    <a:pt x="5809" y="2492"/>
                    <a:pt x="5717" y="2433"/>
                  </a:cubicBezTo>
                  <a:close/>
                </a:path>
              </a:pathLst>
            </a:custGeom>
            <a:solidFill>
              <a:srgbClr val="C9CB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3" name="Freeform 62"/>
            <p:cNvSpPr>
              <a:spLocks/>
            </p:cNvSpPr>
            <p:nvPr userDrawn="1"/>
          </p:nvSpPr>
          <p:spPr bwMode="auto">
            <a:xfrm>
              <a:off x="-792" y="429718"/>
              <a:ext cx="9501898" cy="4099958"/>
            </a:xfrm>
            <a:custGeom>
              <a:avLst/>
              <a:gdLst>
                <a:gd name="T0" fmla="*/ 5766 w 6231"/>
                <a:gd name="T1" fmla="*/ 2451 h 2686"/>
                <a:gd name="T2" fmla="*/ 5137 w 6231"/>
                <a:gd name="T3" fmla="*/ 1595 h 2686"/>
                <a:gd name="T4" fmla="*/ 5049 w 6231"/>
                <a:gd name="T5" fmla="*/ 1426 h 2686"/>
                <a:gd name="T6" fmla="*/ 5007 w 6231"/>
                <a:gd name="T7" fmla="*/ 1347 h 2686"/>
                <a:gd name="T8" fmla="*/ 4291 w 6231"/>
                <a:gd name="T9" fmla="*/ 497 h 2686"/>
                <a:gd name="T10" fmla="*/ 3257 w 6231"/>
                <a:gd name="T11" fmla="*/ 595 h 2686"/>
                <a:gd name="T12" fmla="*/ 3225 w 6231"/>
                <a:gd name="T13" fmla="*/ 606 h 2686"/>
                <a:gd name="T14" fmla="*/ 3032 w 6231"/>
                <a:gd name="T15" fmla="*/ 674 h 2686"/>
                <a:gd name="T16" fmla="*/ 2071 w 6231"/>
                <a:gd name="T17" fmla="*/ 858 h 2686"/>
                <a:gd name="T18" fmla="*/ 1341 w 6231"/>
                <a:gd name="T19" fmla="*/ 584 h 2686"/>
                <a:gd name="T20" fmla="*/ 1061 w 6231"/>
                <a:gd name="T21" fmla="*/ 453 h 2686"/>
                <a:gd name="T22" fmla="*/ 0 w 6231"/>
                <a:gd name="T23" fmla="*/ 0 h 2686"/>
                <a:gd name="T24" fmla="*/ 0 w 6231"/>
                <a:gd name="T25" fmla="*/ 8 h 2686"/>
                <a:gd name="T26" fmla="*/ 1058 w 6231"/>
                <a:gd name="T27" fmla="*/ 460 h 2686"/>
                <a:gd name="T28" fmla="*/ 1338 w 6231"/>
                <a:gd name="T29" fmla="*/ 591 h 2686"/>
                <a:gd name="T30" fmla="*/ 2070 w 6231"/>
                <a:gd name="T31" fmla="*/ 865 h 2686"/>
                <a:gd name="T32" fmla="*/ 3035 w 6231"/>
                <a:gd name="T33" fmla="*/ 681 h 2686"/>
                <a:gd name="T34" fmla="*/ 3228 w 6231"/>
                <a:gd name="T35" fmla="*/ 613 h 2686"/>
                <a:gd name="T36" fmla="*/ 3259 w 6231"/>
                <a:gd name="T37" fmla="*/ 602 h 2686"/>
                <a:gd name="T38" fmla="*/ 4288 w 6231"/>
                <a:gd name="T39" fmla="*/ 504 h 2686"/>
                <a:gd name="T40" fmla="*/ 5000 w 6231"/>
                <a:gd name="T41" fmla="*/ 1350 h 2686"/>
                <a:gd name="T42" fmla="*/ 5042 w 6231"/>
                <a:gd name="T43" fmla="*/ 1430 h 2686"/>
                <a:gd name="T44" fmla="*/ 5130 w 6231"/>
                <a:gd name="T45" fmla="*/ 1598 h 2686"/>
                <a:gd name="T46" fmla="*/ 5762 w 6231"/>
                <a:gd name="T47" fmla="*/ 2457 h 2686"/>
                <a:gd name="T48" fmla="*/ 6217 w 6231"/>
                <a:gd name="T49" fmla="*/ 2686 h 2686"/>
                <a:gd name="T50" fmla="*/ 6231 w 6231"/>
                <a:gd name="T51" fmla="*/ 2683 h 2686"/>
                <a:gd name="T52" fmla="*/ 5766 w 6231"/>
                <a:gd name="T53" fmla="*/ 2451 h 2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231" h="2686">
                  <a:moveTo>
                    <a:pt x="5766" y="2451"/>
                  </a:moveTo>
                  <a:cubicBezTo>
                    <a:pt x="5475" y="2257"/>
                    <a:pt x="5295" y="1905"/>
                    <a:pt x="5137" y="1595"/>
                  </a:cubicBezTo>
                  <a:cubicBezTo>
                    <a:pt x="5106" y="1536"/>
                    <a:pt x="5078" y="1481"/>
                    <a:pt x="5049" y="1426"/>
                  </a:cubicBezTo>
                  <a:cubicBezTo>
                    <a:pt x="5035" y="1400"/>
                    <a:pt x="5021" y="1374"/>
                    <a:pt x="5007" y="1347"/>
                  </a:cubicBezTo>
                  <a:cubicBezTo>
                    <a:pt x="4833" y="1017"/>
                    <a:pt x="4636" y="643"/>
                    <a:pt x="4291" y="497"/>
                  </a:cubicBezTo>
                  <a:cubicBezTo>
                    <a:pt x="3960" y="356"/>
                    <a:pt x="3587" y="483"/>
                    <a:pt x="3257" y="595"/>
                  </a:cubicBezTo>
                  <a:cubicBezTo>
                    <a:pt x="3225" y="606"/>
                    <a:pt x="3225" y="606"/>
                    <a:pt x="3225" y="606"/>
                  </a:cubicBezTo>
                  <a:cubicBezTo>
                    <a:pt x="3162" y="627"/>
                    <a:pt x="3099" y="650"/>
                    <a:pt x="3032" y="674"/>
                  </a:cubicBezTo>
                  <a:cubicBezTo>
                    <a:pt x="2717" y="789"/>
                    <a:pt x="2391" y="907"/>
                    <a:pt x="2071" y="858"/>
                  </a:cubicBezTo>
                  <a:cubicBezTo>
                    <a:pt x="1829" y="821"/>
                    <a:pt x="1581" y="700"/>
                    <a:pt x="1341" y="584"/>
                  </a:cubicBezTo>
                  <a:cubicBezTo>
                    <a:pt x="1244" y="537"/>
                    <a:pt x="1152" y="492"/>
                    <a:pt x="1061" y="45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058" y="460"/>
                    <a:pt x="1058" y="460"/>
                    <a:pt x="1058" y="460"/>
                  </a:cubicBezTo>
                  <a:cubicBezTo>
                    <a:pt x="1149" y="499"/>
                    <a:pt x="1241" y="544"/>
                    <a:pt x="1338" y="591"/>
                  </a:cubicBezTo>
                  <a:cubicBezTo>
                    <a:pt x="1578" y="707"/>
                    <a:pt x="1826" y="828"/>
                    <a:pt x="2070" y="865"/>
                  </a:cubicBezTo>
                  <a:cubicBezTo>
                    <a:pt x="2392" y="915"/>
                    <a:pt x="2719" y="796"/>
                    <a:pt x="3035" y="681"/>
                  </a:cubicBezTo>
                  <a:cubicBezTo>
                    <a:pt x="3102" y="657"/>
                    <a:pt x="3165" y="634"/>
                    <a:pt x="3228" y="613"/>
                  </a:cubicBezTo>
                  <a:cubicBezTo>
                    <a:pt x="3259" y="602"/>
                    <a:pt x="3259" y="602"/>
                    <a:pt x="3259" y="602"/>
                  </a:cubicBezTo>
                  <a:cubicBezTo>
                    <a:pt x="3588" y="490"/>
                    <a:pt x="3960" y="364"/>
                    <a:pt x="4288" y="504"/>
                  </a:cubicBezTo>
                  <a:cubicBezTo>
                    <a:pt x="4631" y="649"/>
                    <a:pt x="4827" y="1022"/>
                    <a:pt x="5000" y="1350"/>
                  </a:cubicBezTo>
                  <a:cubicBezTo>
                    <a:pt x="5015" y="1377"/>
                    <a:pt x="5029" y="1404"/>
                    <a:pt x="5042" y="1430"/>
                  </a:cubicBezTo>
                  <a:cubicBezTo>
                    <a:pt x="5071" y="1484"/>
                    <a:pt x="5100" y="1540"/>
                    <a:pt x="5130" y="1598"/>
                  </a:cubicBezTo>
                  <a:cubicBezTo>
                    <a:pt x="5289" y="1909"/>
                    <a:pt x="5470" y="2262"/>
                    <a:pt x="5762" y="2457"/>
                  </a:cubicBezTo>
                  <a:cubicBezTo>
                    <a:pt x="5899" y="2548"/>
                    <a:pt x="6056" y="2620"/>
                    <a:pt x="6217" y="2686"/>
                  </a:cubicBezTo>
                  <a:cubicBezTo>
                    <a:pt x="6231" y="2683"/>
                    <a:pt x="6231" y="2683"/>
                    <a:pt x="6231" y="2683"/>
                  </a:cubicBezTo>
                  <a:cubicBezTo>
                    <a:pt x="6066" y="2617"/>
                    <a:pt x="5905" y="2544"/>
                    <a:pt x="5766" y="2451"/>
                  </a:cubicBezTo>
                  <a:close/>
                </a:path>
              </a:pathLst>
            </a:custGeom>
            <a:solidFill>
              <a:srgbClr val="C9CA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4" name="Freeform 63"/>
            <p:cNvSpPr>
              <a:spLocks/>
            </p:cNvSpPr>
            <p:nvPr userDrawn="1"/>
          </p:nvSpPr>
          <p:spPr bwMode="auto">
            <a:xfrm>
              <a:off x="-792" y="230893"/>
              <a:ext cx="9849841" cy="4237854"/>
            </a:xfrm>
            <a:custGeom>
              <a:avLst/>
              <a:gdLst>
                <a:gd name="T0" fmla="*/ 5815 w 6459"/>
                <a:gd name="T1" fmla="*/ 2469 h 2777"/>
                <a:gd name="T2" fmla="*/ 5184 w 6459"/>
                <a:gd name="T3" fmla="*/ 1614 h 2777"/>
                <a:gd name="T4" fmla="*/ 5096 w 6459"/>
                <a:gd name="T5" fmla="*/ 1447 h 2777"/>
                <a:gd name="T6" fmla="*/ 5050 w 6459"/>
                <a:gd name="T7" fmla="*/ 1361 h 2777"/>
                <a:gd name="T8" fmla="*/ 4338 w 6459"/>
                <a:gd name="T9" fmla="*/ 518 h 2777"/>
                <a:gd name="T10" fmla="*/ 3311 w 6459"/>
                <a:gd name="T11" fmla="*/ 614 h 2777"/>
                <a:gd name="T12" fmla="*/ 3272 w 6459"/>
                <a:gd name="T13" fmla="*/ 627 h 2777"/>
                <a:gd name="T14" fmla="*/ 3080 w 6459"/>
                <a:gd name="T15" fmla="*/ 694 h 2777"/>
                <a:gd name="T16" fmla="*/ 2120 w 6459"/>
                <a:gd name="T17" fmla="*/ 876 h 2777"/>
                <a:gd name="T18" fmla="*/ 1385 w 6459"/>
                <a:gd name="T19" fmla="*/ 603 h 2777"/>
                <a:gd name="T20" fmla="*/ 1108 w 6459"/>
                <a:gd name="T21" fmla="*/ 473 h 2777"/>
                <a:gd name="T22" fmla="*/ 0 w 6459"/>
                <a:gd name="T23" fmla="*/ 0 h 2777"/>
                <a:gd name="T24" fmla="*/ 0 w 6459"/>
                <a:gd name="T25" fmla="*/ 8 h 2777"/>
                <a:gd name="T26" fmla="*/ 1105 w 6459"/>
                <a:gd name="T27" fmla="*/ 480 h 2777"/>
                <a:gd name="T28" fmla="*/ 1382 w 6459"/>
                <a:gd name="T29" fmla="*/ 610 h 2777"/>
                <a:gd name="T30" fmla="*/ 2119 w 6459"/>
                <a:gd name="T31" fmla="*/ 883 h 2777"/>
                <a:gd name="T32" fmla="*/ 3082 w 6459"/>
                <a:gd name="T33" fmla="*/ 701 h 2777"/>
                <a:gd name="T34" fmla="*/ 3274 w 6459"/>
                <a:gd name="T35" fmla="*/ 634 h 2777"/>
                <a:gd name="T36" fmla="*/ 3313 w 6459"/>
                <a:gd name="T37" fmla="*/ 621 h 2777"/>
                <a:gd name="T38" fmla="*/ 4335 w 6459"/>
                <a:gd name="T39" fmla="*/ 525 h 2777"/>
                <a:gd name="T40" fmla="*/ 5043 w 6459"/>
                <a:gd name="T41" fmla="*/ 1365 h 2777"/>
                <a:gd name="T42" fmla="*/ 5089 w 6459"/>
                <a:gd name="T43" fmla="*/ 1451 h 2777"/>
                <a:gd name="T44" fmla="*/ 5177 w 6459"/>
                <a:gd name="T45" fmla="*/ 1618 h 2777"/>
                <a:gd name="T46" fmla="*/ 5810 w 6459"/>
                <a:gd name="T47" fmla="*/ 2475 h 2777"/>
                <a:gd name="T48" fmla="*/ 6445 w 6459"/>
                <a:gd name="T49" fmla="*/ 2777 h 2777"/>
                <a:gd name="T50" fmla="*/ 6459 w 6459"/>
                <a:gd name="T51" fmla="*/ 2774 h 2777"/>
                <a:gd name="T52" fmla="*/ 5815 w 6459"/>
                <a:gd name="T53" fmla="*/ 2469 h 2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459" h="2777">
                  <a:moveTo>
                    <a:pt x="5815" y="2469"/>
                  </a:moveTo>
                  <a:cubicBezTo>
                    <a:pt x="5526" y="2272"/>
                    <a:pt x="5344" y="1923"/>
                    <a:pt x="5184" y="1614"/>
                  </a:cubicBezTo>
                  <a:cubicBezTo>
                    <a:pt x="5154" y="1556"/>
                    <a:pt x="5125" y="1501"/>
                    <a:pt x="5096" y="1447"/>
                  </a:cubicBezTo>
                  <a:cubicBezTo>
                    <a:pt x="5081" y="1419"/>
                    <a:pt x="5066" y="1390"/>
                    <a:pt x="5050" y="1361"/>
                  </a:cubicBezTo>
                  <a:cubicBezTo>
                    <a:pt x="4884" y="1050"/>
                    <a:pt x="4677" y="662"/>
                    <a:pt x="4338" y="518"/>
                  </a:cubicBezTo>
                  <a:cubicBezTo>
                    <a:pt x="4013" y="379"/>
                    <a:pt x="3623" y="509"/>
                    <a:pt x="3311" y="614"/>
                  </a:cubicBezTo>
                  <a:cubicBezTo>
                    <a:pt x="3272" y="627"/>
                    <a:pt x="3272" y="627"/>
                    <a:pt x="3272" y="627"/>
                  </a:cubicBezTo>
                  <a:cubicBezTo>
                    <a:pt x="3209" y="648"/>
                    <a:pt x="3146" y="670"/>
                    <a:pt x="3080" y="694"/>
                  </a:cubicBezTo>
                  <a:cubicBezTo>
                    <a:pt x="2765" y="806"/>
                    <a:pt x="2440" y="922"/>
                    <a:pt x="2120" y="876"/>
                  </a:cubicBezTo>
                  <a:cubicBezTo>
                    <a:pt x="1876" y="841"/>
                    <a:pt x="1626" y="720"/>
                    <a:pt x="1385" y="603"/>
                  </a:cubicBezTo>
                  <a:cubicBezTo>
                    <a:pt x="1289" y="556"/>
                    <a:pt x="1198" y="512"/>
                    <a:pt x="1108" y="47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105" y="480"/>
                    <a:pt x="1105" y="480"/>
                    <a:pt x="1105" y="480"/>
                  </a:cubicBezTo>
                  <a:cubicBezTo>
                    <a:pt x="1195" y="519"/>
                    <a:pt x="1286" y="563"/>
                    <a:pt x="1382" y="610"/>
                  </a:cubicBezTo>
                  <a:cubicBezTo>
                    <a:pt x="1624" y="727"/>
                    <a:pt x="1873" y="848"/>
                    <a:pt x="2119" y="883"/>
                  </a:cubicBezTo>
                  <a:cubicBezTo>
                    <a:pt x="2441" y="930"/>
                    <a:pt x="2767" y="813"/>
                    <a:pt x="3082" y="701"/>
                  </a:cubicBezTo>
                  <a:cubicBezTo>
                    <a:pt x="3149" y="677"/>
                    <a:pt x="3212" y="655"/>
                    <a:pt x="3274" y="634"/>
                  </a:cubicBezTo>
                  <a:cubicBezTo>
                    <a:pt x="3313" y="621"/>
                    <a:pt x="3313" y="621"/>
                    <a:pt x="3313" y="621"/>
                  </a:cubicBezTo>
                  <a:cubicBezTo>
                    <a:pt x="3625" y="517"/>
                    <a:pt x="4012" y="388"/>
                    <a:pt x="4335" y="525"/>
                  </a:cubicBezTo>
                  <a:cubicBezTo>
                    <a:pt x="4672" y="668"/>
                    <a:pt x="4878" y="1054"/>
                    <a:pt x="5043" y="1365"/>
                  </a:cubicBezTo>
                  <a:cubicBezTo>
                    <a:pt x="5059" y="1394"/>
                    <a:pt x="5074" y="1423"/>
                    <a:pt x="5089" y="1451"/>
                  </a:cubicBezTo>
                  <a:cubicBezTo>
                    <a:pt x="5119" y="1505"/>
                    <a:pt x="5147" y="1560"/>
                    <a:pt x="5177" y="1618"/>
                  </a:cubicBezTo>
                  <a:cubicBezTo>
                    <a:pt x="5338" y="1927"/>
                    <a:pt x="5520" y="2277"/>
                    <a:pt x="5810" y="2475"/>
                  </a:cubicBezTo>
                  <a:cubicBezTo>
                    <a:pt x="5996" y="2602"/>
                    <a:pt x="6221" y="2692"/>
                    <a:pt x="6445" y="2777"/>
                  </a:cubicBezTo>
                  <a:cubicBezTo>
                    <a:pt x="6459" y="2774"/>
                    <a:pt x="6459" y="2774"/>
                    <a:pt x="6459" y="2774"/>
                  </a:cubicBezTo>
                  <a:cubicBezTo>
                    <a:pt x="6233" y="2688"/>
                    <a:pt x="6002" y="2597"/>
                    <a:pt x="5815" y="2469"/>
                  </a:cubicBezTo>
                  <a:close/>
                </a:path>
              </a:pathLst>
            </a:custGeom>
            <a:solidFill>
              <a:srgbClr val="C8CA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4079776" y="0"/>
            <a:ext cx="8112224" cy="6861600"/>
          </a:xfrm>
          <a:custGeom>
            <a:avLst/>
            <a:gdLst>
              <a:gd name="connsiteX0" fmla="*/ 0 w 6120000"/>
              <a:gd name="connsiteY0" fmla="*/ 6855351 h 6861600"/>
              <a:gd name="connsiteX1" fmla="*/ 6120000 w 6120000"/>
              <a:gd name="connsiteY1" fmla="*/ 6856413 h 6861600"/>
              <a:gd name="connsiteX2" fmla="*/ 6120000 w 6120000"/>
              <a:gd name="connsiteY2" fmla="*/ 6861600 h 6861600"/>
              <a:gd name="connsiteX3" fmla="*/ 0 w 6120000"/>
              <a:gd name="connsiteY3" fmla="*/ 6861600 h 6861600"/>
              <a:gd name="connsiteX4" fmla="*/ 0 w 6120000"/>
              <a:gd name="connsiteY4" fmla="*/ 0 h 6861600"/>
              <a:gd name="connsiteX5" fmla="*/ 6120000 w 6120000"/>
              <a:gd name="connsiteY5" fmla="*/ 0 h 6861600"/>
              <a:gd name="connsiteX6" fmla="*/ 6120000 w 6120000"/>
              <a:gd name="connsiteY6" fmla="*/ 6856413 h 6861600"/>
              <a:gd name="connsiteX7" fmla="*/ 30350 w 6120000"/>
              <a:gd name="connsiteY7" fmla="*/ 5778500 h 6861600"/>
              <a:gd name="connsiteX8" fmla="*/ 0 w 6120000"/>
              <a:gd name="connsiteY8" fmla="*/ 5783848 h 6861600"/>
              <a:gd name="connsiteX0" fmla="*/ 0 w 6120000"/>
              <a:gd name="connsiteY0" fmla="*/ 6855351 h 6861600"/>
              <a:gd name="connsiteX1" fmla="*/ 6120000 w 6120000"/>
              <a:gd name="connsiteY1" fmla="*/ 6856413 h 6861600"/>
              <a:gd name="connsiteX2" fmla="*/ 6120000 w 6120000"/>
              <a:gd name="connsiteY2" fmla="*/ 6861600 h 6861600"/>
              <a:gd name="connsiteX3" fmla="*/ 0 w 6120000"/>
              <a:gd name="connsiteY3" fmla="*/ 6861600 h 6861600"/>
              <a:gd name="connsiteX4" fmla="*/ 0 w 6120000"/>
              <a:gd name="connsiteY4" fmla="*/ 6855351 h 6861600"/>
              <a:gd name="connsiteX5" fmla="*/ 0 w 6120000"/>
              <a:gd name="connsiteY5" fmla="*/ 0 h 6861600"/>
              <a:gd name="connsiteX6" fmla="*/ 6120000 w 6120000"/>
              <a:gd name="connsiteY6" fmla="*/ 0 h 6861600"/>
              <a:gd name="connsiteX7" fmla="*/ 6120000 w 6120000"/>
              <a:gd name="connsiteY7" fmla="*/ 6856413 h 6861600"/>
              <a:gd name="connsiteX8" fmla="*/ 30350 w 6120000"/>
              <a:gd name="connsiteY8" fmla="*/ 5778500 h 6861600"/>
              <a:gd name="connsiteX9" fmla="*/ 0 w 6120000"/>
              <a:gd name="connsiteY9" fmla="*/ 5461580 h 6861600"/>
              <a:gd name="connsiteX10" fmla="*/ 0 w 6120000"/>
              <a:gd name="connsiteY10" fmla="*/ 0 h 6861600"/>
              <a:gd name="connsiteX0" fmla="*/ 0 w 6120000"/>
              <a:gd name="connsiteY0" fmla="*/ 6855351 h 6861600"/>
              <a:gd name="connsiteX1" fmla="*/ 6120000 w 6120000"/>
              <a:gd name="connsiteY1" fmla="*/ 6856413 h 6861600"/>
              <a:gd name="connsiteX2" fmla="*/ 6120000 w 6120000"/>
              <a:gd name="connsiteY2" fmla="*/ 6861600 h 6861600"/>
              <a:gd name="connsiteX3" fmla="*/ 0 w 6120000"/>
              <a:gd name="connsiteY3" fmla="*/ 6861600 h 6861600"/>
              <a:gd name="connsiteX4" fmla="*/ 0 w 6120000"/>
              <a:gd name="connsiteY4" fmla="*/ 6855351 h 6861600"/>
              <a:gd name="connsiteX5" fmla="*/ 0 w 6120000"/>
              <a:gd name="connsiteY5" fmla="*/ 0 h 6861600"/>
              <a:gd name="connsiteX6" fmla="*/ 6120000 w 6120000"/>
              <a:gd name="connsiteY6" fmla="*/ 0 h 6861600"/>
              <a:gd name="connsiteX7" fmla="*/ 6120000 w 6120000"/>
              <a:gd name="connsiteY7" fmla="*/ 6856413 h 6861600"/>
              <a:gd name="connsiteX8" fmla="*/ 0 w 6120000"/>
              <a:gd name="connsiteY8" fmla="*/ 5461580 h 6861600"/>
              <a:gd name="connsiteX9" fmla="*/ 0 w 6120000"/>
              <a:gd name="connsiteY9" fmla="*/ 0 h 6861600"/>
              <a:gd name="connsiteX0" fmla="*/ 0 w 6120000"/>
              <a:gd name="connsiteY0" fmla="*/ 6861600 h 6861600"/>
              <a:gd name="connsiteX1" fmla="*/ 6120000 w 6120000"/>
              <a:gd name="connsiteY1" fmla="*/ 6856413 h 6861600"/>
              <a:gd name="connsiteX2" fmla="*/ 6120000 w 6120000"/>
              <a:gd name="connsiteY2" fmla="*/ 6861600 h 6861600"/>
              <a:gd name="connsiteX3" fmla="*/ 0 w 6120000"/>
              <a:gd name="connsiteY3" fmla="*/ 6861600 h 6861600"/>
              <a:gd name="connsiteX4" fmla="*/ 0 w 6120000"/>
              <a:gd name="connsiteY4" fmla="*/ 0 h 6861600"/>
              <a:gd name="connsiteX5" fmla="*/ 6120000 w 6120000"/>
              <a:gd name="connsiteY5" fmla="*/ 0 h 6861600"/>
              <a:gd name="connsiteX6" fmla="*/ 6120000 w 6120000"/>
              <a:gd name="connsiteY6" fmla="*/ 6856413 h 6861600"/>
              <a:gd name="connsiteX7" fmla="*/ 0 w 6120000"/>
              <a:gd name="connsiteY7" fmla="*/ 5461580 h 6861600"/>
              <a:gd name="connsiteX8" fmla="*/ 0 w 6120000"/>
              <a:gd name="connsiteY8" fmla="*/ 0 h 6861600"/>
              <a:gd name="connsiteX0" fmla="*/ 6120000 w 6120000"/>
              <a:gd name="connsiteY0" fmla="*/ 6861600 h 6861600"/>
              <a:gd name="connsiteX1" fmla="*/ 6120000 w 6120000"/>
              <a:gd name="connsiteY1" fmla="*/ 6856413 h 6861600"/>
              <a:gd name="connsiteX2" fmla="*/ 6120000 w 6120000"/>
              <a:gd name="connsiteY2" fmla="*/ 6861600 h 6861600"/>
              <a:gd name="connsiteX3" fmla="*/ 0 w 6120000"/>
              <a:gd name="connsiteY3" fmla="*/ 0 h 6861600"/>
              <a:gd name="connsiteX4" fmla="*/ 6120000 w 6120000"/>
              <a:gd name="connsiteY4" fmla="*/ 0 h 6861600"/>
              <a:gd name="connsiteX5" fmla="*/ 6120000 w 6120000"/>
              <a:gd name="connsiteY5" fmla="*/ 6856413 h 6861600"/>
              <a:gd name="connsiteX6" fmla="*/ 0 w 6120000"/>
              <a:gd name="connsiteY6" fmla="*/ 5461580 h 6861600"/>
              <a:gd name="connsiteX7" fmla="*/ 0 w 6120000"/>
              <a:gd name="connsiteY7" fmla="*/ 0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120000" h="6861600">
                <a:moveTo>
                  <a:pt x="6120000" y="6861600"/>
                </a:moveTo>
                <a:lnTo>
                  <a:pt x="6120000" y="6856413"/>
                </a:lnTo>
                <a:lnTo>
                  <a:pt x="6120000" y="6861600"/>
                </a:lnTo>
                <a:close/>
                <a:moveTo>
                  <a:pt x="0" y="0"/>
                </a:moveTo>
                <a:lnTo>
                  <a:pt x="6120000" y="0"/>
                </a:lnTo>
                <a:lnTo>
                  <a:pt x="6120000" y="6856413"/>
                </a:lnTo>
                <a:lnTo>
                  <a:pt x="0" y="546158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alpha val="90000"/>
            </a:schemeClr>
          </a:solidFill>
        </p:spPr>
        <p:txBody>
          <a:bodyPr wrap="square" lIns="666000" tIns="2304000" rIns="489600" bIns="2538000" anchor="t" anchorCtr="0">
            <a:noAutofit/>
          </a:bodyPr>
          <a:lstStyle>
            <a:lvl1pPr>
              <a:lnSpc>
                <a:spcPct val="87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Præsentationstitel i maksimum to linjer</a:t>
            </a:r>
            <a:endParaRPr lang="da-DK"/>
          </a:p>
        </p:txBody>
      </p:sp>
      <p:sp>
        <p:nvSpPr>
          <p:cNvPr id="3" name="Undertitel 2"/>
          <p:cNvSpPr>
            <a:spLocks noGrp="1"/>
          </p:cNvSpPr>
          <p:nvPr>
            <p:ph type="subTitle" idx="1" hasCustomPrompt="1"/>
          </p:nvPr>
        </p:nvSpPr>
        <p:spPr>
          <a:xfrm>
            <a:off x="4077409" y="3512868"/>
            <a:ext cx="7441491" cy="498834"/>
          </a:xfrm>
        </p:spPr>
        <p:txBody>
          <a:bodyPr lIns="684000" rIns="511200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Klik, og tilføj undertitel</a:t>
            </a:r>
            <a:endParaRPr lang="da-DK"/>
          </a:p>
        </p:txBody>
      </p:sp>
      <p:sp>
        <p:nvSpPr>
          <p:cNvPr id="6" name="Indsæt TitleName"/>
          <p:cNvSpPr>
            <a:spLocks noGrp="1"/>
          </p:cNvSpPr>
          <p:nvPr>
            <p:ph type="body" sz="quarter" idx="14" hasCustomPrompt="1"/>
          </p:nvPr>
        </p:nvSpPr>
        <p:spPr>
          <a:xfrm>
            <a:off x="4079775" y="1349645"/>
            <a:ext cx="7439125" cy="360040"/>
          </a:xfrm>
        </p:spPr>
        <p:txBody>
          <a:bodyPr lIns="684000" anchor="b" anchorCtr="0"/>
          <a:lstStyle>
            <a:lvl1pPr>
              <a:lnSpc>
                <a:spcPct val="115000"/>
              </a:lnSpc>
              <a:defRPr sz="10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Indsæt titel, navn</a:t>
            </a:r>
            <a:endParaRPr lang="da-DK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445224"/>
            <a:ext cx="12192000" cy="1411191"/>
          </a:xfrm>
          <a:custGeom>
            <a:avLst/>
            <a:gdLst>
              <a:gd name="connsiteX0" fmla="*/ 3054350 w 9144000"/>
              <a:gd name="connsiteY0" fmla="*/ 0 h 1077913"/>
              <a:gd name="connsiteX1" fmla="*/ 9144000 w 9144000"/>
              <a:gd name="connsiteY1" fmla="*/ 1077913 h 1077913"/>
              <a:gd name="connsiteX2" fmla="*/ 0 w 9144000"/>
              <a:gd name="connsiteY2" fmla="*/ 1076326 h 1077913"/>
              <a:gd name="connsiteX3" fmla="*/ 0 w 9144000"/>
              <a:gd name="connsiteY3" fmla="*/ 538163 h 1077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1077913">
                <a:moveTo>
                  <a:pt x="3054350" y="0"/>
                </a:moveTo>
                <a:lnTo>
                  <a:pt x="9144000" y="1077913"/>
                </a:lnTo>
                <a:lnTo>
                  <a:pt x="0" y="1076326"/>
                </a:lnTo>
                <a:lnTo>
                  <a:pt x="0" y="53816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079776" y="4041068"/>
            <a:ext cx="8109858" cy="2823852"/>
          </a:xfrm>
          <a:custGeom>
            <a:avLst/>
            <a:gdLst>
              <a:gd name="connsiteX0" fmla="*/ 6116484 w 6118225"/>
              <a:gd name="connsiteY0" fmla="*/ 0 h 2159720"/>
              <a:gd name="connsiteX1" fmla="*/ 6118225 w 6118225"/>
              <a:gd name="connsiteY1" fmla="*/ 0 h 2159720"/>
              <a:gd name="connsiteX2" fmla="*/ 6118225 w 6118225"/>
              <a:gd name="connsiteY2" fmla="*/ 2159720 h 2159720"/>
              <a:gd name="connsiteX3" fmla="*/ 0 w 6118225"/>
              <a:gd name="connsiteY3" fmla="*/ 1078913 h 2159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18225" h="2159720">
                <a:moveTo>
                  <a:pt x="6116484" y="0"/>
                </a:moveTo>
                <a:lnTo>
                  <a:pt x="6118225" y="0"/>
                </a:lnTo>
                <a:lnTo>
                  <a:pt x="6118225" y="2159720"/>
                </a:lnTo>
                <a:lnTo>
                  <a:pt x="0" y="1078913"/>
                </a:lnTo>
                <a:close/>
              </a:path>
            </a:pathLst>
          </a:custGeom>
          <a:solidFill>
            <a:srgbClr val="ECAD28"/>
          </a:solidFill>
        </p:spPr>
        <p:txBody>
          <a:bodyPr wrap="square">
            <a:noAutofit/>
          </a:bodyPr>
          <a:lstStyle>
            <a:lvl1pPr marL="0" indent="0">
              <a:buNone/>
              <a:defRPr sz="100"/>
            </a:lvl1pPr>
            <a:lvl2pPr marL="0" indent="0">
              <a:buNone/>
              <a:defRPr sz="100"/>
            </a:lvl2pPr>
            <a:lvl3pPr marL="216000" indent="0">
              <a:buNone/>
              <a:defRPr sz="100"/>
            </a:lvl3pPr>
            <a:lvl4pPr marL="432000" indent="0">
              <a:buNone/>
              <a:defRPr sz="100"/>
            </a:lvl4pPr>
            <a:lvl5pPr marL="648000" indent="0">
              <a:buNone/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122" name="Text Placeholder 3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4764088" y="345600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0742691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rå top"/>
          <p:cNvSpPr/>
          <p:nvPr userDrawn="1"/>
        </p:nvSpPr>
        <p:spPr>
          <a:xfrm>
            <a:off x="-1" y="427"/>
            <a:ext cx="12193200" cy="936000"/>
          </a:xfrm>
          <a:prstGeom prst="rect">
            <a:avLst/>
          </a:prstGeom>
          <a:solidFill>
            <a:srgbClr val="DDDD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2" name="Grøn top"/>
          <p:cNvSpPr/>
          <p:nvPr userDrawn="1"/>
        </p:nvSpPr>
        <p:spPr>
          <a:xfrm>
            <a:off x="0" y="0"/>
            <a:ext cx="12193200" cy="43561"/>
          </a:xfrm>
          <a:prstGeom prst="rect">
            <a:avLst/>
          </a:prstGeom>
          <a:solidFill>
            <a:srgbClr val="009E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9" name="Hvid top"/>
          <p:cNvSpPr/>
          <p:nvPr userDrawn="1"/>
        </p:nvSpPr>
        <p:spPr>
          <a:xfrm>
            <a:off x="0" y="936000"/>
            <a:ext cx="12189600" cy="20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8" name="Pladsholder til billede 17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1141200"/>
            <a:ext cx="12189600" cy="5716371"/>
          </a:xfrm>
          <a:custGeom>
            <a:avLst/>
            <a:gdLst>
              <a:gd name="connsiteX0" fmla="*/ 0 w 12189600"/>
              <a:gd name="connsiteY0" fmla="*/ 0 h 5678271"/>
              <a:gd name="connsiteX1" fmla="*/ 12189600 w 12189600"/>
              <a:gd name="connsiteY1" fmla="*/ 0 h 5678271"/>
              <a:gd name="connsiteX2" fmla="*/ 12189600 w 12189600"/>
              <a:gd name="connsiteY2" fmla="*/ 3156813 h 5678271"/>
              <a:gd name="connsiteX3" fmla="*/ 1 w 12189600"/>
              <a:gd name="connsiteY3" fmla="*/ 3156813 h 5678271"/>
              <a:gd name="connsiteX4" fmla="*/ 1 w 12189600"/>
              <a:gd name="connsiteY4" fmla="*/ 3166338 h 5678271"/>
              <a:gd name="connsiteX5" fmla="*/ 12189600 w 12189600"/>
              <a:gd name="connsiteY5" fmla="*/ 3166338 h 5678271"/>
              <a:gd name="connsiteX6" fmla="*/ 12189600 w 12189600"/>
              <a:gd name="connsiteY6" fmla="*/ 5489359 h 5678271"/>
              <a:gd name="connsiteX7" fmla="*/ 1 w 12189600"/>
              <a:gd name="connsiteY7" fmla="*/ 5489359 h 5678271"/>
              <a:gd name="connsiteX8" fmla="*/ 1 w 12189600"/>
              <a:gd name="connsiteY8" fmla="*/ 5498884 h 5678271"/>
              <a:gd name="connsiteX9" fmla="*/ 12189600 w 12189600"/>
              <a:gd name="connsiteY9" fmla="*/ 5498884 h 5678271"/>
              <a:gd name="connsiteX10" fmla="*/ 12189600 w 12189600"/>
              <a:gd name="connsiteY10" fmla="*/ 5678271 h 5678271"/>
              <a:gd name="connsiteX11" fmla="*/ 0 w 12189600"/>
              <a:gd name="connsiteY11" fmla="*/ 5678271 h 5678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89600" h="5678271">
                <a:moveTo>
                  <a:pt x="0" y="0"/>
                </a:moveTo>
                <a:lnTo>
                  <a:pt x="12189600" y="0"/>
                </a:lnTo>
                <a:lnTo>
                  <a:pt x="12189600" y="3156813"/>
                </a:lnTo>
                <a:lnTo>
                  <a:pt x="1" y="3156813"/>
                </a:lnTo>
                <a:lnTo>
                  <a:pt x="1" y="3166338"/>
                </a:lnTo>
                <a:lnTo>
                  <a:pt x="12189600" y="3166338"/>
                </a:lnTo>
                <a:lnTo>
                  <a:pt x="12189600" y="5489359"/>
                </a:lnTo>
                <a:lnTo>
                  <a:pt x="1" y="5489359"/>
                </a:lnTo>
                <a:lnTo>
                  <a:pt x="1" y="5498884"/>
                </a:lnTo>
                <a:lnTo>
                  <a:pt x="12189600" y="5498884"/>
                </a:lnTo>
                <a:lnTo>
                  <a:pt x="12189600" y="5678271"/>
                </a:lnTo>
                <a:lnTo>
                  <a:pt x="0" y="5678271"/>
                </a:lnTo>
                <a:close/>
              </a:path>
            </a:pathLst>
          </a:custGeom>
          <a:solidFill>
            <a:srgbClr val="DDDDDE"/>
          </a:solidFill>
        </p:spPr>
        <p:txBody>
          <a:bodyPr wrap="square" bIns="576000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0" y="4476750"/>
            <a:ext cx="12189600" cy="2380821"/>
          </a:xfrm>
          <a:custGeom>
            <a:avLst/>
            <a:gdLst>
              <a:gd name="connsiteX0" fmla="*/ 0 w 12189600"/>
              <a:gd name="connsiteY0" fmla="*/ 2201434 h 2380821"/>
              <a:gd name="connsiteX1" fmla="*/ 12189600 w 12189600"/>
              <a:gd name="connsiteY1" fmla="*/ 2201434 h 2380821"/>
              <a:gd name="connsiteX2" fmla="*/ 12189600 w 12189600"/>
              <a:gd name="connsiteY2" fmla="*/ 2380821 h 2380821"/>
              <a:gd name="connsiteX3" fmla="*/ 0 w 12189600"/>
              <a:gd name="connsiteY3" fmla="*/ 2380821 h 2380821"/>
              <a:gd name="connsiteX4" fmla="*/ 0 w 12189600"/>
              <a:gd name="connsiteY4" fmla="*/ 0 h 2380821"/>
              <a:gd name="connsiteX5" fmla="*/ 12189600 w 12189600"/>
              <a:gd name="connsiteY5" fmla="*/ 0 h 2380821"/>
              <a:gd name="connsiteX6" fmla="*/ 12189600 w 12189600"/>
              <a:gd name="connsiteY6" fmla="*/ 2191909 h 2380821"/>
              <a:gd name="connsiteX7" fmla="*/ 0 w 12189600"/>
              <a:gd name="connsiteY7" fmla="*/ 2191909 h 2380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9600" h="2380821">
                <a:moveTo>
                  <a:pt x="0" y="2201434"/>
                </a:moveTo>
                <a:lnTo>
                  <a:pt x="12189600" y="2201434"/>
                </a:lnTo>
                <a:lnTo>
                  <a:pt x="12189600" y="2380821"/>
                </a:lnTo>
                <a:lnTo>
                  <a:pt x="0" y="2380821"/>
                </a:lnTo>
                <a:close/>
                <a:moveTo>
                  <a:pt x="0" y="0"/>
                </a:moveTo>
                <a:lnTo>
                  <a:pt x="12189600" y="0"/>
                </a:lnTo>
                <a:lnTo>
                  <a:pt x="12189600" y="2191909"/>
                </a:lnTo>
                <a:lnTo>
                  <a:pt x="0" y="2191909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  <a:effectLst/>
        </p:spPr>
        <p:txBody>
          <a:bodyPr wrap="square" lIns="684000" tIns="216000" rIns="1692000" bIns="0" anchor="t" anchorCtr="0">
            <a:noAutofit/>
          </a:bodyPr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2626" y="5901345"/>
            <a:ext cx="9796462" cy="269076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>
                <a:solidFill>
                  <a:schemeClr val="bg1"/>
                </a:solidFill>
              </a:defRPr>
            </a:lvl9pPr>
          </a:lstStyle>
          <a:p>
            <a:r>
              <a:rPr lang="da-DK" noProof="0" dirty="0"/>
              <a:t>Klik, og tilføj eventuelt undertitel til præsentationen</a:t>
            </a:r>
            <a:endParaRPr lang="da-DK"/>
          </a:p>
        </p:txBody>
      </p:sp>
      <p:sp>
        <p:nvSpPr>
          <p:cNvPr id="11" name="Pladsholder til tekst 10"/>
          <p:cNvSpPr>
            <a:spLocks noGrp="1"/>
          </p:cNvSpPr>
          <p:nvPr>
            <p:ph type="body" sz="quarter" idx="15" hasCustomPrompt="1"/>
          </p:nvPr>
        </p:nvSpPr>
        <p:spPr>
          <a:xfrm>
            <a:off x="682626" y="6170420"/>
            <a:ext cx="9796462" cy="305691"/>
          </a:xfrm>
        </p:spPr>
        <p:txBody>
          <a:bodyPr/>
          <a:lstStyle>
            <a:lvl1pPr>
              <a:lnSpc>
                <a:spcPct val="110000"/>
              </a:lnSpc>
              <a:defRPr sz="16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da-DK" dirty="0"/>
              <a:t>Klik, og tilføj titel og navn</a:t>
            </a:r>
            <a:endParaRPr lang="da-DK"/>
          </a:p>
          <a:p>
            <a:pPr lvl="1"/>
            <a:endParaRPr lang="da-DK" dirty="0"/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1141200"/>
            <a:ext cx="12189600" cy="75600"/>
          </a:xfrm>
          <a:solidFill>
            <a:schemeClr val="bg1">
              <a:alpha val="50000"/>
            </a:schemeClr>
          </a:solidFill>
        </p:spPr>
        <p:txBody>
          <a:bodyPr/>
          <a:lstStyle>
            <a:lvl1pPr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DDDDDE"/>
                </a:solidFill>
              </a:defRPr>
            </a:lvl1pPr>
          </a:lstStyle>
          <a:p>
            <a:r>
              <a:rPr lang="da-DK"/>
              <a:t>22. januar 2020</a:t>
            </a:r>
            <a:endParaRPr lang="da-DK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DDDDDE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DDDDDE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710F8C41-3A8D-440A-8577-8E268FFC53D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000" y="403550"/>
            <a:ext cx="3090740" cy="198000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0BB742F4-25CC-7141-B910-4FEE24D521B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06698" y="-892439"/>
            <a:ext cx="1940814" cy="233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061730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uden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  <p:sp>
        <p:nvSpPr>
          <p:cNvPr id="21" name="Grå bund"/>
          <p:cNvSpPr/>
          <p:nvPr userDrawn="1"/>
        </p:nvSpPr>
        <p:spPr>
          <a:xfrm>
            <a:off x="-1" y="428"/>
            <a:ext cx="12189600" cy="6858000"/>
          </a:xfrm>
          <a:prstGeom prst="rect">
            <a:avLst/>
          </a:prstGeom>
          <a:solidFill>
            <a:srgbClr val="DDDD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7" name="Mørk grå 55-51-52"/>
          <p:cNvSpPr/>
          <p:nvPr userDrawn="1"/>
        </p:nvSpPr>
        <p:spPr>
          <a:xfrm>
            <a:off x="-1" y="1141200"/>
            <a:ext cx="12189600" cy="3877609"/>
          </a:xfrm>
          <a:prstGeom prst="rect">
            <a:avLst/>
          </a:prstGeom>
          <a:solidFill>
            <a:srgbClr val="3733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2" name="Grøn top"/>
          <p:cNvSpPr/>
          <p:nvPr userDrawn="1"/>
        </p:nvSpPr>
        <p:spPr>
          <a:xfrm>
            <a:off x="0" y="0"/>
            <a:ext cx="12189600" cy="43561"/>
          </a:xfrm>
          <a:prstGeom prst="rect">
            <a:avLst/>
          </a:prstGeom>
          <a:solidFill>
            <a:srgbClr val="009E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9" name="Hvid top"/>
          <p:cNvSpPr/>
          <p:nvPr userDrawn="1"/>
        </p:nvSpPr>
        <p:spPr>
          <a:xfrm>
            <a:off x="0" y="936000"/>
            <a:ext cx="12189600" cy="20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0" name="Titel 19"/>
          <p:cNvSpPr>
            <a:spLocks noGrp="1"/>
          </p:cNvSpPr>
          <p:nvPr>
            <p:ph type="title" hasCustomPrompt="1"/>
          </p:nvPr>
        </p:nvSpPr>
        <p:spPr>
          <a:xfrm>
            <a:off x="684000" y="1431924"/>
            <a:ext cx="9795087" cy="1145217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effectLst/>
        </p:spPr>
        <p:txBody>
          <a:bodyPr wrap="square" lIns="0" rIns="0" bIns="0" anchor="b" anchorCtr="0">
            <a:noAutofit/>
          </a:bodyPr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2626" y="2646357"/>
            <a:ext cx="9796462" cy="574767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>
                <a:solidFill>
                  <a:schemeClr val="bg1"/>
                </a:solidFill>
              </a:defRPr>
            </a:lvl9pPr>
          </a:lstStyle>
          <a:p>
            <a:r>
              <a:rPr lang="da-DK" dirty="0" err="1"/>
              <a:t>Klik</a:t>
            </a:r>
            <a:r>
              <a:rPr lang="da-DK" dirty="0"/>
              <a:t>, </a:t>
            </a:r>
            <a:r>
              <a:rPr lang="da-DK" dirty="0" err="1"/>
              <a:t>og</a:t>
            </a:r>
            <a:r>
              <a:rPr lang="da-DK" dirty="0"/>
              <a:t> </a:t>
            </a:r>
            <a:r>
              <a:rPr lang="da-DK" dirty="0" err="1"/>
              <a:t>tilføj</a:t>
            </a:r>
            <a:r>
              <a:rPr lang="da-DK" dirty="0"/>
              <a:t> </a:t>
            </a:r>
            <a:r>
              <a:rPr lang="da-DK" dirty="0" err="1"/>
              <a:t>eventuelt</a:t>
            </a:r>
            <a:r>
              <a:rPr lang="da-DK" dirty="0"/>
              <a:t> </a:t>
            </a:r>
            <a:r>
              <a:rPr lang="da-DK" dirty="0" err="1"/>
              <a:t>undertitel</a:t>
            </a:r>
            <a:r>
              <a:rPr lang="da-DK" dirty="0"/>
              <a:t> </a:t>
            </a:r>
            <a:r>
              <a:rPr lang="da-DK" dirty="0" err="1"/>
              <a:t>til</a:t>
            </a:r>
            <a:r>
              <a:rPr lang="da-DK" dirty="0"/>
              <a:t> </a:t>
            </a:r>
            <a:r>
              <a:rPr lang="da-DK" dirty="0" err="1"/>
              <a:t>præsentationen</a:t>
            </a:r>
            <a:endParaRPr lang="da-DK" dirty="0"/>
          </a:p>
        </p:txBody>
      </p:sp>
      <p:sp>
        <p:nvSpPr>
          <p:cNvPr id="13" name="Pladsholder til tekst 10"/>
          <p:cNvSpPr>
            <a:spLocks noGrp="1"/>
          </p:cNvSpPr>
          <p:nvPr>
            <p:ph type="body" sz="quarter" idx="15" hasCustomPrompt="1"/>
          </p:nvPr>
        </p:nvSpPr>
        <p:spPr>
          <a:xfrm>
            <a:off x="682626" y="2915433"/>
            <a:ext cx="9796462" cy="305691"/>
          </a:xfrm>
        </p:spPr>
        <p:txBody>
          <a:bodyPr/>
          <a:lstStyle>
            <a:lvl1pPr>
              <a:lnSpc>
                <a:spcPct val="110000"/>
              </a:lnSpc>
              <a:defRPr sz="16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da-DK" dirty="0"/>
              <a:t>Klik, og tilføj titel og navn</a:t>
            </a:r>
            <a:endParaRPr lang="da-DK"/>
          </a:p>
          <a:p>
            <a:pPr lvl="1"/>
            <a:endParaRPr lang="da-DK" dirty="0"/>
          </a:p>
        </p:txBody>
      </p:sp>
      <p:sp>
        <p:nvSpPr>
          <p:cNvPr id="11" name="Linje 1"/>
          <p:cNvSpPr/>
          <p:nvPr userDrawn="1"/>
        </p:nvSpPr>
        <p:spPr>
          <a:xfrm>
            <a:off x="0" y="5591647"/>
            <a:ext cx="12189600" cy="95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6" name="Linje 2"/>
          <p:cNvSpPr/>
          <p:nvPr userDrawn="1"/>
        </p:nvSpPr>
        <p:spPr>
          <a:xfrm>
            <a:off x="0" y="6100150"/>
            <a:ext cx="12189600" cy="95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7" name="Linje 3"/>
          <p:cNvSpPr/>
          <p:nvPr userDrawn="1"/>
        </p:nvSpPr>
        <p:spPr>
          <a:xfrm>
            <a:off x="0" y="6471079"/>
            <a:ext cx="12189600" cy="95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DDDDDE"/>
                </a:solidFill>
              </a:defRPr>
            </a:lvl1pPr>
          </a:lstStyle>
          <a:p>
            <a:r>
              <a:rPr lang="da-DK"/>
              <a:t>22. januar 2020</a:t>
            </a:r>
            <a:endParaRPr lang="da-DK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DDDDDE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DDDDDE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8" name="Billede 17">
            <a:extLst>
              <a:ext uri="{FF2B5EF4-FFF2-40B4-BE49-F238E27FC236}">
                <a16:creationId xmlns:a16="http://schemas.microsoft.com/office/drawing/2014/main" id="{D876B081-5778-44C3-B98A-552414056EB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000" y="403550"/>
            <a:ext cx="3090740" cy="1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508203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dsholder til billede 1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43200"/>
            <a:ext cx="12189600" cy="6814800"/>
          </a:xfrm>
          <a:solidFill>
            <a:schemeClr val="bg1">
              <a:lumMod val="95000"/>
            </a:schemeClr>
          </a:solidFill>
        </p:spPr>
        <p:txBody>
          <a:bodyPr tIns="720000" anchor="ctr" anchorCtr="0"/>
          <a:lstStyle>
            <a:lvl1pPr algn="ctr">
              <a:buFontTx/>
              <a:buNone/>
              <a:defRPr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526162" y="1040107"/>
            <a:ext cx="2978452" cy="13032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  <a:effectLst>
            <a:outerShdw dist="144000" dir="5400000" algn="t" rotWithShape="0">
              <a:srgbClr val="DDDDDE"/>
            </a:outerShdw>
          </a:effectLst>
        </p:spPr>
        <p:txBody>
          <a:bodyPr lIns="237600" tIns="237600" rIns="237600" bIns="396000" anchor="t" anchorCtr="0">
            <a:spAutoFit/>
          </a:bodyPr>
          <a:lstStyle>
            <a:lvl1pPr algn="l">
              <a:lnSpc>
                <a:spcPct val="106000"/>
              </a:lnSpc>
              <a:defRPr sz="2200"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Klik</a:t>
            </a:r>
            <a:r>
              <a:rPr lang="da-DK" dirty="0"/>
              <a:t>, </a:t>
            </a:r>
            <a:r>
              <a:rPr lang="da-DK" dirty="0" err="1"/>
              <a:t>og</a:t>
            </a:r>
            <a:r>
              <a:rPr lang="da-DK" dirty="0"/>
              <a:t> </a:t>
            </a:r>
            <a:r>
              <a:rPr lang="da-DK" dirty="0" err="1"/>
              <a:t>tilføj</a:t>
            </a:r>
            <a:r>
              <a:rPr lang="da-DK" dirty="0"/>
              <a:t> </a:t>
            </a:r>
            <a:r>
              <a:rPr lang="da-DK" dirty="0" err="1"/>
              <a:t>overskrift</a:t>
            </a:r>
            <a:r>
              <a:rPr lang="da-DK" dirty="0"/>
              <a:t> </a:t>
            </a:r>
            <a:endParaRPr lang="da-DK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2. januar 2020</a:t>
            </a:r>
            <a:endParaRPr lang="da-DK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Grøn top"/>
          <p:cNvSpPr/>
          <p:nvPr userDrawn="1"/>
        </p:nvSpPr>
        <p:spPr>
          <a:xfrm>
            <a:off x="0" y="0"/>
            <a:ext cx="12193200" cy="43561"/>
          </a:xfrm>
          <a:prstGeom prst="rect">
            <a:avLst/>
          </a:prstGeom>
          <a:solidFill>
            <a:srgbClr val="009E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7" name="Pladsholder til tekst 18"/>
          <p:cNvSpPr>
            <a:spLocks noGrp="1"/>
          </p:cNvSpPr>
          <p:nvPr>
            <p:ph type="body" sz="quarter" idx="16" hasCustomPrompt="1"/>
          </p:nvPr>
        </p:nvSpPr>
        <p:spPr>
          <a:xfrm>
            <a:off x="8524800" y="983827"/>
            <a:ext cx="2977200" cy="54000"/>
          </a:xfrm>
          <a:solidFill>
            <a:srgbClr val="DDDDDE"/>
          </a:solidFill>
        </p:spPr>
        <p:txBody>
          <a:bodyPr/>
          <a:lstStyle>
            <a:lvl1pPr>
              <a:buNone/>
              <a:defRPr sz="100"/>
            </a:lvl1pPr>
            <a:lvl2pPr marL="0" indent="0">
              <a:buNone/>
              <a:defRPr sz="100"/>
            </a:lvl2pPr>
            <a:lvl3pPr marL="216000" indent="0">
              <a:buNone/>
              <a:defRPr sz="100"/>
            </a:lvl3pPr>
            <a:lvl4pPr marL="432000" indent="0">
              <a:buNone/>
              <a:defRPr sz="100"/>
            </a:lvl4pPr>
            <a:lvl5pPr marL="648000" indent="0">
              <a:buNone/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19" name="Pladsholder til tekst 18">
            <a:extLst>
              <a:ext uri="{FF2B5EF4-FFF2-40B4-BE49-F238E27FC236}">
                <a16:creationId xmlns:a16="http://schemas.microsoft.com/office/drawing/2014/main" id="{A6ABB9CE-9835-48C5-BC15-DAB9D3C590D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82626" y="403200"/>
            <a:ext cx="3090740" cy="198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0297789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med kass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dsholder til billede 1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43200"/>
            <a:ext cx="12189600" cy="6814800"/>
          </a:xfrm>
          <a:solidFill>
            <a:schemeClr val="tx1">
              <a:lumMod val="95000"/>
            </a:schemeClr>
          </a:solidFill>
        </p:spPr>
        <p:txBody>
          <a:bodyPr tIns="0" rIns="6336000" anchor="ctr" anchorCtr="0"/>
          <a:lstStyle>
            <a:lvl1pPr algn="r">
              <a:buFontTx/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8" name="Grøn top"/>
          <p:cNvSpPr/>
          <p:nvPr userDrawn="1"/>
        </p:nvSpPr>
        <p:spPr>
          <a:xfrm>
            <a:off x="0" y="0"/>
            <a:ext cx="12189600" cy="43561"/>
          </a:xfrm>
          <a:prstGeom prst="rect">
            <a:avLst/>
          </a:prstGeom>
          <a:solidFill>
            <a:srgbClr val="009E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7" name="Pladsholder til tekst 16"/>
          <p:cNvSpPr>
            <a:spLocks noGrp="1"/>
          </p:cNvSpPr>
          <p:nvPr>
            <p:ph type="body" sz="quarter" idx="15" hasCustomPrompt="1"/>
          </p:nvPr>
        </p:nvSpPr>
        <p:spPr>
          <a:xfrm>
            <a:off x="6437312" y="1039091"/>
            <a:ext cx="5068287" cy="3844800"/>
          </a:xfrm>
          <a:solidFill>
            <a:srgbClr val="373334"/>
          </a:solidFill>
          <a:effectLst>
            <a:outerShdw dist="144000" dir="5400000" algn="t" rotWithShape="0">
              <a:srgbClr val="DDDDDE"/>
            </a:outerShdw>
          </a:effectLst>
        </p:spPr>
        <p:txBody>
          <a:bodyPr/>
          <a:lstStyle>
            <a:lvl1pPr>
              <a:defRPr>
                <a:solidFill>
                  <a:srgbClr val="373334"/>
                </a:solidFill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15" name="Pladsholder til indhold 14"/>
          <p:cNvSpPr>
            <a:spLocks noGrp="1"/>
          </p:cNvSpPr>
          <p:nvPr>
            <p:ph sz="quarter" idx="14" hasCustomPrompt="1"/>
          </p:nvPr>
        </p:nvSpPr>
        <p:spPr>
          <a:xfrm>
            <a:off x="6652800" y="1301749"/>
            <a:ext cx="4640400" cy="3149113"/>
          </a:xfrm>
        </p:spPr>
        <p:txBody>
          <a:bodyPr/>
          <a:lstStyle>
            <a:lvl1pPr>
              <a:lnSpc>
                <a:spcPct val="140000"/>
              </a:lnSpc>
              <a:defRPr sz="1000" baseline="0"/>
            </a:lvl1pPr>
            <a:lvl2pPr>
              <a:lnSpc>
                <a:spcPct val="140000"/>
              </a:lnSpc>
              <a:defRPr sz="1000"/>
            </a:lvl2pPr>
            <a:lvl3pPr>
              <a:lnSpc>
                <a:spcPct val="140000"/>
              </a:lnSpc>
              <a:defRPr sz="1000"/>
            </a:lvl3pPr>
            <a:lvl4pPr>
              <a:lnSpc>
                <a:spcPct val="140000"/>
              </a:lnSpc>
              <a:defRPr sz="1000"/>
            </a:lvl4pPr>
            <a:lvl5pPr>
              <a:lnSpc>
                <a:spcPct val="140000"/>
              </a:lnSpc>
              <a:defRPr sz="1000"/>
            </a:lvl5pPr>
          </a:lstStyle>
          <a:p>
            <a:pPr lvl="0"/>
            <a:r>
              <a:rPr lang="da-DK" dirty="0"/>
              <a:t>Indsæt tabel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19" name="Pladsholder til tekst 18"/>
          <p:cNvSpPr>
            <a:spLocks noGrp="1"/>
          </p:cNvSpPr>
          <p:nvPr>
            <p:ph type="body" sz="quarter" idx="16" hasCustomPrompt="1"/>
          </p:nvPr>
        </p:nvSpPr>
        <p:spPr>
          <a:xfrm>
            <a:off x="6437312" y="983827"/>
            <a:ext cx="5068800" cy="54000"/>
          </a:xfrm>
          <a:solidFill>
            <a:srgbClr val="DDDDDE"/>
          </a:solidFill>
        </p:spPr>
        <p:txBody>
          <a:bodyPr/>
          <a:lstStyle>
            <a:lvl1pPr>
              <a:buNone/>
              <a:defRPr sz="100"/>
            </a:lvl1pPr>
            <a:lvl2pPr marL="0" indent="0">
              <a:buNone/>
              <a:defRPr sz="100"/>
            </a:lvl2pPr>
            <a:lvl3pPr marL="216000" indent="0">
              <a:buNone/>
              <a:defRPr sz="100"/>
            </a:lvl3pPr>
            <a:lvl4pPr marL="432000" indent="0">
              <a:buNone/>
              <a:defRPr sz="100"/>
            </a:lvl4pPr>
            <a:lvl5pPr marL="648000" indent="0">
              <a:buNone/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21" name="Pladsholder til tekst 20"/>
          <p:cNvSpPr>
            <a:spLocks noGrp="1"/>
          </p:cNvSpPr>
          <p:nvPr>
            <p:ph type="body" sz="quarter" idx="17" hasCustomPrompt="1"/>
          </p:nvPr>
        </p:nvSpPr>
        <p:spPr>
          <a:xfrm>
            <a:off x="6437313" y="4737637"/>
            <a:ext cx="5068800" cy="6350"/>
          </a:xfrm>
          <a:solidFill>
            <a:schemeClr val="tx1"/>
          </a:solidFill>
        </p:spPr>
        <p:txBody>
          <a:bodyPr/>
          <a:lstStyle>
            <a:lvl1pPr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22. januar 2020</a:t>
            </a:r>
            <a:endParaRPr lang="da-DK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3" name="Pladsholder til tekst 18">
            <a:extLst>
              <a:ext uri="{FF2B5EF4-FFF2-40B4-BE49-F238E27FC236}">
                <a16:creationId xmlns:a16="http://schemas.microsoft.com/office/drawing/2014/main" id="{12924540-DEE7-48BB-8125-D42B7712776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82626" y="403200"/>
            <a:ext cx="3090740" cy="19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542739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675630" y="1324212"/>
            <a:ext cx="9803458" cy="900000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, og tilføj agenda overskrift</a:t>
            </a:r>
            <a:endParaRPr lang="da-DK"/>
          </a:p>
        </p:txBody>
      </p:sp>
      <p:sp>
        <p:nvSpPr>
          <p:cNvPr id="9" name="Pladsholder til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682624" y="2481666"/>
            <a:ext cx="9796464" cy="3374621"/>
          </a:xfrm>
        </p:spPr>
        <p:txBody>
          <a:bodyPr/>
          <a:lstStyle>
            <a:lvl1pPr marL="180000" indent="-180000">
              <a:lnSpc>
                <a:spcPct val="135000"/>
              </a:lnSpc>
              <a:buFont typeface="Verdana" panose="020B0604030504040204" pitchFamily="34" charset="0"/>
              <a:buChar char="·"/>
              <a:defRPr sz="2200"/>
            </a:lvl1pPr>
            <a:lvl2pPr marL="360000" indent="-180000">
              <a:lnSpc>
                <a:spcPct val="135000"/>
              </a:lnSpc>
              <a:defRPr sz="2200"/>
            </a:lvl2pPr>
            <a:lvl3pPr marL="540000" indent="-180000">
              <a:lnSpc>
                <a:spcPct val="135000"/>
              </a:lnSpc>
              <a:defRPr sz="2200"/>
            </a:lvl3pPr>
            <a:lvl4pPr marL="720000" indent="-180000">
              <a:lnSpc>
                <a:spcPct val="135000"/>
              </a:lnSpc>
              <a:defRPr sz="2200"/>
            </a:lvl4pPr>
            <a:lvl5pPr marL="900000" indent="-180000">
              <a:lnSpc>
                <a:spcPct val="135000"/>
              </a:lnSpc>
              <a:defRPr sz="2200"/>
            </a:lvl5pPr>
            <a:lvl6pPr>
              <a:lnSpc>
                <a:spcPct val="135000"/>
              </a:lnSpc>
              <a:defRPr sz="2200"/>
            </a:lvl6pPr>
            <a:lvl7pPr>
              <a:lnSpc>
                <a:spcPct val="135000"/>
              </a:lnSpc>
              <a:defRPr sz="2200"/>
            </a:lvl7pPr>
            <a:lvl8pPr>
              <a:lnSpc>
                <a:spcPct val="135000"/>
              </a:lnSpc>
              <a:defRPr sz="2200"/>
            </a:lvl8pPr>
            <a:lvl9pPr>
              <a:lnSpc>
                <a:spcPct val="135000"/>
              </a:lnSpc>
              <a:defRPr sz="22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noProof="0"/>
              <a:t>22. januar 2020</a:t>
            </a:r>
            <a:endParaRPr lang="da-DK" noProof="0" dirty="0"/>
          </a:p>
        </p:txBody>
      </p:sp>
      <p:sp>
        <p:nvSpPr>
          <p:cNvPr id="4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noProof="0" smtClean="0"/>
              <a:pPr/>
              <a:t>‹nr.›</a:t>
            </a:fld>
            <a:endParaRPr lang="da-DK" noProof="0" dirty="0"/>
          </a:p>
        </p:txBody>
      </p:sp>
    </p:spTree>
    <p:extLst>
      <p:ext uri="{BB962C8B-B14F-4D97-AF65-F5344CB8AC3E}">
        <p14:creationId xmlns:p14="http://schemas.microsoft.com/office/powerpoint/2010/main" val="320789830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ørk grå 55-51-52"/>
          <p:cNvSpPr/>
          <p:nvPr userDrawn="1"/>
        </p:nvSpPr>
        <p:spPr>
          <a:xfrm>
            <a:off x="-1" y="1141200"/>
            <a:ext cx="12193200" cy="5716800"/>
          </a:xfrm>
          <a:prstGeom prst="rect">
            <a:avLst/>
          </a:prstGeom>
          <a:solidFill>
            <a:srgbClr val="3733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675630" y="1324212"/>
            <a:ext cx="9803458" cy="90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, og tilføj agenda overskrift</a:t>
            </a:r>
            <a:endParaRPr lang="da-DK"/>
          </a:p>
        </p:txBody>
      </p:sp>
      <p:sp>
        <p:nvSpPr>
          <p:cNvPr id="9" name="Pladsholder til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682624" y="2481666"/>
            <a:ext cx="9796464" cy="3374621"/>
          </a:xfrm>
        </p:spPr>
        <p:txBody>
          <a:bodyPr/>
          <a:lstStyle>
            <a:lvl1pPr marL="180000" indent="-180000">
              <a:lnSpc>
                <a:spcPct val="135000"/>
              </a:lnSpc>
              <a:buFont typeface="Verdana" panose="020B0604030504040204" pitchFamily="34" charset="0"/>
              <a:buChar char="·"/>
              <a:defRPr sz="2200">
                <a:solidFill>
                  <a:schemeClr val="bg1"/>
                </a:solidFill>
              </a:defRPr>
            </a:lvl1pPr>
            <a:lvl2pPr marL="360000" indent="-180000">
              <a:lnSpc>
                <a:spcPct val="135000"/>
              </a:lnSpc>
              <a:defRPr sz="2200">
                <a:solidFill>
                  <a:schemeClr val="bg1"/>
                </a:solidFill>
              </a:defRPr>
            </a:lvl2pPr>
            <a:lvl3pPr marL="540000" indent="-180000">
              <a:lnSpc>
                <a:spcPct val="135000"/>
              </a:lnSpc>
              <a:defRPr sz="2200">
                <a:solidFill>
                  <a:schemeClr val="bg1"/>
                </a:solidFill>
              </a:defRPr>
            </a:lvl3pPr>
            <a:lvl4pPr marL="720000" indent="-180000">
              <a:lnSpc>
                <a:spcPct val="135000"/>
              </a:lnSpc>
              <a:defRPr sz="2200">
                <a:solidFill>
                  <a:schemeClr val="bg1"/>
                </a:solidFill>
              </a:defRPr>
            </a:lvl4pPr>
            <a:lvl5pPr marL="900000" indent="-180000">
              <a:lnSpc>
                <a:spcPct val="135000"/>
              </a:lnSpc>
              <a:defRPr sz="2200">
                <a:solidFill>
                  <a:schemeClr val="bg1"/>
                </a:solidFill>
              </a:defRPr>
            </a:lvl5pPr>
            <a:lvl6pPr>
              <a:lnSpc>
                <a:spcPct val="135000"/>
              </a:lnSpc>
              <a:defRPr sz="2200"/>
            </a:lvl6pPr>
            <a:lvl7pPr>
              <a:lnSpc>
                <a:spcPct val="135000"/>
              </a:lnSpc>
              <a:defRPr sz="2200"/>
            </a:lvl7pPr>
            <a:lvl8pPr>
              <a:lnSpc>
                <a:spcPct val="135000"/>
              </a:lnSpc>
              <a:defRPr sz="2200"/>
            </a:lvl8pPr>
            <a:lvl9pPr>
              <a:lnSpc>
                <a:spcPct val="135000"/>
              </a:lnSpc>
              <a:defRPr sz="22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noProof="0"/>
              <a:t>22. januar 2020</a:t>
            </a:r>
            <a:endParaRPr lang="da-DK" noProof="0" dirty="0"/>
          </a:p>
        </p:txBody>
      </p:sp>
      <p:sp>
        <p:nvSpPr>
          <p:cNvPr id="4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noProof="0" smtClean="0"/>
              <a:pPr/>
              <a:t>‹nr.›</a:t>
            </a:fld>
            <a:endParaRPr lang="da-DK" noProof="0" dirty="0"/>
          </a:p>
        </p:txBody>
      </p:sp>
      <p:cxnSp>
        <p:nvCxnSpPr>
          <p:cNvPr id="8" name="Lige forbindelse 7"/>
          <p:cNvCxnSpPr/>
          <p:nvPr userDrawn="1"/>
        </p:nvCxnSpPr>
        <p:spPr>
          <a:xfrm>
            <a:off x="0" y="6675369"/>
            <a:ext cx="121920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844920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nktopstilling /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675630" y="1324212"/>
            <a:ext cx="9803458" cy="900000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84000" y="2553539"/>
            <a:ext cx="9795088" cy="33027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  <a:endParaRPr lang="da-DK" noProof="0" dirty="0"/>
          </a:p>
          <a:p>
            <a:pPr lvl="1"/>
            <a:r>
              <a:rPr lang="da-DK" noProof="0" dirty="0"/>
              <a:t>Second level</a:t>
            </a:r>
            <a:endParaRPr lang="da-DK"/>
          </a:p>
          <a:p>
            <a:pPr lvl="2"/>
            <a:r>
              <a:rPr lang="da-DK" noProof="0" dirty="0"/>
              <a:t>Third level</a:t>
            </a:r>
            <a:endParaRPr lang="da-DK"/>
          </a:p>
          <a:p>
            <a:pPr lvl="3"/>
            <a:r>
              <a:rPr lang="da-DK" noProof="0" dirty="0"/>
              <a:t>Fourth level</a:t>
            </a:r>
            <a:endParaRPr lang="da-DK"/>
          </a:p>
          <a:p>
            <a:pPr lvl="4"/>
            <a:r>
              <a:rPr lang="da-DK" noProof="0" dirty="0"/>
              <a:t>Fifth level</a:t>
            </a:r>
            <a:endParaRPr lang="da-DK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noProof="0"/>
              <a:t>22. januar 2020</a:t>
            </a:r>
            <a:endParaRPr lang="da-DK" noProof="0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da-DK" noProof="0" smtClean="0"/>
              <a:t>‹nr.›</a:t>
            </a:fld>
            <a:endParaRPr lang="da-DK" noProof="0" dirty="0"/>
          </a:p>
        </p:txBody>
      </p:sp>
    </p:spTree>
    <p:extLst>
      <p:ext uri="{BB962C8B-B14F-4D97-AF65-F5344CB8AC3E}">
        <p14:creationId xmlns:p14="http://schemas.microsoft.com/office/powerpoint/2010/main" val="109391295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6437312" y="43200"/>
            <a:ext cx="5754688" cy="6814800"/>
          </a:xfrm>
        </p:spPr>
        <p:txBody>
          <a:bodyPr tIns="648000" anchor="ctr" anchorCtr="0"/>
          <a:lstStyle>
            <a:lvl1pPr marL="0" indent="0" algn="ctr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675630" y="1324212"/>
            <a:ext cx="5079058" cy="900000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11" name="Pladsholder til tekst 10"/>
          <p:cNvSpPr>
            <a:spLocks noGrp="1"/>
          </p:cNvSpPr>
          <p:nvPr>
            <p:ph type="body" sz="quarter" idx="13" hasCustomPrompt="1"/>
          </p:nvPr>
        </p:nvSpPr>
        <p:spPr>
          <a:xfrm>
            <a:off x="682625" y="2552400"/>
            <a:ext cx="5072063" cy="33038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2. januar 2020</a:t>
            </a:r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03944518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kas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4"/>
          <p:cNvGrpSpPr>
            <a:grpSpLocks noChangeAspect="1"/>
          </p:cNvGrpSpPr>
          <p:nvPr userDrawn="1"/>
        </p:nvGrpSpPr>
        <p:grpSpPr bwMode="auto">
          <a:xfrm>
            <a:off x="6436099" y="982800"/>
            <a:ext cx="5070511" cy="5319235"/>
            <a:chOff x="1788" y="0"/>
            <a:chExt cx="4118" cy="4320"/>
          </a:xfrm>
        </p:grpSpPr>
        <p:sp>
          <p:nvSpPr>
            <p:cNvPr id="17" name="Rectangle 5"/>
            <p:cNvSpPr>
              <a:spLocks noChangeArrowheads="1"/>
            </p:cNvSpPr>
            <p:nvPr userDrawn="1"/>
          </p:nvSpPr>
          <p:spPr bwMode="auto">
            <a:xfrm>
              <a:off x="1789" y="43"/>
              <a:ext cx="4116" cy="4147"/>
            </a:xfrm>
            <a:prstGeom prst="rect">
              <a:avLst/>
            </a:prstGeom>
            <a:solidFill>
              <a:srgbClr val="3733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" name="Rectangle 6"/>
            <p:cNvSpPr>
              <a:spLocks noChangeArrowheads="1"/>
            </p:cNvSpPr>
            <p:nvPr userDrawn="1"/>
          </p:nvSpPr>
          <p:spPr bwMode="auto">
            <a:xfrm>
              <a:off x="1788" y="4190"/>
              <a:ext cx="4117" cy="130"/>
            </a:xfrm>
            <a:prstGeom prst="rect">
              <a:avLst/>
            </a:prstGeom>
            <a:solidFill>
              <a:srgbClr val="DBDC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1788" y="0"/>
              <a:ext cx="4117" cy="43"/>
            </a:xfrm>
            <a:prstGeom prst="rect">
              <a:avLst/>
            </a:prstGeom>
            <a:solidFill>
              <a:srgbClr val="DBDC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" name="Rectangle 8"/>
            <p:cNvSpPr>
              <a:spLocks noChangeArrowheads="1"/>
            </p:cNvSpPr>
            <p:nvPr userDrawn="1"/>
          </p:nvSpPr>
          <p:spPr bwMode="auto">
            <a:xfrm>
              <a:off x="1789" y="4064"/>
              <a:ext cx="4117" cy="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675630" y="1324212"/>
            <a:ext cx="5079058" cy="900000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11" name="Pladsholder til tekst 10"/>
          <p:cNvSpPr>
            <a:spLocks noGrp="1"/>
          </p:cNvSpPr>
          <p:nvPr>
            <p:ph type="body" sz="quarter" idx="13" hasCustomPrompt="1"/>
          </p:nvPr>
        </p:nvSpPr>
        <p:spPr>
          <a:xfrm>
            <a:off x="682625" y="2552400"/>
            <a:ext cx="5072063" cy="33038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23" name="Pladsholder til tekst 22"/>
          <p:cNvSpPr>
            <a:spLocks noGrp="1"/>
          </p:cNvSpPr>
          <p:nvPr>
            <p:ph type="body" sz="quarter" idx="14" hasCustomPrompt="1"/>
          </p:nvPr>
        </p:nvSpPr>
        <p:spPr>
          <a:xfrm>
            <a:off x="6674400" y="1323975"/>
            <a:ext cx="4593600" cy="605186"/>
          </a:xfrm>
        </p:spPr>
        <p:txBody>
          <a:bodyPr/>
          <a:lstStyle>
            <a:lvl1pPr>
              <a:lnSpc>
                <a:spcPct val="100000"/>
              </a:lnSpc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FontTx/>
              <a:buNone/>
              <a:defRPr sz="1800" b="1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FontTx/>
              <a:buNone/>
              <a:defRPr sz="1800" b="1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FontTx/>
              <a:buNone/>
              <a:defRPr sz="1800" b="1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buFontTx/>
              <a:buNone/>
              <a:defRPr sz="1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27" name="Pladsholder til tekst 26"/>
          <p:cNvSpPr>
            <a:spLocks noGrp="1"/>
          </p:cNvSpPr>
          <p:nvPr>
            <p:ph type="body" sz="quarter" idx="15" hasCustomPrompt="1"/>
          </p:nvPr>
        </p:nvSpPr>
        <p:spPr>
          <a:xfrm>
            <a:off x="6674400" y="2085724"/>
            <a:ext cx="4593600" cy="37705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  <a:lvl2pPr>
              <a:lnSpc>
                <a:spcPct val="125000"/>
              </a:lnSpc>
              <a:defRPr sz="1200">
                <a:solidFill>
                  <a:schemeClr val="bg1"/>
                </a:solidFill>
              </a:defRPr>
            </a:lvl2pPr>
            <a:lvl3pPr>
              <a:lnSpc>
                <a:spcPct val="125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25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25000"/>
              </a:lnSpc>
              <a:defRPr sz="1200">
                <a:solidFill>
                  <a:schemeClr val="bg1"/>
                </a:solidFill>
              </a:defRPr>
            </a:lvl5pPr>
            <a:lvl6pPr>
              <a:lnSpc>
                <a:spcPct val="125000"/>
              </a:lnSpc>
              <a:defRPr sz="1200">
                <a:solidFill>
                  <a:schemeClr val="bg1"/>
                </a:solidFill>
              </a:defRPr>
            </a:lvl6pPr>
            <a:lvl7pPr>
              <a:lnSpc>
                <a:spcPct val="125000"/>
              </a:lnSpc>
              <a:defRPr sz="1200">
                <a:solidFill>
                  <a:schemeClr val="bg1"/>
                </a:solidFill>
              </a:defRPr>
            </a:lvl7pPr>
            <a:lvl8pPr>
              <a:lnSpc>
                <a:spcPct val="125000"/>
              </a:lnSpc>
              <a:defRPr sz="1200">
                <a:solidFill>
                  <a:schemeClr val="bg1"/>
                </a:solidFill>
              </a:defRPr>
            </a:lvl8pPr>
            <a:lvl9pPr>
              <a:lnSpc>
                <a:spcPct val="125000"/>
              </a:lnSpc>
              <a:defRPr sz="1200">
                <a:solidFill>
                  <a:schemeClr val="bg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  <a:p>
            <a:pPr lvl="5"/>
            <a:endParaRPr lang="da-DK" dirty="0"/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/>
              <a:t>22. januar 2020</a:t>
            </a:r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238118904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tekst /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Klik, og tilføj overskrift i maksimum to linj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82625" y="2552400"/>
            <a:ext cx="5072063" cy="33038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37312" y="2552400"/>
            <a:ext cx="5067301" cy="33038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/>
              <a:t>22. januar 2020</a:t>
            </a:r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4263932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C 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BEBEC"/>
          </a:solidFill>
          <a:ln w="3175">
            <a:noFill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4000"/>
              </a:lnSpc>
            </a:pPr>
            <a:endParaRPr lang="da-DK" sz="1800" dirty="0" err="1"/>
          </a:p>
        </p:txBody>
      </p:sp>
      <p:grpSp>
        <p:nvGrpSpPr>
          <p:cNvPr id="121" name="Lines"/>
          <p:cNvGrpSpPr/>
          <p:nvPr userDrawn="1"/>
        </p:nvGrpSpPr>
        <p:grpSpPr>
          <a:xfrm>
            <a:off x="-792" y="0"/>
            <a:ext cx="12298271" cy="6161964"/>
            <a:chOff x="-792" y="0"/>
            <a:chExt cx="12298271" cy="6161964"/>
          </a:xfrm>
        </p:grpSpPr>
        <p:sp>
          <p:nvSpPr>
            <p:cNvPr id="108" name="Freeform: Shape 107"/>
            <p:cNvSpPr>
              <a:spLocks/>
            </p:cNvSpPr>
            <p:nvPr userDrawn="1"/>
          </p:nvSpPr>
          <p:spPr bwMode="auto">
            <a:xfrm>
              <a:off x="5971967" y="0"/>
              <a:ext cx="6221233" cy="2661061"/>
            </a:xfrm>
            <a:custGeom>
              <a:avLst/>
              <a:gdLst>
                <a:gd name="connsiteX0" fmla="*/ 0 w 6221233"/>
                <a:gd name="connsiteY0" fmla="*/ 0 h 2661061"/>
                <a:gd name="connsiteX1" fmla="*/ 38482 w 6221233"/>
                <a:gd name="connsiteY1" fmla="*/ 0 h 2661061"/>
                <a:gd name="connsiteX2" fmla="*/ 6221233 w 6221233"/>
                <a:gd name="connsiteY2" fmla="*/ 2645019 h 2661061"/>
                <a:gd name="connsiteX3" fmla="*/ 6221233 w 6221233"/>
                <a:gd name="connsiteY3" fmla="*/ 2661061 h 2661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21233" h="2661061">
                  <a:moveTo>
                    <a:pt x="0" y="0"/>
                  </a:moveTo>
                  <a:lnTo>
                    <a:pt x="38482" y="0"/>
                  </a:lnTo>
                  <a:lnTo>
                    <a:pt x="6221233" y="2645019"/>
                  </a:lnTo>
                  <a:lnTo>
                    <a:pt x="6221233" y="2661061"/>
                  </a:lnTo>
                  <a:close/>
                </a:path>
              </a:pathLst>
            </a:custGeom>
            <a:solidFill>
              <a:srgbClr val="C1C3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06" name="Freeform: Shape 105"/>
            <p:cNvSpPr>
              <a:spLocks/>
            </p:cNvSpPr>
            <p:nvPr userDrawn="1"/>
          </p:nvSpPr>
          <p:spPr bwMode="auto">
            <a:xfrm>
              <a:off x="6239739" y="1"/>
              <a:ext cx="5953461" cy="2457299"/>
            </a:xfrm>
            <a:custGeom>
              <a:avLst/>
              <a:gdLst>
                <a:gd name="connsiteX0" fmla="*/ 0 w 5953461"/>
                <a:gd name="connsiteY0" fmla="*/ 0 h 2457299"/>
                <a:gd name="connsiteX1" fmla="*/ 36593 w 5953461"/>
                <a:gd name="connsiteY1" fmla="*/ 0 h 2457299"/>
                <a:gd name="connsiteX2" fmla="*/ 1445423 w 5953461"/>
                <a:gd name="connsiteY2" fmla="*/ 637927 h 2457299"/>
                <a:gd name="connsiteX3" fmla="*/ 2689583 w 5953461"/>
                <a:gd name="connsiteY3" fmla="*/ 1109504 h 2457299"/>
                <a:gd name="connsiteX4" fmla="*/ 3712662 w 5953461"/>
                <a:gd name="connsiteY4" fmla="*/ 1489513 h 2457299"/>
                <a:gd name="connsiteX5" fmla="*/ 5925012 w 5953461"/>
                <a:gd name="connsiteY5" fmla="*/ 2428089 h 2457299"/>
                <a:gd name="connsiteX6" fmla="*/ 5953461 w 5953461"/>
                <a:gd name="connsiteY6" fmla="*/ 2440341 h 2457299"/>
                <a:gd name="connsiteX7" fmla="*/ 5953461 w 5953461"/>
                <a:gd name="connsiteY7" fmla="*/ 2457299 h 2457299"/>
                <a:gd name="connsiteX8" fmla="*/ 5917389 w 5953461"/>
                <a:gd name="connsiteY8" fmla="*/ 2441825 h 2457299"/>
                <a:gd name="connsiteX9" fmla="*/ 3706563 w 5953461"/>
                <a:gd name="connsiteY9" fmla="*/ 1503248 h 2457299"/>
                <a:gd name="connsiteX10" fmla="*/ 2685009 w 5953461"/>
                <a:gd name="connsiteY10" fmla="*/ 1124765 h 2457299"/>
                <a:gd name="connsiteX11" fmla="*/ 1439324 w 5953461"/>
                <a:gd name="connsiteY11" fmla="*/ 651662 h 2457299"/>
                <a:gd name="connsiteX12" fmla="*/ 0 w 5953461"/>
                <a:gd name="connsiteY12" fmla="*/ 0 h 2457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3461" h="2457299">
                  <a:moveTo>
                    <a:pt x="0" y="0"/>
                  </a:moveTo>
                  <a:cubicBezTo>
                    <a:pt x="0" y="0"/>
                    <a:pt x="0" y="0"/>
                    <a:pt x="36593" y="0"/>
                  </a:cubicBezTo>
                  <a:cubicBezTo>
                    <a:pt x="501629" y="218238"/>
                    <a:pt x="972763" y="436476"/>
                    <a:pt x="1445423" y="637927"/>
                  </a:cubicBezTo>
                  <a:cubicBezTo>
                    <a:pt x="1854044" y="811907"/>
                    <a:pt x="2279437" y="962995"/>
                    <a:pt x="2689583" y="1109504"/>
                  </a:cubicBezTo>
                  <a:cubicBezTo>
                    <a:pt x="3026544" y="1230069"/>
                    <a:pt x="3375702" y="1353687"/>
                    <a:pt x="3712662" y="1489513"/>
                  </a:cubicBezTo>
                  <a:cubicBezTo>
                    <a:pt x="4455195" y="1788637"/>
                    <a:pt x="5202301" y="2113704"/>
                    <a:pt x="5925012" y="2428089"/>
                  </a:cubicBezTo>
                  <a:lnTo>
                    <a:pt x="5953461" y="2440341"/>
                  </a:lnTo>
                  <a:lnTo>
                    <a:pt x="5953461" y="2457299"/>
                  </a:lnTo>
                  <a:lnTo>
                    <a:pt x="5917389" y="2441825"/>
                  </a:lnTo>
                  <a:cubicBezTo>
                    <a:pt x="5196202" y="2127440"/>
                    <a:pt x="4449095" y="1802372"/>
                    <a:pt x="3706563" y="1503248"/>
                  </a:cubicBezTo>
                  <a:cubicBezTo>
                    <a:pt x="3369603" y="1367422"/>
                    <a:pt x="3021970" y="1243805"/>
                    <a:pt x="2685009" y="1124765"/>
                  </a:cubicBezTo>
                  <a:cubicBezTo>
                    <a:pt x="2273339" y="978256"/>
                    <a:pt x="1847945" y="825642"/>
                    <a:pt x="1439324" y="651662"/>
                  </a:cubicBezTo>
                  <a:cubicBezTo>
                    <a:pt x="955992" y="445633"/>
                    <a:pt x="474184" y="222817"/>
                    <a:pt x="0" y="0"/>
                  </a:cubicBezTo>
                  <a:close/>
                </a:path>
              </a:pathLst>
            </a:custGeom>
            <a:solidFill>
              <a:srgbClr val="C1C3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04" name="Freeform: Shape 103"/>
            <p:cNvSpPr>
              <a:spLocks/>
            </p:cNvSpPr>
            <p:nvPr userDrawn="1"/>
          </p:nvSpPr>
          <p:spPr bwMode="auto">
            <a:xfrm>
              <a:off x="6472236" y="1"/>
              <a:ext cx="5720965" cy="2253309"/>
            </a:xfrm>
            <a:custGeom>
              <a:avLst/>
              <a:gdLst>
                <a:gd name="connsiteX0" fmla="*/ 0 w 5720965"/>
                <a:gd name="connsiteY0" fmla="*/ 0 h 2253309"/>
                <a:gd name="connsiteX1" fmla="*/ 35073 w 5720965"/>
                <a:gd name="connsiteY1" fmla="*/ 0 h 2253309"/>
                <a:gd name="connsiteX2" fmla="*/ 1262628 w 5720965"/>
                <a:gd name="connsiteY2" fmla="*/ 585870 h 2253309"/>
                <a:gd name="connsiteX3" fmla="*/ 2485607 w 5720965"/>
                <a:gd name="connsiteY3" fmla="*/ 985604 h 2253309"/>
                <a:gd name="connsiteX4" fmla="*/ 3551521 w 5720965"/>
                <a:gd name="connsiteY4" fmla="*/ 1319733 h 2253309"/>
                <a:gd name="connsiteX5" fmla="*/ 4660895 w 5720965"/>
                <a:gd name="connsiteY5" fmla="*/ 1774583 h 2253309"/>
                <a:gd name="connsiteX6" fmla="*/ 5720965 w 5720965"/>
                <a:gd name="connsiteY6" fmla="*/ 2235408 h 2253309"/>
                <a:gd name="connsiteX7" fmla="*/ 5720965 w 5720965"/>
                <a:gd name="connsiteY7" fmla="*/ 2253309 h 2253309"/>
                <a:gd name="connsiteX8" fmla="*/ 4654223 w 5720965"/>
                <a:gd name="connsiteY8" fmla="*/ 1789268 h 2253309"/>
                <a:gd name="connsiteX9" fmla="*/ 3545421 w 5720965"/>
                <a:gd name="connsiteY9" fmla="*/ 1334990 h 2253309"/>
                <a:gd name="connsiteX10" fmla="*/ 2481032 w 5720965"/>
                <a:gd name="connsiteY10" fmla="*/ 1000861 h 2253309"/>
                <a:gd name="connsiteX11" fmla="*/ 1256528 w 5720965"/>
                <a:gd name="connsiteY11" fmla="*/ 601127 h 2253309"/>
                <a:gd name="connsiteX12" fmla="*/ 0 w 5720965"/>
                <a:gd name="connsiteY12" fmla="*/ 0 h 2253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0965" h="2253309">
                  <a:moveTo>
                    <a:pt x="0" y="0"/>
                  </a:moveTo>
                  <a:cubicBezTo>
                    <a:pt x="0" y="0"/>
                    <a:pt x="0" y="0"/>
                    <a:pt x="35073" y="0"/>
                  </a:cubicBezTo>
                  <a:cubicBezTo>
                    <a:pt x="437650" y="207496"/>
                    <a:pt x="847851" y="408888"/>
                    <a:pt x="1262628" y="585870"/>
                  </a:cubicBezTo>
                  <a:cubicBezTo>
                    <a:pt x="1659105" y="755223"/>
                    <a:pt x="2079980" y="872702"/>
                    <a:pt x="2485607" y="985604"/>
                  </a:cubicBezTo>
                  <a:cubicBezTo>
                    <a:pt x="2837862" y="1083249"/>
                    <a:pt x="3202316" y="1185471"/>
                    <a:pt x="3551521" y="1319733"/>
                  </a:cubicBezTo>
                  <a:cubicBezTo>
                    <a:pt x="3922075" y="1463912"/>
                    <a:pt x="4293010" y="1617626"/>
                    <a:pt x="4660895" y="1774583"/>
                  </a:cubicBezTo>
                  <a:lnTo>
                    <a:pt x="5720965" y="2235408"/>
                  </a:lnTo>
                  <a:lnTo>
                    <a:pt x="5720965" y="2253309"/>
                  </a:lnTo>
                  <a:lnTo>
                    <a:pt x="4654223" y="1789268"/>
                  </a:lnTo>
                  <a:cubicBezTo>
                    <a:pt x="4286529" y="1632502"/>
                    <a:pt x="3915975" y="1479169"/>
                    <a:pt x="3545421" y="1334990"/>
                  </a:cubicBezTo>
                  <a:cubicBezTo>
                    <a:pt x="3197741" y="1200728"/>
                    <a:pt x="2833287" y="1098506"/>
                    <a:pt x="2481032" y="1000861"/>
                  </a:cubicBezTo>
                  <a:cubicBezTo>
                    <a:pt x="2073881" y="886433"/>
                    <a:pt x="1654530" y="770480"/>
                    <a:pt x="1256528" y="601127"/>
                  </a:cubicBezTo>
                  <a:cubicBezTo>
                    <a:pt x="831077" y="419568"/>
                    <a:pt x="411727" y="212073"/>
                    <a:pt x="0" y="0"/>
                  </a:cubicBezTo>
                  <a:close/>
                </a:path>
              </a:pathLst>
            </a:custGeom>
            <a:solidFill>
              <a:srgbClr val="C0C2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00" name="Freeform: Shape 99"/>
            <p:cNvSpPr>
              <a:spLocks/>
            </p:cNvSpPr>
            <p:nvPr userDrawn="1"/>
          </p:nvSpPr>
          <p:spPr bwMode="auto">
            <a:xfrm>
              <a:off x="6687094" y="0"/>
              <a:ext cx="5506106" cy="2050042"/>
            </a:xfrm>
            <a:custGeom>
              <a:avLst/>
              <a:gdLst>
                <a:gd name="connsiteX0" fmla="*/ 0 w 5506106"/>
                <a:gd name="connsiteY0" fmla="*/ 0 h 2050042"/>
                <a:gd name="connsiteX1" fmla="*/ 33549 w 5506106"/>
                <a:gd name="connsiteY1" fmla="*/ 0 h 2050042"/>
                <a:gd name="connsiteX2" fmla="*/ 1088817 w 5506106"/>
                <a:gd name="connsiteY2" fmla="*/ 523538 h 2050042"/>
                <a:gd name="connsiteX3" fmla="*/ 2314880 w 5506106"/>
                <a:gd name="connsiteY3" fmla="*/ 863914 h 2050042"/>
                <a:gd name="connsiteX4" fmla="*/ 3406747 w 5506106"/>
                <a:gd name="connsiteY4" fmla="*/ 1150867 h 2050042"/>
                <a:gd name="connsiteX5" fmla="*/ 4514436 w 5506106"/>
                <a:gd name="connsiteY5" fmla="*/ 1599041 h 2050042"/>
                <a:gd name="connsiteX6" fmla="*/ 5506106 w 5506106"/>
                <a:gd name="connsiteY6" fmla="*/ 2033522 h 2050042"/>
                <a:gd name="connsiteX7" fmla="*/ 5506106 w 5506106"/>
                <a:gd name="connsiteY7" fmla="*/ 2050042 h 2050042"/>
                <a:gd name="connsiteX8" fmla="*/ 4508336 w 5506106"/>
                <a:gd name="connsiteY8" fmla="*/ 1614114 h 2050042"/>
                <a:gd name="connsiteX9" fmla="*/ 3400648 w 5506106"/>
                <a:gd name="connsiteY9" fmla="*/ 1166131 h 2050042"/>
                <a:gd name="connsiteX10" fmla="*/ 2311830 w 5506106"/>
                <a:gd name="connsiteY10" fmla="*/ 879177 h 2050042"/>
                <a:gd name="connsiteX11" fmla="*/ 1082718 w 5506106"/>
                <a:gd name="connsiteY11" fmla="*/ 537275 h 2050042"/>
                <a:gd name="connsiteX12" fmla="*/ 0 w 5506106"/>
                <a:gd name="connsiteY12" fmla="*/ 0 h 2050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506106" h="2050042">
                  <a:moveTo>
                    <a:pt x="0" y="0"/>
                  </a:moveTo>
                  <a:cubicBezTo>
                    <a:pt x="0" y="0"/>
                    <a:pt x="0" y="0"/>
                    <a:pt x="33549" y="0"/>
                  </a:cubicBezTo>
                  <a:cubicBezTo>
                    <a:pt x="378189" y="189267"/>
                    <a:pt x="728928" y="369377"/>
                    <a:pt x="1088817" y="523538"/>
                  </a:cubicBezTo>
                  <a:cubicBezTo>
                    <a:pt x="1485305" y="691436"/>
                    <a:pt x="1906193" y="778438"/>
                    <a:pt x="2314880" y="863914"/>
                  </a:cubicBezTo>
                  <a:cubicBezTo>
                    <a:pt x="2676294" y="938705"/>
                    <a:pt x="3051433" y="1016548"/>
                    <a:pt x="3406747" y="1150867"/>
                  </a:cubicBezTo>
                  <a:cubicBezTo>
                    <a:pt x="3777311" y="1290528"/>
                    <a:pt x="4147494" y="1442400"/>
                    <a:pt x="4514436" y="1599041"/>
                  </a:cubicBezTo>
                  <a:lnTo>
                    <a:pt x="5506106" y="2033522"/>
                  </a:lnTo>
                  <a:lnTo>
                    <a:pt x="5506106" y="2050042"/>
                  </a:lnTo>
                  <a:lnTo>
                    <a:pt x="4508336" y="1614114"/>
                  </a:lnTo>
                  <a:cubicBezTo>
                    <a:pt x="4141394" y="1457663"/>
                    <a:pt x="3771211" y="1305792"/>
                    <a:pt x="3400648" y="1166131"/>
                  </a:cubicBezTo>
                  <a:cubicBezTo>
                    <a:pt x="3046858" y="1033338"/>
                    <a:pt x="2673244" y="955494"/>
                    <a:pt x="2311830" y="879177"/>
                  </a:cubicBezTo>
                  <a:cubicBezTo>
                    <a:pt x="1903143" y="795228"/>
                    <a:pt x="1479206" y="706700"/>
                    <a:pt x="1082718" y="537275"/>
                  </a:cubicBezTo>
                  <a:cubicBezTo>
                    <a:pt x="713679" y="380061"/>
                    <a:pt x="352265" y="195373"/>
                    <a:pt x="0" y="0"/>
                  </a:cubicBezTo>
                  <a:close/>
                </a:path>
              </a:pathLst>
            </a:custGeom>
            <a:solidFill>
              <a:srgbClr val="C0C2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02" name="Freeform: Shape 101"/>
            <p:cNvSpPr>
              <a:spLocks/>
            </p:cNvSpPr>
            <p:nvPr userDrawn="1"/>
          </p:nvSpPr>
          <p:spPr bwMode="auto">
            <a:xfrm>
              <a:off x="7019004" y="0"/>
              <a:ext cx="5174196" cy="1848116"/>
            </a:xfrm>
            <a:custGeom>
              <a:avLst/>
              <a:gdLst>
                <a:gd name="connsiteX0" fmla="*/ 0 w 5174196"/>
                <a:gd name="connsiteY0" fmla="*/ 0 h 1848116"/>
                <a:gd name="connsiteX1" fmla="*/ 35068 w 5174196"/>
                <a:gd name="connsiteY1" fmla="*/ 0 h 1848116"/>
                <a:gd name="connsiteX2" fmla="*/ 817222 w 5174196"/>
                <a:gd name="connsiteY2" fmla="*/ 378424 h 1848116"/>
                <a:gd name="connsiteX3" fmla="*/ 2050677 w 5174196"/>
                <a:gd name="connsiteY3" fmla="*/ 708019 h 1848116"/>
                <a:gd name="connsiteX4" fmla="*/ 3146913 w 5174196"/>
                <a:gd name="connsiteY4" fmla="*/ 982682 h 1848116"/>
                <a:gd name="connsiteX5" fmla="*/ 4752602 w 5174196"/>
                <a:gd name="connsiteY5" fmla="*/ 1642730 h 1848116"/>
                <a:gd name="connsiteX6" fmla="*/ 5174196 w 5174196"/>
                <a:gd name="connsiteY6" fmla="*/ 1829780 h 1848116"/>
                <a:gd name="connsiteX7" fmla="*/ 5174196 w 5174196"/>
                <a:gd name="connsiteY7" fmla="*/ 1848116 h 1848116"/>
                <a:gd name="connsiteX8" fmla="*/ 4751244 w 5174196"/>
                <a:gd name="connsiteY8" fmla="*/ 1660564 h 1848116"/>
                <a:gd name="connsiteX9" fmla="*/ 3142339 w 5174196"/>
                <a:gd name="connsiteY9" fmla="*/ 997941 h 1848116"/>
                <a:gd name="connsiteX10" fmla="*/ 2047628 w 5174196"/>
                <a:gd name="connsiteY10" fmla="*/ 724804 h 1848116"/>
                <a:gd name="connsiteX11" fmla="*/ 811123 w 5174196"/>
                <a:gd name="connsiteY11" fmla="*/ 393683 h 1848116"/>
                <a:gd name="connsiteX12" fmla="*/ 0 w 5174196"/>
                <a:gd name="connsiteY12" fmla="*/ 0 h 1848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4196" h="1848116">
                  <a:moveTo>
                    <a:pt x="0" y="0"/>
                  </a:moveTo>
                  <a:cubicBezTo>
                    <a:pt x="0" y="0"/>
                    <a:pt x="0" y="0"/>
                    <a:pt x="35068" y="0"/>
                  </a:cubicBezTo>
                  <a:cubicBezTo>
                    <a:pt x="291212" y="135805"/>
                    <a:pt x="551930" y="265507"/>
                    <a:pt x="817222" y="378424"/>
                  </a:cubicBezTo>
                  <a:cubicBezTo>
                    <a:pt x="1215160" y="547799"/>
                    <a:pt x="1640542" y="628672"/>
                    <a:pt x="2050677" y="708019"/>
                  </a:cubicBezTo>
                  <a:cubicBezTo>
                    <a:pt x="2415073" y="778211"/>
                    <a:pt x="2791666" y="849928"/>
                    <a:pt x="3146913" y="982682"/>
                  </a:cubicBezTo>
                  <a:cubicBezTo>
                    <a:pt x="3686645" y="1182957"/>
                    <a:pt x="4224662" y="1410698"/>
                    <a:pt x="4752602" y="1642730"/>
                  </a:cubicBezTo>
                  <a:lnTo>
                    <a:pt x="5174196" y="1829780"/>
                  </a:lnTo>
                  <a:lnTo>
                    <a:pt x="5174196" y="1848116"/>
                  </a:lnTo>
                  <a:lnTo>
                    <a:pt x="4751244" y="1660564"/>
                  </a:lnTo>
                  <a:cubicBezTo>
                    <a:pt x="4221803" y="1427673"/>
                    <a:pt x="3682071" y="1198216"/>
                    <a:pt x="3142339" y="997941"/>
                  </a:cubicBezTo>
                  <a:cubicBezTo>
                    <a:pt x="2787092" y="865187"/>
                    <a:pt x="2410499" y="793470"/>
                    <a:pt x="2047628" y="724804"/>
                  </a:cubicBezTo>
                  <a:cubicBezTo>
                    <a:pt x="1635968" y="645457"/>
                    <a:pt x="1209061" y="563058"/>
                    <a:pt x="811123" y="393683"/>
                  </a:cubicBezTo>
                  <a:cubicBezTo>
                    <a:pt x="535158" y="276189"/>
                    <a:pt x="265292" y="141909"/>
                    <a:pt x="0" y="0"/>
                  </a:cubicBezTo>
                  <a:close/>
                </a:path>
              </a:pathLst>
            </a:custGeom>
            <a:solidFill>
              <a:srgbClr val="BFC1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98" name="Freeform: Shape 97"/>
            <p:cNvSpPr>
              <a:spLocks/>
            </p:cNvSpPr>
            <p:nvPr userDrawn="1"/>
          </p:nvSpPr>
          <p:spPr bwMode="auto">
            <a:xfrm>
              <a:off x="7431084" y="1"/>
              <a:ext cx="4762117" cy="1646199"/>
            </a:xfrm>
            <a:custGeom>
              <a:avLst/>
              <a:gdLst>
                <a:gd name="connsiteX0" fmla="*/ 0 w 4762117"/>
                <a:gd name="connsiteY0" fmla="*/ 0 h 1646199"/>
                <a:gd name="connsiteX1" fmla="*/ 38126 w 4762117"/>
                <a:gd name="connsiteY1" fmla="*/ 0 h 1646199"/>
                <a:gd name="connsiteX2" fmla="*/ 465129 w 4762117"/>
                <a:gd name="connsiteY2" fmla="*/ 195245 h 1646199"/>
                <a:gd name="connsiteX3" fmla="*/ 1711065 w 4762117"/>
                <a:gd name="connsiteY3" fmla="*/ 533873 h 1646199"/>
                <a:gd name="connsiteX4" fmla="*/ 2807549 w 4762117"/>
                <a:gd name="connsiteY4" fmla="*/ 813012 h 1646199"/>
                <a:gd name="connsiteX5" fmla="*/ 4357844 w 4762117"/>
                <a:gd name="connsiteY5" fmla="*/ 1449012 h 1646199"/>
                <a:gd name="connsiteX6" fmla="*/ 4762117 w 4762117"/>
                <a:gd name="connsiteY6" fmla="*/ 1627882 h 1646199"/>
                <a:gd name="connsiteX7" fmla="*/ 4762117 w 4762117"/>
                <a:gd name="connsiteY7" fmla="*/ 1646199 h 1646199"/>
                <a:gd name="connsiteX8" fmla="*/ 4356677 w 4762117"/>
                <a:gd name="connsiteY8" fmla="*/ 1466863 h 1646199"/>
                <a:gd name="connsiteX9" fmla="*/ 2801449 w 4762117"/>
                <a:gd name="connsiteY9" fmla="*/ 829791 h 1646199"/>
                <a:gd name="connsiteX10" fmla="*/ 1706490 w 4762117"/>
                <a:gd name="connsiteY10" fmla="*/ 550652 h 1646199"/>
                <a:gd name="connsiteX11" fmla="*/ 457504 w 4762117"/>
                <a:gd name="connsiteY11" fmla="*/ 210499 h 1646199"/>
                <a:gd name="connsiteX12" fmla="*/ 0 w 4762117"/>
                <a:gd name="connsiteY12" fmla="*/ 0 h 1646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762117" h="1646199">
                  <a:moveTo>
                    <a:pt x="0" y="0"/>
                  </a:moveTo>
                  <a:cubicBezTo>
                    <a:pt x="0" y="0"/>
                    <a:pt x="0" y="0"/>
                    <a:pt x="38126" y="0"/>
                  </a:cubicBezTo>
                  <a:cubicBezTo>
                    <a:pt x="178427" y="68641"/>
                    <a:pt x="320253" y="134231"/>
                    <a:pt x="465129" y="195245"/>
                  </a:cubicBezTo>
                  <a:cubicBezTo>
                    <a:pt x="866208" y="366084"/>
                    <a:pt x="1294736" y="451504"/>
                    <a:pt x="1711065" y="533873"/>
                  </a:cubicBezTo>
                  <a:cubicBezTo>
                    <a:pt x="2074018" y="607090"/>
                    <a:pt x="2450696" y="681832"/>
                    <a:pt x="2807549" y="813012"/>
                  </a:cubicBezTo>
                  <a:cubicBezTo>
                    <a:pt x="3327960" y="1006350"/>
                    <a:pt x="3847513" y="1225429"/>
                    <a:pt x="4357844" y="1449012"/>
                  </a:cubicBezTo>
                  <a:lnTo>
                    <a:pt x="4762117" y="1627882"/>
                  </a:lnTo>
                  <a:lnTo>
                    <a:pt x="4762117" y="1646199"/>
                  </a:lnTo>
                  <a:lnTo>
                    <a:pt x="4356677" y="1466863"/>
                  </a:lnTo>
                  <a:cubicBezTo>
                    <a:pt x="3845130" y="1242494"/>
                    <a:pt x="3324147" y="1021985"/>
                    <a:pt x="2801449" y="829791"/>
                  </a:cubicBezTo>
                  <a:cubicBezTo>
                    <a:pt x="2446121" y="697085"/>
                    <a:pt x="2070968" y="622343"/>
                    <a:pt x="1706490" y="550652"/>
                  </a:cubicBezTo>
                  <a:cubicBezTo>
                    <a:pt x="1290161" y="468283"/>
                    <a:pt x="860108" y="381338"/>
                    <a:pt x="457504" y="210499"/>
                  </a:cubicBezTo>
                  <a:cubicBezTo>
                    <a:pt x="303478" y="144908"/>
                    <a:pt x="150977" y="74742"/>
                    <a:pt x="0" y="0"/>
                  </a:cubicBezTo>
                  <a:close/>
                </a:path>
              </a:pathLst>
            </a:custGeom>
            <a:solidFill>
              <a:srgbClr val="BFC1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96" name="Freeform: Shape 95"/>
            <p:cNvSpPr>
              <a:spLocks/>
            </p:cNvSpPr>
            <p:nvPr userDrawn="1"/>
          </p:nvSpPr>
          <p:spPr bwMode="auto">
            <a:xfrm>
              <a:off x="7897682" y="0"/>
              <a:ext cx="4295519" cy="1446479"/>
            </a:xfrm>
            <a:custGeom>
              <a:avLst/>
              <a:gdLst>
                <a:gd name="connsiteX0" fmla="*/ 0 w 4295519"/>
                <a:gd name="connsiteY0" fmla="*/ 0 h 1446479"/>
                <a:gd name="connsiteX1" fmla="*/ 42701 w 4295519"/>
                <a:gd name="connsiteY1" fmla="*/ 0 h 1446479"/>
                <a:gd name="connsiteX2" fmla="*/ 50326 w 4295519"/>
                <a:gd name="connsiteY2" fmla="*/ 3053 h 1446479"/>
                <a:gd name="connsiteX3" fmla="*/ 1310004 w 4295519"/>
                <a:gd name="connsiteY3" fmla="*/ 355626 h 1446479"/>
                <a:gd name="connsiteX4" fmla="*/ 2414128 w 4295519"/>
                <a:gd name="connsiteY4" fmla="*/ 645621 h 1446479"/>
                <a:gd name="connsiteX5" fmla="*/ 3908684 w 4295519"/>
                <a:gd name="connsiteY5" fmla="*/ 1256685 h 1446479"/>
                <a:gd name="connsiteX6" fmla="*/ 4295519 w 4295519"/>
                <a:gd name="connsiteY6" fmla="*/ 1427524 h 1446479"/>
                <a:gd name="connsiteX7" fmla="*/ 4295519 w 4295519"/>
                <a:gd name="connsiteY7" fmla="*/ 1446479 h 1446479"/>
                <a:gd name="connsiteX8" fmla="*/ 3410546 w 4295519"/>
                <a:gd name="connsiteY8" fmla="*/ 1061153 h 1446479"/>
                <a:gd name="connsiteX9" fmla="*/ 2408027 w 4295519"/>
                <a:gd name="connsiteY9" fmla="*/ 660884 h 1446479"/>
                <a:gd name="connsiteX10" fmla="*/ 1306953 w 4295519"/>
                <a:gd name="connsiteY10" fmla="*/ 372415 h 1446479"/>
                <a:gd name="connsiteX11" fmla="*/ 44226 w 4295519"/>
                <a:gd name="connsiteY11" fmla="*/ 18316 h 1446479"/>
                <a:gd name="connsiteX12" fmla="*/ 0 w 4295519"/>
                <a:gd name="connsiteY12" fmla="*/ 0 h 1446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95519" h="1446479">
                  <a:moveTo>
                    <a:pt x="0" y="0"/>
                  </a:moveTo>
                  <a:cubicBezTo>
                    <a:pt x="0" y="0"/>
                    <a:pt x="0" y="0"/>
                    <a:pt x="42701" y="0"/>
                  </a:cubicBezTo>
                  <a:cubicBezTo>
                    <a:pt x="45751" y="1526"/>
                    <a:pt x="47276" y="1526"/>
                    <a:pt x="50326" y="3053"/>
                  </a:cubicBezTo>
                  <a:cubicBezTo>
                    <a:pt x="455985" y="175523"/>
                    <a:pt x="890619" y="267101"/>
                    <a:pt x="1310004" y="355626"/>
                  </a:cubicBezTo>
                  <a:cubicBezTo>
                    <a:pt x="1676012" y="431940"/>
                    <a:pt x="2055745" y="512833"/>
                    <a:pt x="2414128" y="645621"/>
                  </a:cubicBezTo>
                  <a:cubicBezTo>
                    <a:pt x="2915101" y="831065"/>
                    <a:pt x="3416075" y="1041407"/>
                    <a:pt x="3908684" y="1256685"/>
                  </a:cubicBezTo>
                  <a:lnTo>
                    <a:pt x="4295519" y="1427524"/>
                  </a:lnTo>
                  <a:lnTo>
                    <a:pt x="4295519" y="1446479"/>
                  </a:lnTo>
                  <a:lnTo>
                    <a:pt x="3410546" y="1061153"/>
                  </a:lnTo>
                  <a:cubicBezTo>
                    <a:pt x="3078280" y="920734"/>
                    <a:pt x="2743535" y="785276"/>
                    <a:pt x="2408027" y="660884"/>
                  </a:cubicBezTo>
                  <a:cubicBezTo>
                    <a:pt x="2049645" y="528096"/>
                    <a:pt x="1672961" y="448729"/>
                    <a:pt x="1306953" y="372415"/>
                  </a:cubicBezTo>
                  <a:cubicBezTo>
                    <a:pt x="886044" y="283890"/>
                    <a:pt x="451410" y="192313"/>
                    <a:pt x="44226" y="18316"/>
                  </a:cubicBezTo>
                  <a:cubicBezTo>
                    <a:pt x="28976" y="12210"/>
                    <a:pt x="15251" y="6105"/>
                    <a:pt x="0" y="0"/>
                  </a:cubicBezTo>
                  <a:close/>
                </a:path>
              </a:pathLst>
            </a:custGeom>
            <a:solidFill>
              <a:srgbClr val="BEC0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94" name="Freeform: Shape 93"/>
            <p:cNvSpPr>
              <a:spLocks/>
            </p:cNvSpPr>
            <p:nvPr userDrawn="1"/>
          </p:nvSpPr>
          <p:spPr bwMode="auto">
            <a:xfrm>
              <a:off x="8503776" y="1"/>
              <a:ext cx="3689425" cy="1246175"/>
            </a:xfrm>
            <a:custGeom>
              <a:avLst/>
              <a:gdLst>
                <a:gd name="connsiteX0" fmla="*/ 0 w 3689425"/>
                <a:gd name="connsiteY0" fmla="*/ 0 h 1246175"/>
                <a:gd name="connsiteX1" fmla="*/ 62516 w 3689425"/>
                <a:gd name="connsiteY1" fmla="*/ 0 h 1246175"/>
                <a:gd name="connsiteX2" fmla="*/ 766959 w 3689425"/>
                <a:gd name="connsiteY2" fmla="*/ 172406 h 1246175"/>
                <a:gd name="connsiteX3" fmla="*/ 1880040 w 3689425"/>
                <a:gd name="connsiteY3" fmla="*/ 476024 h 1246175"/>
                <a:gd name="connsiteX4" fmla="*/ 2842931 w 3689425"/>
                <a:gd name="connsiteY4" fmla="*/ 859933 h 1246175"/>
                <a:gd name="connsiteX5" fmla="*/ 3689425 w 3689425"/>
                <a:gd name="connsiteY5" fmla="*/ 1227826 h 1246175"/>
                <a:gd name="connsiteX6" fmla="*/ 3689425 w 3689425"/>
                <a:gd name="connsiteY6" fmla="*/ 1246175 h 1246175"/>
                <a:gd name="connsiteX7" fmla="*/ 2839882 w 3689425"/>
                <a:gd name="connsiteY7" fmla="*/ 877288 h 1246175"/>
                <a:gd name="connsiteX8" fmla="*/ 1873941 w 3689425"/>
                <a:gd name="connsiteY8" fmla="*/ 491282 h 1246175"/>
                <a:gd name="connsiteX9" fmla="*/ 763909 w 3689425"/>
                <a:gd name="connsiteY9" fmla="*/ 189189 h 1246175"/>
                <a:gd name="connsiteX10" fmla="*/ 0 w 3689425"/>
                <a:gd name="connsiteY10" fmla="*/ 0 h 1246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689425" h="1246175">
                  <a:moveTo>
                    <a:pt x="0" y="0"/>
                  </a:moveTo>
                  <a:cubicBezTo>
                    <a:pt x="0" y="0"/>
                    <a:pt x="0" y="0"/>
                    <a:pt x="62516" y="0"/>
                  </a:cubicBezTo>
                  <a:cubicBezTo>
                    <a:pt x="297330" y="65606"/>
                    <a:pt x="533669" y="119006"/>
                    <a:pt x="766959" y="172406"/>
                  </a:cubicBezTo>
                  <a:cubicBezTo>
                    <a:pt x="1135953" y="254795"/>
                    <a:pt x="1518670" y="340235"/>
                    <a:pt x="1880040" y="476024"/>
                  </a:cubicBezTo>
                  <a:cubicBezTo>
                    <a:pt x="2201766" y="595793"/>
                    <a:pt x="2523492" y="725479"/>
                    <a:pt x="2842931" y="859933"/>
                  </a:cubicBezTo>
                  <a:lnTo>
                    <a:pt x="3689425" y="1227826"/>
                  </a:lnTo>
                  <a:lnTo>
                    <a:pt x="3689425" y="1246175"/>
                  </a:lnTo>
                  <a:lnTo>
                    <a:pt x="2839882" y="877288"/>
                  </a:lnTo>
                  <a:cubicBezTo>
                    <a:pt x="2519681" y="742262"/>
                    <a:pt x="2197192" y="611813"/>
                    <a:pt x="1873941" y="491282"/>
                  </a:cubicBezTo>
                  <a:cubicBezTo>
                    <a:pt x="1512571" y="357018"/>
                    <a:pt x="1131379" y="271578"/>
                    <a:pt x="763909" y="189189"/>
                  </a:cubicBezTo>
                  <a:cubicBezTo>
                    <a:pt x="510798" y="131212"/>
                    <a:pt x="253112" y="73235"/>
                    <a:pt x="0" y="0"/>
                  </a:cubicBezTo>
                  <a:close/>
                </a:path>
              </a:pathLst>
            </a:custGeom>
            <a:solidFill>
              <a:srgbClr val="BEC0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92" name="Freeform: Shape 91"/>
            <p:cNvSpPr>
              <a:spLocks/>
            </p:cNvSpPr>
            <p:nvPr userDrawn="1"/>
          </p:nvSpPr>
          <p:spPr bwMode="auto">
            <a:xfrm>
              <a:off x="9318316" y="0"/>
              <a:ext cx="2874885" cy="1047517"/>
            </a:xfrm>
            <a:custGeom>
              <a:avLst/>
              <a:gdLst>
                <a:gd name="connsiteX0" fmla="*/ 0 w 2874885"/>
                <a:gd name="connsiteY0" fmla="*/ 0 h 1047517"/>
                <a:gd name="connsiteX1" fmla="*/ 74706 w 2874885"/>
                <a:gd name="connsiteY1" fmla="*/ 0 h 1047517"/>
                <a:gd name="connsiteX2" fmla="*/ 1137358 w 2874885"/>
                <a:gd name="connsiteY2" fmla="*/ 306963 h 1047517"/>
                <a:gd name="connsiteX3" fmla="*/ 2063176 w 2874885"/>
                <a:gd name="connsiteY3" fmla="*/ 677113 h 1047517"/>
                <a:gd name="connsiteX4" fmla="*/ 2874885 w 2874885"/>
                <a:gd name="connsiteY4" fmla="*/ 1029085 h 1047517"/>
                <a:gd name="connsiteX5" fmla="*/ 2874885 w 2874885"/>
                <a:gd name="connsiteY5" fmla="*/ 1047517 h 1047517"/>
                <a:gd name="connsiteX6" fmla="*/ 2060127 w 2874885"/>
                <a:gd name="connsiteY6" fmla="*/ 695057 h 1047517"/>
                <a:gd name="connsiteX7" fmla="*/ 1131259 w 2874885"/>
                <a:gd name="connsiteY7" fmla="*/ 322235 h 1047517"/>
                <a:gd name="connsiteX8" fmla="*/ 7623 w 2874885"/>
                <a:gd name="connsiteY8" fmla="*/ 1527 h 1047517"/>
                <a:gd name="connsiteX9" fmla="*/ 0 w 2874885"/>
                <a:gd name="connsiteY9" fmla="*/ 0 h 1047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74885" h="1047517">
                  <a:moveTo>
                    <a:pt x="0" y="0"/>
                  </a:moveTo>
                  <a:cubicBezTo>
                    <a:pt x="0" y="0"/>
                    <a:pt x="0" y="0"/>
                    <a:pt x="74706" y="0"/>
                  </a:cubicBezTo>
                  <a:cubicBezTo>
                    <a:pt x="428415" y="85522"/>
                    <a:pt x="791272" y="175626"/>
                    <a:pt x="1137358" y="306963"/>
                  </a:cubicBezTo>
                  <a:cubicBezTo>
                    <a:pt x="1446854" y="423029"/>
                    <a:pt x="1755968" y="547876"/>
                    <a:pt x="2063176" y="677113"/>
                  </a:cubicBezTo>
                  <a:lnTo>
                    <a:pt x="2874885" y="1029085"/>
                  </a:lnTo>
                  <a:lnTo>
                    <a:pt x="2874885" y="1047517"/>
                  </a:lnTo>
                  <a:lnTo>
                    <a:pt x="2060127" y="695057"/>
                  </a:lnTo>
                  <a:cubicBezTo>
                    <a:pt x="1751775" y="565438"/>
                    <a:pt x="1441517" y="439828"/>
                    <a:pt x="1131259" y="322235"/>
                  </a:cubicBezTo>
                  <a:cubicBezTo>
                    <a:pt x="765353" y="184789"/>
                    <a:pt x="379627" y="91631"/>
                    <a:pt x="7623" y="1527"/>
                  </a:cubicBezTo>
                  <a:cubicBezTo>
                    <a:pt x="4574" y="1527"/>
                    <a:pt x="3049" y="0"/>
                    <a:pt x="0" y="0"/>
                  </a:cubicBezTo>
                  <a:close/>
                </a:path>
              </a:pathLst>
            </a:custGeom>
            <a:solidFill>
              <a:srgbClr val="BDBF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88" name="Freeform: Shape 87"/>
            <p:cNvSpPr>
              <a:spLocks/>
            </p:cNvSpPr>
            <p:nvPr userDrawn="1"/>
          </p:nvSpPr>
          <p:spPr bwMode="auto">
            <a:xfrm>
              <a:off x="10070322" y="1"/>
              <a:ext cx="2122879" cy="848745"/>
            </a:xfrm>
            <a:custGeom>
              <a:avLst/>
              <a:gdLst>
                <a:gd name="connsiteX0" fmla="*/ 0 w 2122879"/>
                <a:gd name="connsiteY0" fmla="*/ 0 h 848745"/>
                <a:gd name="connsiteX1" fmla="*/ 59450 w 2122879"/>
                <a:gd name="connsiteY1" fmla="*/ 0 h 848745"/>
                <a:gd name="connsiteX2" fmla="*/ 457306 w 2122879"/>
                <a:gd name="connsiteY2" fmla="*/ 135875 h 848745"/>
                <a:gd name="connsiteX3" fmla="*/ 1346575 w 2122879"/>
                <a:gd name="connsiteY3" fmla="*/ 494263 h 848745"/>
                <a:gd name="connsiteX4" fmla="*/ 2122879 w 2122879"/>
                <a:gd name="connsiteY4" fmla="*/ 828990 h 848745"/>
                <a:gd name="connsiteX5" fmla="*/ 2122879 w 2122879"/>
                <a:gd name="connsiteY5" fmla="*/ 848745 h 848745"/>
                <a:gd name="connsiteX6" fmla="*/ 1343526 w 2122879"/>
                <a:gd name="connsiteY6" fmla="*/ 512010 h 848745"/>
                <a:gd name="connsiteX7" fmla="*/ 451208 w 2122879"/>
                <a:gd name="connsiteY7" fmla="*/ 152668 h 848745"/>
                <a:gd name="connsiteX8" fmla="*/ 0 w 2122879"/>
                <a:gd name="connsiteY8" fmla="*/ 0 h 848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22879" h="848745">
                  <a:moveTo>
                    <a:pt x="0" y="0"/>
                  </a:moveTo>
                  <a:cubicBezTo>
                    <a:pt x="0" y="0"/>
                    <a:pt x="0" y="0"/>
                    <a:pt x="59450" y="0"/>
                  </a:cubicBezTo>
                  <a:cubicBezTo>
                    <a:pt x="193593" y="41220"/>
                    <a:pt x="327736" y="85494"/>
                    <a:pt x="457306" y="135875"/>
                  </a:cubicBezTo>
                  <a:cubicBezTo>
                    <a:pt x="754555" y="249612"/>
                    <a:pt x="1051422" y="370220"/>
                    <a:pt x="1346575" y="494263"/>
                  </a:cubicBezTo>
                  <a:lnTo>
                    <a:pt x="2122879" y="828990"/>
                  </a:lnTo>
                  <a:lnTo>
                    <a:pt x="2122879" y="848745"/>
                  </a:lnTo>
                  <a:lnTo>
                    <a:pt x="1343526" y="512010"/>
                  </a:lnTo>
                  <a:cubicBezTo>
                    <a:pt x="1047230" y="387395"/>
                    <a:pt x="749219" y="266406"/>
                    <a:pt x="451208" y="152668"/>
                  </a:cubicBezTo>
                  <a:cubicBezTo>
                    <a:pt x="303346" y="96181"/>
                    <a:pt x="152435" y="45800"/>
                    <a:pt x="0" y="0"/>
                  </a:cubicBezTo>
                  <a:close/>
                </a:path>
              </a:pathLst>
            </a:custGeom>
            <a:solidFill>
              <a:srgbClr val="BDBF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90" name="Freeform: Shape 89"/>
            <p:cNvSpPr>
              <a:spLocks/>
            </p:cNvSpPr>
            <p:nvPr userDrawn="1"/>
          </p:nvSpPr>
          <p:spPr bwMode="auto">
            <a:xfrm>
              <a:off x="10636331" y="0"/>
              <a:ext cx="1556869" cy="650052"/>
            </a:xfrm>
            <a:custGeom>
              <a:avLst/>
              <a:gdLst>
                <a:gd name="connsiteX0" fmla="*/ 0 w 1556869"/>
                <a:gd name="connsiteY0" fmla="*/ 0 h 650052"/>
                <a:gd name="connsiteX1" fmla="*/ 48810 w 1556869"/>
                <a:gd name="connsiteY1" fmla="*/ 0 h 650052"/>
                <a:gd name="connsiteX2" fmla="*/ 858181 w 1556869"/>
                <a:gd name="connsiteY2" fmla="*/ 329785 h 650052"/>
                <a:gd name="connsiteX3" fmla="*/ 1556869 w 1556869"/>
                <a:gd name="connsiteY3" fmla="*/ 630286 h 650052"/>
                <a:gd name="connsiteX4" fmla="*/ 1556869 w 1556869"/>
                <a:gd name="connsiteY4" fmla="*/ 650052 h 650052"/>
                <a:gd name="connsiteX5" fmla="*/ 833776 w 1556869"/>
                <a:gd name="connsiteY5" fmla="*/ 338558 h 650052"/>
                <a:gd name="connsiteX6" fmla="*/ 0 w 1556869"/>
                <a:gd name="connsiteY6" fmla="*/ 0 h 650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56869" h="650052">
                  <a:moveTo>
                    <a:pt x="0" y="0"/>
                  </a:moveTo>
                  <a:cubicBezTo>
                    <a:pt x="0" y="0"/>
                    <a:pt x="0" y="0"/>
                    <a:pt x="48810" y="0"/>
                  </a:cubicBezTo>
                  <a:cubicBezTo>
                    <a:pt x="318791" y="106050"/>
                    <a:pt x="589154" y="216677"/>
                    <a:pt x="858181" y="329785"/>
                  </a:cubicBezTo>
                  <a:lnTo>
                    <a:pt x="1556869" y="630286"/>
                  </a:lnTo>
                  <a:lnTo>
                    <a:pt x="1556869" y="650052"/>
                  </a:lnTo>
                  <a:lnTo>
                    <a:pt x="833776" y="338558"/>
                  </a:lnTo>
                  <a:cubicBezTo>
                    <a:pt x="556741" y="222018"/>
                    <a:pt x="278371" y="108339"/>
                    <a:pt x="0" y="0"/>
                  </a:cubicBezTo>
                  <a:close/>
                </a:path>
              </a:pathLst>
            </a:custGeom>
            <a:solidFill>
              <a:srgbClr val="BCBE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86" name="Freeform: Shape 85"/>
            <p:cNvSpPr>
              <a:spLocks/>
            </p:cNvSpPr>
            <p:nvPr userDrawn="1"/>
          </p:nvSpPr>
          <p:spPr bwMode="auto">
            <a:xfrm>
              <a:off x="11128582" y="1"/>
              <a:ext cx="1064618" cy="451877"/>
            </a:xfrm>
            <a:custGeom>
              <a:avLst/>
              <a:gdLst>
                <a:gd name="connsiteX0" fmla="*/ 0 w 1064618"/>
                <a:gd name="connsiteY0" fmla="*/ 0 h 451877"/>
                <a:gd name="connsiteX1" fmla="*/ 47302 w 1064618"/>
                <a:gd name="connsiteY1" fmla="*/ 0 h 451877"/>
                <a:gd name="connsiteX2" fmla="*/ 609587 w 1064618"/>
                <a:gd name="connsiteY2" fmla="*/ 234961 h 451877"/>
                <a:gd name="connsiteX3" fmla="*/ 1064618 w 1064618"/>
                <a:gd name="connsiteY3" fmla="*/ 431330 h 451877"/>
                <a:gd name="connsiteX4" fmla="*/ 1064618 w 1064618"/>
                <a:gd name="connsiteY4" fmla="*/ 451877 h 451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4618" h="451877">
                  <a:moveTo>
                    <a:pt x="0" y="0"/>
                  </a:moveTo>
                  <a:cubicBezTo>
                    <a:pt x="0" y="0"/>
                    <a:pt x="0" y="0"/>
                    <a:pt x="47302" y="0"/>
                  </a:cubicBezTo>
                  <a:cubicBezTo>
                    <a:pt x="234985" y="76987"/>
                    <a:pt x="422667" y="155498"/>
                    <a:pt x="609587" y="234961"/>
                  </a:cubicBezTo>
                  <a:lnTo>
                    <a:pt x="1064618" y="431330"/>
                  </a:lnTo>
                  <a:lnTo>
                    <a:pt x="1064618" y="451877"/>
                  </a:lnTo>
                  <a:close/>
                </a:path>
              </a:pathLst>
            </a:custGeom>
            <a:solidFill>
              <a:srgbClr val="BCBE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81" name="Freeform: Shape 80"/>
            <p:cNvSpPr>
              <a:spLocks/>
            </p:cNvSpPr>
            <p:nvPr userDrawn="1"/>
          </p:nvSpPr>
          <p:spPr bwMode="auto">
            <a:xfrm>
              <a:off x="11599989" y="0"/>
              <a:ext cx="593211" cy="254233"/>
            </a:xfrm>
            <a:custGeom>
              <a:avLst/>
              <a:gdLst>
                <a:gd name="connsiteX0" fmla="*/ 0 w 593211"/>
                <a:gd name="connsiteY0" fmla="*/ 0 h 254233"/>
                <a:gd name="connsiteX1" fmla="*/ 47308 w 593211"/>
                <a:gd name="connsiteY1" fmla="*/ 0 h 254233"/>
                <a:gd name="connsiteX2" fmla="*/ 593211 w 593211"/>
                <a:gd name="connsiteY2" fmla="*/ 234288 h 254233"/>
                <a:gd name="connsiteX3" fmla="*/ 593211 w 593211"/>
                <a:gd name="connsiteY3" fmla="*/ 254233 h 254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3211" h="254233">
                  <a:moveTo>
                    <a:pt x="0" y="0"/>
                  </a:moveTo>
                  <a:cubicBezTo>
                    <a:pt x="0" y="0"/>
                    <a:pt x="0" y="0"/>
                    <a:pt x="47308" y="0"/>
                  </a:cubicBezTo>
                  <a:lnTo>
                    <a:pt x="593211" y="234288"/>
                  </a:lnTo>
                  <a:lnTo>
                    <a:pt x="593211" y="254233"/>
                  </a:lnTo>
                  <a:close/>
                </a:path>
              </a:pathLst>
            </a:custGeom>
            <a:solidFill>
              <a:srgbClr val="BBBD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83" name="Freeform: Shape 82"/>
            <p:cNvSpPr>
              <a:spLocks/>
            </p:cNvSpPr>
            <p:nvPr userDrawn="1"/>
          </p:nvSpPr>
          <p:spPr bwMode="auto">
            <a:xfrm>
              <a:off x="12063380" y="0"/>
              <a:ext cx="129821" cy="55510"/>
            </a:xfrm>
            <a:custGeom>
              <a:avLst/>
              <a:gdLst>
                <a:gd name="connsiteX0" fmla="*/ 0 w 129821"/>
                <a:gd name="connsiteY0" fmla="*/ 0 h 55510"/>
                <a:gd name="connsiteX1" fmla="*/ 47417 w 129821"/>
                <a:gd name="connsiteY1" fmla="*/ 0 h 55510"/>
                <a:gd name="connsiteX2" fmla="*/ 129821 w 129821"/>
                <a:gd name="connsiteY2" fmla="*/ 35410 h 55510"/>
                <a:gd name="connsiteX3" fmla="*/ 129821 w 129821"/>
                <a:gd name="connsiteY3" fmla="*/ 55510 h 55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821" h="55510">
                  <a:moveTo>
                    <a:pt x="0" y="0"/>
                  </a:moveTo>
                  <a:cubicBezTo>
                    <a:pt x="0" y="0"/>
                    <a:pt x="0" y="0"/>
                    <a:pt x="47417" y="0"/>
                  </a:cubicBezTo>
                  <a:lnTo>
                    <a:pt x="129821" y="35410"/>
                  </a:lnTo>
                  <a:lnTo>
                    <a:pt x="129821" y="55510"/>
                  </a:lnTo>
                  <a:close/>
                </a:path>
              </a:pathLst>
            </a:custGeom>
            <a:solidFill>
              <a:srgbClr val="BBBD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30" name="Freeform 19"/>
            <p:cNvSpPr>
              <a:spLocks/>
            </p:cNvSpPr>
            <p:nvPr userDrawn="1"/>
          </p:nvSpPr>
          <p:spPr bwMode="auto">
            <a:xfrm>
              <a:off x="-792" y="6070568"/>
              <a:ext cx="218066" cy="91396"/>
            </a:xfrm>
            <a:custGeom>
              <a:avLst/>
              <a:gdLst>
                <a:gd name="T0" fmla="*/ 0 w 143"/>
                <a:gd name="T1" fmla="*/ 0 h 60"/>
                <a:gd name="T2" fmla="*/ 0 w 143"/>
                <a:gd name="T3" fmla="*/ 2 h 60"/>
                <a:gd name="T4" fmla="*/ 138 w 143"/>
                <a:gd name="T5" fmla="*/ 60 h 60"/>
                <a:gd name="T6" fmla="*/ 143 w 143"/>
                <a:gd name="T7" fmla="*/ 59 h 60"/>
                <a:gd name="T8" fmla="*/ 0 w 143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60">
                  <a:moveTo>
                    <a:pt x="0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46" y="22"/>
                    <a:pt x="92" y="41"/>
                    <a:pt x="138" y="60"/>
                  </a:cubicBezTo>
                  <a:cubicBezTo>
                    <a:pt x="143" y="59"/>
                    <a:pt x="143" y="59"/>
                    <a:pt x="143" y="59"/>
                  </a:cubicBezTo>
                  <a:cubicBezTo>
                    <a:pt x="95" y="40"/>
                    <a:pt x="48" y="20"/>
                    <a:pt x="0" y="0"/>
                  </a:cubicBezTo>
                  <a:close/>
                </a:path>
              </a:pathLst>
            </a:custGeom>
            <a:solidFill>
              <a:srgbClr val="D6D8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1" name="Freeform 20"/>
            <p:cNvSpPr>
              <a:spLocks/>
            </p:cNvSpPr>
            <p:nvPr userDrawn="1"/>
          </p:nvSpPr>
          <p:spPr bwMode="auto">
            <a:xfrm>
              <a:off x="-792" y="5838072"/>
              <a:ext cx="582044" cy="259755"/>
            </a:xfrm>
            <a:custGeom>
              <a:avLst/>
              <a:gdLst>
                <a:gd name="T0" fmla="*/ 77 w 381"/>
                <a:gd name="T1" fmla="*/ 35 h 170"/>
                <a:gd name="T2" fmla="*/ 0 w 381"/>
                <a:gd name="T3" fmla="*/ 0 h 170"/>
                <a:gd name="T4" fmla="*/ 0 w 381"/>
                <a:gd name="T5" fmla="*/ 3 h 170"/>
                <a:gd name="T6" fmla="*/ 75 w 381"/>
                <a:gd name="T7" fmla="*/ 37 h 170"/>
                <a:gd name="T8" fmla="*/ 376 w 381"/>
                <a:gd name="T9" fmla="*/ 170 h 170"/>
                <a:gd name="T10" fmla="*/ 381 w 381"/>
                <a:gd name="T11" fmla="*/ 170 h 170"/>
                <a:gd name="T12" fmla="*/ 77 w 381"/>
                <a:gd name="T13" fmla="*/ 35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1" h="170">
                  <a:moveTo>
                    <a:pt x="77" y="35"/>
                  </a:moveTo>
                  <a:cubicBezTo>
                    <a:pt x="51" y="23"/>
                    <a:pt x="26" y="12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6" y="14"/>
                    <a:pt x="51" y="26"/>
                    <a:pt x="75" y="37"/>
                  </a:cubicBezTo>
                  <a:cubicBezTo>
                    <a:pt x="174" y="82"/>
                    <a:pt x="274" y="127"/>
                    <a:pt x="376" y="170"/>
                  </a:cubicBezTo>
                  <a:cubicBezTo>
                    <a:pt x="381" y="170"/>
                    <a:pt x="381" y="170"/>
                    <a:pt x="381" y="170"/>
                  </a:cubicBezTo>
                  <a:cubicBezTo>
                    <a:pt x="278" y="126"/>
                    <a:pt x="177" y="80"/>
                    <a:pt x="77" y="35"/>
                  </a:cubicBezTo>
                  <a:close/>
                </a:path>
              </a:pathLst>
            </a:custGeom>
            <a:solidFill>
              <a:srgbClr val="D6D7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2" name="Freeform 21"/>
            <p:cNvSpPr>
              <a:spLocks/>
            </p:cNvSpPr>
            <p:nvPr userDrawn="1"/>
          </p:nvSpPr>
          <p:spPr bwMode="auto">
            <a:xfrm>
              <a:off x="-792" y="5637644"/>
              <a:ext cx="920366" cy="400856"/>
            </a:xfrm>
            <a:custGeom>
              <a:avLst/>
              <a:gdLst>
                <a:gd name="T0" fmla="*/ 116 w 603"/>
                <a:gd name="T1" fmla="*/ 53 h 263"/>
                <a:gd name="T2" fmla="*/ 0 w 603"/>
                <a:gd name="T3" fmla="*/ 0 h 263"/>
                <a:gd name="T4" fmla="*/ 0 w 603"/>
                <a:gd name="T5" fmla="*/ 3 h 263"/>
                <a:gd name="T6" fmla="*/ 115 w 603"/>
                <a:gd name="T7" fmla="*/ 56 h 263"/>
                <a:gd name="T8" fmla="*/ 597 w 603"/>
                <a:gd name="T9" fmla="*/ 263 h 263"/>
                <a:gd name="T10" fmla="*/ 603 w 603"/>
                <a:gd name="T11" fmla="*/ 262 h 263"/>
                <a:gd name="T12" fmla="*/ 116 w 603"/>
                <a:gd name="T13" fmla="*/ 53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3" h="263">
                  <a:moveTo>
                    <a:pt x="116" y="53"/>
                  </a:moveTo>
                  <a:cubicBezTo>
                    <a:pt x="78" y="36"/>
                    <a:pt x="39" y="18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9" y="21"/>
                    <a:pt x="77" y="38"/>
                    <a:pt x="115" y="56"/>
                  </a:cubicBezTo>
                  <a:cubicBezTo>
                    <a:pt x="273" y="128"/>
                    <a:pt x="434" y="202"/>
                    <a:pt x="597" y="263"/>
                  </a:cubicBezTo>
                  <a:cubicBezTo>
                    <a:pt x="603" y="262"/>
                    <a:pt x="603" y="262"/>
                    <a:pt x="603" y="262"/>
                  </a:cubicBezTo>
                  <a:cubicBezTo>
                    <a:pt x="438" y="201"/>
                    <a:pt x="275" y="126"/>
                    <a:pt x="116" y="53"/>
                  </a:cubicBezTo>
                  <a:close/>
                </a:path>
              </a:pathLst>
            </a:custGeom>
            <a:solidFill>
              <a:srgbClr val="D5D7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3" name="Freeform 22"/>
            <p:cNvSpPr>
              <a:spLocks/>
            </p:cNvSpPr>
            <p:nvPr userDrawn="1"/>
          </p:nvSpPr>
          <p:spPr bwMode="auto">
            <a:xfrm>
              <a:off x="-792" y="5435612"/>
              <a:ext cx="1308395" cy="535544"/>
            </a:xfrm>
            <a:custGeom>
              <a:avLst/>
              <a:gdLst>
                <a:gd name="T0" fmla="*/ 158 w 858"/>
                <a:gd name="T1" fmla="*/ 72 h 351"/>
                <a:gd name="T2" fmla="*/ 0 w 858"/>
                <a:gd name="T3" fmla="*/ 0 h 351"/>
                <a:gd name="T4" fmla="*/ 0 w 858"/>
                <a:gd name="T5" fmla="*/ 4 h 351"/>
                <a:gd name="T6" fmla="*/ 157 w 858"/>
                <a:gd name="T7" fmla="*/ 75 h 351"/>
                <a:gd name="T8" fmla="*/ 850 w 858"/>
                <a:gd name="T9" fmla="*/ 351 h 351"/>
                <a:gd name="T10" fmla="*/ 858 w 858"/>
                <a:gd name="T11" fmla="*/ 350 h 351"/>
                <a:gd name="T12" fmla="*/ 158 w 858"/>
                <a:gd name="T13" fmla="*/ 72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8" h="351">
                  <a:moveTo>
                    <a:pt x="158" y="72"/>
                  </a:moveTo>
                  <a:cubicBezTo>
                    <a:pt x="106" y="48"/>
                    <a:pt x="53" y="24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53" y="27"/>
                    <a:pt x="105" y="51"/>
                    <a:pt x="157" y="75"/>
                  </a:cubicBezTo>
                  <a:cubicBezTo>
                    <a:pt x="382" y="179"/>
                    <a:pt x="614" y="287"/>
                    <a:pt x="850" y="351"/>
                  </a:cubicBezTo>
                  <a:cubicBezTo>
                    <a:pt x="858" y="350"/>
                    <a:pt x="858" y="350"/>
                    <a:pt x="858" y="350"/>
                  </a:cubicBezTo>
                  <a:cubicBezTo>
                    <a:pt x="619" y="286"/>
                    <a:pt x="385" y="177"/>
                    <a:pt x="158" y="72"/>
                  </a:cubicBezTo>
                  <a:close/>
                </a:path>
              </a:pathLst>
            </a:custGeom>
            <a:solidFill>
              <a:srgbClr val="D5D6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4" name="Freeform 23"/>
            <p:cNvSpPr>
              <a:spLocks/>
            </p:cNvSpPr>
            <p:nvPr userDrawn="1"/>
          </p:nvSpPr>
          <p:spPr bwMode="auto">
            <a:xfrm>
              <a:off x="-792" y="5233581"/>
              <a:ext cx="1858370" cy="642973"/>
            </a:xfrm>
            <a:custGeom>
              <a:avLst/>
              <a:gdLst>
                <a:gd name="T0" fmla="*/ 944 w 1218"/>
                <a:gd name="T1" fmla="*/ 377 h 421"/>
                <a:gd name="T2" fmla="*/ 201 w 1218"/>
                <a:gd name="T3" fmla="*/ 92 h 421"/>
                <a:gd name="T4" fmla="*/ 0 w 1218"/>
                <a:gd name="T5" fmla="*/ 0 h 421"/>
                <a:gd name="T6" fmla="*/ 0 w 1218"/>
                <a:gd name="T7" fmla="*/ 4 h 421"/>
                <a:gd name="T8" fmla="*/ 199 w 1218"/>
                <a:gd name="T9" fmla="*/ 95 h 421"/>
                <a:gd name="T10" fmla="*/ 943 w 1218"/>
                <a:gd name="T11" fmla="*/ 380 h 421"/>
                <a:gd name="T12" fmla="*/ 1205 w 1218"/>
                <a:gd name="T13" fmla="*/ 421 h 421"/>
                <a:gd name="T14" fmla="*/ 1218 w 1218"/>
                <a:gd name="T15" fmla="*/ 418 h 421"/>
                <a:gd name="T16" fmla="*/ 944 w 1218"/>
                <a:gd name="T17" fmla="*/ 377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18" h="421">
                  <a:moveTo>
                    <a:pt x="944" y="377"/>
                  </a:moveTo>
                  <a:cubicBezTo>
                    <a:pt x="691" y="321"/>
                    <a:pt x="442" y="204"/>
                    <a:pt x="201" y="92"/>
                  </a:cubicBezTo>
                  <a:cubicBezTo>
                    <a:pt x="135" y="61"/>
                    <a:pt x="67" y="3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67" y="33"/>
                    <a:pt x="134" y="65"/>
                    <a:pt x="199" y="95"/>
                  </a:cubicBezTo>
                  <a:cubicBezTo>
                    <a:pt x="441" y="208"/>
                    <a:pt x="690" y="324"/>
                    <a:pt x="943" y="380"/>
                  </a:cubicBezTo>
                  <a:cubicBezTo>
                    <a:pt x="1030" y="399"/>
                    <a:pt x="1117" y="412"/>
                    <a:pt x="1205" y="421"/>
                  </a:cubicBezTo>
                  <a:cubicBezTo>
                    <a:pt x="1218" y="418"/>
                    <a:pt x="1218" y="418"/>
                    <a:pt x="1218" y="418"/>
                  </a:cubicBezTo>
                  <a:cubicBezTo>
                    <a:pt x="1126" y="410"/>
                    <a:pt x="1034" y="397"/>
                    <a:pt x="944" y="377"/>
                  </a:cubicBezTo>
                  <a:close/>
                </a:path>
              </a:pathLst>
            </a:custGeom>
            <a:solidFill>
              <a:srgbClr val="D4D6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5" name="Freeform 24"/>
            <p:cNvSpPr>
              <a:spLocks/>
            </p:cNvSpPr>
            <p:nvPr userDrawn="1"/>
          </p:nvSpPr>
          <p:spPr bwMode="auto">
            <a:xfrm>
              <a:off x="-792" y="5034756"/>
              <a:ext cx="3202040" cy="710317"/>
            </a:xfrm>
            <a:custGeom>
              <a:avLst/>
              <a:gdLst>
                <a:gd name="T0" fmla="*/ 2068 w 2100"/>
                <a:gd name="T1" fmla="*/ 397 h 466"/>
                <a:gd name="T2" fmla="*/ 994 w 2100"/>
                <a:gd name="T3" fmla="*/ 394 h 466"/>
                <a:gd name="T4" fmla="*/ 245 w 2100"/>
                <a:gd name="T5" fmla="*/ 111 h 466"/>
                <a:gd name="T6" fmla="*/ 0 w 2100"/>
                <a:gd name="T7" fmla="*/ 0 h 466"/>
                <a:gd name="T8" fmla="*/ 0 w 2100"/>
                <a:gd name="T9" fmla="*/ 3 h 466"/>
                <a:gd name="T10" fmla="*/ 243 w 2100"/>
                <a:gd name="T11" fmla="*/ 114 h 466"/>
                <a:gd name="T12" fmla="*/ 994 w 2100"/>
                <a:gd name="T13" fmla="*/ 397 h 466"/>
                <a:gd name="T14" fmla="*/ 2059 w 2100"/>
                <a:gd name="T15" fmla="*/ 402 h 466"/>
                <a:gd name="T16" fmla="*/ 2100 w 2100"/>
                <a:gd name="T17" fmla="*/ 394 h 466"/>
                <a:gd name="T18" fmla="*/ 2068 w 2100"/>
                <a:gd name="T19" fmla="*/ 397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00" h="466">
                  <a:moveTo>
                    <a:pt x="2068" y="397"/>
                  </a:moveTo>
                  <a:cubicBezTo>
                    <a:pt x="1712" y="430"/>
                    <a:pt x="1344" y="463"/>
                    <a:pt x="994" y="394"/>
                  </a:cubicBezTo>
                  <a:cubicBezTo>
                    <a:pt x="740" y="343"/>
                    <a:pt x="488" y="225"/>
                    <a:pt x="245" y="111"/>
                  </a:cubicBezTo>
                  <a:cubicBezTo>
                    <a:pt x="164" y="74"/>
                    <a:pt x="81" y="35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81" y="38"/>
                    <a:pt x="163" y="77"/>
                    <a:pt x="243" y="114"/>
                  </a:cubicBezTo>
                  <a:cubicBezTo>
                    <a:pt x="487" y="229"/>
                    <a:pt x="738" y="347"/>
                    <a:pt x="994" y="397"/>
                  </a:cubicBezTo>
                  <a:cubicBezTo>
                    <a:pt x="1340" y="466"/>
                    <a:pt x="1705" y="434"/>
                    <a:pt x="2059" y="402"/>
                  </a:cubicBezTo>
                  <a:cubicBezTo>
                    <a:pt x="2100" y="394"/>
                    <a:pt x="2100" y="394"/>
                    <a:pt x="2100" y="394"/>
                  </a:cubicBezTo>
                  <a:cubicBezTo>
                    <a:pt x="2089" y="395"/>
                    <a:pt x="2078" y="396"/>
                    <a:pt x="2068" y="397"/>
                  </a:cubicBezTo>
                  <a:close/>
                </a:path>
              </a:pathLst>
            </a:custGeom>
            <a:solidFill>
              <a:srgbClr val="D4D5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8" name="Freeform: Shape 77"/>
            <p:cNvSpPr>
              <a:spLocks/>
            </p:cNvSpPr>
            <p:nvPr userDrawn="1"/>
          </p:nvSpPr>
          <p:spPr bwMode="auto">
            <a:xfrm>
              <a:off x="-1" y="29070"/>
              <a:ext cx="10203407" cy="4377143"/>
            </a:xfrm>
            <a:custGeom>
              <a:avLst/>
              <a:gdLst>
                <a:gd name="connsiteX0" fmla="*/ 0 w 10204800"/>
                <a:gd name="connsiteY0" fmla="*/ 0 h 4377740"/>
                <a:gd name="connsiteX1" fmla="*/ 12323 w 10204800"/>
                <a:gd name="connsiteY1" fmla="*/ 5280 h 4377740"/>
                <a:gd name="connsiteX2" fmla="*/ 1762640 w 10204800"/>
                <a:gd name="connsiteY2" fmla="*/ 755145 h 4377740"/>
                <a:gd name="connsiteX3" fmla="*/ 2185053 w 10204800"/>
                <a:gd name="connsiteY3" fmla="*/ 952075 h 4377740"/>
                <a:gd name="connsiteX4" fmla="*/ 3302846 w 10204800"/>
                <a:gd name="connsiteY4" fmla="*/ 1368834 h 4377740"/>
                <a:gd name="connsiteX5" fmla="*/ 4754605 w 10204800"/>
                <a:gd name="connsiteY5" fmla="*/ 1139845 h 4377740"/>
                <a:gd name="connsiteX6" fmla="*/ 5045872 w 10204800"/>
                <a:gd name="connsiteY6" fmla="*/ 1051303 h 4377740"/>
                <a:gd name="connsiteX7" fmla="*/ 5103820 w 10204800"/>
                <a:gd name="connsiteY7" fmla="*/ 1034511 h 4377740"/>
                <a:gd name="connsiteX8" fmla="*/ 6657751 w 10204800"/>
                <a:gd name="connsiteY8" fmla="*/ 930703 h 4377740"/>
                <a:gd name="connsiteX9" fmla="*/ 7763344 w 10204800"/>
                <a:gd name="connsiteY9" fmla="*/ 2187085 h 4377740"/>
                <a:gd name="connsiteX10" fmla="*/ 7827393 w 10204800"/>
                <a:gd name="connsiteY10" fmla="*/ 2300053 h 4377740"/>
                <a:gd name="connsiteX11" fmla="*/ 7960064 w 10204800"/>
                <a:gd name="connsiteY11" fmla="*/ 2535147 h 4377740"/>
                <a:gd name="connsiteX12" fmla="*/ 8937561 w 10204800"/>
                <a:gd name="connsiteY12" fmla="*/ 3800690 h 4377740"/>
                <a:gd name="connsiteX13" fmla="*/ 10005031 w 10204800"/>
                <a:gd name="connsiteY13" fmla="*/ 4296831 h 4377740"/>
                <a:gd name="connsiteX14" fmla="*/ 10204800 w 10204800"/>
                <a:gd name="connsiteY14" fmla="*/ 4373160 h 4377740"/>
                <a:gd name="connsiteX15" fmla="*/ 10181926 w 10204800"/>
                <a:gd name="connsiteY15" fmla="*/ 4377740 h 4377740"/>
                <a:gd name="connsiteX16" fmla="*/ 10000456 w 10204800"/>
                <a:gd name="connsiteY16" fmla="*/ 4307517 h 4377740"/>
                <a:gd name="connsiteX17" fmla="*/ 8931461 w 10204800"/>
                <a:gd name="connsiteY17" fmla="*/ 3809849 h 4377740"/>
                <a:gd name="connsiteX18" fmla="*/ 7949389 w 10204800"/>
                <a:gd name="connsiteY18" fmla="*/ 2541254 h 4377740"/>
                <a:gd name="connsiteX19" fmla="*/ 7816718 w 10204800"/>
                <a:gd name="connsiteY19" fmla="*/ 2306159 h 4377740"/>
                <a:gd name="connsiteX20" fmla="*/ 7752670 w 10204800"/>
                <a:gd name="connsiteY20" fmla="*/ 2193192 h 4377740"/>
                <a:gd name="connsiteX21" fmla="*/ 6653176 w 10204800"/>
                <a:gd name="connsiteY21" fmla="*/ 941389 h 4377740"/>
                <a:gd name="connsiteX22" fmla="*/ 5106870 w 10204800"/>
                <a:gd name="connsiteY22" fmla="*/ 1045197 h 4377740"/>
                <a:gd name="connsiteX23" fmla="*/ 5048921 w 10204800"/>
                <a:gd name="connsiteY23" fmla="*/ 1063516 h 4377740"/>
                <a:gd name="connsiteX24" fmla="*/ 4759180 w 10204800"/>
                <a:gd name="connsiteY24" fmla="*/ 1152058 h 4377740"/>
                <a:gd name="connsiteX25" fmla="*/ 3299796 w 10204800"/>
                <a:gd name="connsiteY25" fmla="*/ 1381046 h 4377740"/>
                <a:gd name="connsiteX26" fmla="*/ 2180478 w 10204800"/>
                <a:gd name="connsiteY26" fmla="*/ 962761 h 4377740"/>
                <a:gd name="connsiteX27" fmla="*/ 1758065 w 10204800"/>
                <a:gd name="connsiteY27" fmla="*/ 765831 h 4377740"/>
                <a:gd name="connsiteX28" fmla="*/ 292956 w 10204800"/>
                <a:gd name="connsiteY28" fmla="*/ 138154 h 4377740"/>
                <a:gd name="connsiteX29" fmla="*/ 0 w 10204800"/>
                <a:gd name="connsiteY29" fmla="*/ 12647 h 4377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204800" h="4377740">
                  <a:moveTo>
                    <a:pt x="0" y="0"/>
                  </a:moveTo>
                  <a:lnTo>
                    <a:pt x="12323" y="5280"/>
                  </a:lnTo>
                  <a:cubicBezTo>
                    <a:pt x="95671" y="40988"/>
                    <a:pt x="429065" y="183819"/>
                    <a:pt x="1762640" y="755145"/>
                  </a:cubicBezTo>
                  <a:cubicBezTo>
                    <a:pt x="1899886" y="813155"/>
                    <a:pt x="2038657" y="880325"/>
                    <a:pt x="2185053" y="952075"/>
                  </a:cubicBezTo>
                  <a:cubicBezTo>
                    <a:pt x="2551042" y="1127633"/>
                    <a:pt x="2929232" y="1310823"/>
                    <a:pt x="3302846" y="1368834"/>
                  </a:cubicBezTo>
                  <a:cubicBezTo>
                    <a:pt x="3784732" y="1443636"/>
                    <a:pt x="4278818" y="1289451"/>
                    <a:pt x="4754605" y="1139845"/>
                  </a:cubicBezTo>
                  <a:cubicBezTo>
                    <a:pt x="4855252" y="1109313"/>
                    <a:pt x="4949799" y="1078782"/>
                    <a:pt x="5045872" y="1051303"/>
                  </a:cubicBezTo>
                  <a:cubicBezTo>
                    <a:pt x="5045872" y="1051303"/>
                    <a:pt x="5045872" y="1051303"/>
                    <a:pt x="5103820" y="1034511"/>
                  </a:cubicBezTo>
                  <a:cubicBezTo>
                    <a:pt x="5602481" y="887958"/>
                    <a:pt x="6169765" y="723087"/>
                    <a:pt x="6657751" y="930703"/>
                  </a:cubicBezTo>
                  <a:cubicBezTo>
                    <a:pt x="7173186" y="1149005"/>
                    <a:pt x="7487327" y="1700103"/>
                    <a:pt x="7763344" y="2187085"/>
                  </a:cubicBezTo>
                  <a:cubicBezTo>
                    <a:pt x="7784694" y="2225250"/>
                    <a:pt x="7806043" y="2263415"/>
                    <a:pt x="7827393" y="2300053"/>
                  </a:cubicBezTo>
                  <a:cubicBezTo>
                    <a:pt x="7871616" y="2376382"/>
                    <a:pt x="7914315" y="2454238"/>
                    <a:pt x="7960064" y="2535147"/>
                  </a:cubicBezTo>
                  <a:cubicBezTo>
                    <a:pt x="8223881" y="3012970"/>
                    <a:pt x="8498373" y="3506058"/>
                    <a:pt x="8937561" y="3800690"/>
                  </a:cubicBezTo>
                  <a:cubicBezTo>
                    <a:pt x="9250177" y="4011359"/>
                    <a:pt x="9632941" y="4156385"/>
                    <a:pt x="10005031" y="4296831"/>
                  </a:cubicBezTo>
                  <a:cubicBezTo>
                    <a:pt x="10072129" y="4322783"/>
                    <a:pt x="10139227" y="4347208"/>
                    <a:pt x="10204800" y="4373160"/>
                  </a:cubicBezTo>
                  <a:cubicBezTo>
                    <a:pt x="10204800" y="4373160"/>
                    <a:pt x="10204800" y="4373160"/>
                    <a:pt x="10181926" y="4377740"/>
                  </a:cubicBezTo>
                  <a:cubicBezTo>
                    <a:pt x="10122452" y="4354841"/>
                    <a:pt x="10061454" y="4331943"/>
                    <a:pt x="10000456" y="4307517"/>
                  </a:cubicBezTo>
                  <a:cubicBezTo>
                    <a:pt x="9628366" y="4167071"/>
                    <a:pt x="9244077" y="4022045"/>
                    <a:pt x="8931461" y="3809849"/>
                  </a:cubicBezTo>
                  <a:cubicBezTo>
                    <a:pt x="8489224" y="3513691"/>
                    <a:pt x="8214732" y="3019076"/>
                    <a:pt x="7949389" y="2541254"/>
                  </a:cubicBezTo>
                  <a:cubicBezTo>
                    <a:pt x="7903641" y="2460345"/>
                    <a:pt x="7860942" y="2382489"/>
                    <a:pt x="7816718" y="2306159"/>
                  </a:cubicBezTo>
                  <a:cubicBezTo>
                    <a:pt x="7795369" y="2269521"/>
                    <a:pt x="7774019" y="2231356"/>
                    <a:pt x="7752670" y="2193192"/>
                  </a:cubicBezTo>
                  <a:cubicBezTo>
                    <a:pt x="7478178" y="1707736"/>
                    <a:pt x="7165561" y="1158164"/>
                    <a:pt x="6653176" y="941389"/>
                  </a:cubicBezTo>
                  <a:cubicBezTo>
                    <a:pt x="6168240" y="735299"/>
                    <a:pt x="5604006" y="900171"/>
                    <a:pt x="5106870" y="1045197"/>
                  </a:cubicBezTo>
                  <a:cubicBezTo>
                    <a:pt x="5106870" y="1045197"/>
                    <a:pt x="5106870" y="1045197"/>
                    <a:pt x="5048921" y="1063516"/>
                  </a:cubicBezTo>
                  <a:cubicBezTo>
                    <a:pt x="4954374" y="1090995"/>
                    <a:pt x="4858302" y="1120000"/>
                    <a:pt x="4759180" y="1152058"/>
                  </a:cubicBezTo>
                  <a:cubicBezTo>
                    <a:pt x="4280343" y="1301664"/>
                    <a:pt x="3786257" y="1455849"/>
                    <a:pt x="3299796" y="1381046"/>
                  </a:cubicBezTo>
                  <a:cubicBezTo>
                    <a:pt x="2926182" y="1323036"/>
                    <a:pt x="2546468" y="1139845"/>
                    <a:pt x="2180478" y="962761"/>
                  </a:cubicBezTo>
                  <a:cubicBezTo>
                    <a:pt x="2032557" y="891011"/>
                    <a:pt x="1895311" y="823841"/>
                    <a:pt x="1758065" y="765831"/>
                  </a:cubicBezTo>
                  <a:cubicBezTo>
                    <a:pt x="1758065" y="765831"/>
                    <a:pt x="1758065" y="765831"/>
                    <a:pt x="292956" y="138154"/>
                  </a:cubicBezTo>
                  <a:lnTo>
                    <a:pt x="0" y="12647"/>
                  </a:lnTo>
                  <a:close/>
                </a:path>
              </a:pathLst>
            </a:custGeom>
            <a:solidFill>
              <a:srgbClr val="C8C9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37" name="Freeform 26"/>
            <p:cNvSpPr>
              <a:spLocks/>
            </p:cNvSpPr>
            <p:nvPr userDrawn="1"/>
          </p:nvSpPr>
          <p:spPr bwMode="auto">
            <a:xfrm>
              <a:off x="366392" y="0"/>
              <a:ext cx="10178543" cy="4345283"/>
            </a:xfrm>
            <a:custGeom>
              <a:avLst/>
              <a:gdLst>
                <a:gd name="T0" fmla="*/ 6673 w 6676"/>
                <a:gd name="T1" fmla="*/ 2843 h 2847"/>
                <a:gd name="T2" fmla="*/ 6368 w 6676"/>
                <a:gd name="T3" fmla="*/ 2722 h 2847"/>
                <a:gd name="T4" fmla="*/ 5668 w 6676"/>
                <a:gd name="T5" fmla="*/ 2398 h 2847"/>
                <a:gd name="T6" fmla="*/ 5018 w 6676"/>
                <a:gd name="T7" fmla="*/ 1599 h 2847"/>
                <a:gd name="T8" fmla="*/ 4934 w 6676"/>
                <a:gd name="T9" fmla="*/ 1458 h 2847"/>
                <a:gd name="T10" fmla="*/ 4897 w 6676"/>
                <a:gd name="T11" fmla="*/ 1398 h 2847"/>
                <a:gd name="T12" fmla="*/ 4161 w 6676"/>
                <a:gd name="T13" fmla="*/ 597 h 2847"/>
                <a:gd name="T14" fmla="*/ 3146 w 6676"/>
                <a:gd name="T15" fmla="*/ 634 h 2847"/>
                <a:gd name="T16" fmla="*/ 3109 w 6676"/>
                <a:gd name="T17" fmla="*/ 643 h 2847"/>
                <a:gd name="T18" fmla="*/ 2921 w 6676"/>
                <a:gd name="T19" fmla="*/ 692 h 2847"/>
                <a:gd name="T20" fmla="*/ 1972 w 6676"/>
                <a:gd name="T21" fmla="*/ 806 h 2847"/>
                <a:gd name="T22" fmla="*/ 1241 w 6676"/>
                <a:gd name="T23" fmla="*/ 531 h 2847"/>
                <a:gd name="T24" fmla="*/ 963 w 6676"/>
                <a:gd name="T25" fmla="*/ 403 h 2847"/>
                <a:gd name="T26" fmla="*/ 21 w 6676"/>
                <a:gd name="T27" fmla="*/ 0 h 2847"/>
                <a:gd name="T28" fmla="*/ 0 w 6676"/>
                <a:gd name="T29" fmla="*/ 0 h 2847"/>
                <a:gd name="T30" fmla="*/ 960 w 6676"/>
                <a:gd name="T31" fmla="*/ 410 h 2847"/>
                <a:gd name="T32" fmla="*/ 1238 w 6676"/>
                <a:gd name="T33" fmla="*/ 539 h 2847"/>
                <a:gd name="T34" fmla="*/ 1971 w 6676"/>
                <a:gd name="T35" fmla="*/ 814 h 2847"/>
                <a:gd name="T36" fmla="*/ 2923 w 6676"/>
                <a:gd name="T37" fmla="*/ 699 h 2847"/>
                <a:gd name="T38" fmla="*/ 3111 w 6676"/>
                <a:gd name="T39" fmla="*/ 651 h 2847"/>
                <a:gd name="T40" fmla="*/ 3148 w 6676"/>
                <a:gd name="T41" fmla="*/ 642 h 2847"/>
                <a:gd name="T42" fmla="*/ 4158 w 6676"/>
                <a:gd name="T43" fmla="*/ 604 h 2847"/>
                <a:gd name="T44" fmla="*/ 4890 w 6676"/>
                <a:gd name="T45" fmla="*/ 1402 h 2847"/>
                <a:gd name="T46" fmla="*/ 4927 w 6676"/>
                <a:gd name="T47" fmla="*/ 1463 h 2847"/>
                <a:gd name="T48" fmla="*/ 5011 w 6676"/>
                <a:gd name="T49" fmla="*/ 1603 h 2847"/>
                <a:gd name="T50" fmla="*/ 5663 w 6676"/>
                <a:gd name="T51" fmla="*/ 2405 h 2847"/>
                <a:gd name="T52" fmla="*/ 6365 w 6676"/>
                <a:gd name="T53" fmla="*/ 2730 h 2847"/>
                <a:gd name="T54" fmla="*/ 6661 w 6676"/>
                <a:gd name="T55" fmla="*/ 2847 h 2847"/>
                <a:gd name="T56" fmla="*/ 6676 w 6676"/>
                <a:gd name="T57" fmla="*/ 2845 h 2847"/>
                <a:gd name="T58" fmla="*/ 6673 w 6676"/>
                <a:gd name="T59" fmla="*/ 2843 h 28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676" h="2847">
                  <a:moveTo>
                    <a:pt x="6673" y="2843"/>
                  </a:moveTo>
                  <a:cubicBezTo>
                    <a:pt x="6575" y="2801"/>
                    <a:pt x="6474" y="2763"/>
                    <a:pt x="6368" y="2722"/>
                  </a:cubicBezTo>
                  <a:cubicBezTo>
                    <a:pt x="6125" y="2630"/>
                    <a:pt x="5875" y="2535"/>
                    <a:pt x="5668" y="2398"/>
                  </a:cubicBezTo>
                  <a:cubicBezTo>
                    <a:pt x="5381" y="2210"/>
                    <a:pt x="5196" y="1899"/>
                    <a:pt x="5018" y="1599"/>
                  </a:cubicBezTo>
                  <a:cubicBezTo>
                    <a:pt x="4990" y="1552"/>
                    <a:pt x="4962" y="1504"/>
                    <a:pt x="4934" y="1458"/>
                  </a:cubicBezTo>
                  <a:cubicBezTo>
                    <a:pt x="4921" y="1438"/>
                    <a:pt x="4909" y="1418"/>
                    <a:pt x="4897" y="1398"/>
                  </a:cubicBezTo>
                  <a:cubicBezTo>
                    <a:pt x="4710" y="1089"/>
                    <a:pt x="4498" y="739"/>
                    <a:pt x="4161" y="597"/>
                  </a:cubicBezTo>
                  <a:cubicBezTo>
                    <a:pt x="3844" y="462"/>
                    <a:pt x="3473" y="553"/>
                    <a:pt x="3146" y="634"/>
                  </a:cubicBezTo>
                  <a:cubicBezTo>
                    <a:pt x="3109" y="643"/>
                    <a:pt x="3109" y="643"/>
                    <a:pt x="3109" y="643"/>
                  </a:cubicBezTo>
                  <a:cubicBezTo>
                    <a:pt x="3047" y="658"/>
                    <a:pt x="2983" y="675"/>
                    <a:pt x="2921" y="692"/>
                  </a:cubicBezTo>
                  <a:cubicBezTo>
                    <a:pt x="2608" y="774"/>
                    <a:pt x="2285" y="859"/>
                    <a:pt x="1972" y="806"/>
                  </a:cubicBezTo>
                  <a:cubicBezTo>
                    <a:pt x="1727" y="765"/>
                    <a:pt x="1480" y="646"/>
                    <a:pt x="1241" y="531"/>
                  </a:cubicBezTo>
                  <a:cubicBezTo>
                    <a:pt x="1145" y="485"/>
                    <a:pt x="1054" y="441"/>
                    <a:pt x="963" y="403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60" y="410"/>
                    <a:pt x="960" y="410"/>
                    <a:pt x="960" y="410"/>
                  </a:cubicBezTo>
                  <a:cubicBezTo>
                    <a:pt x="1050" y="449"/>
                    <a:pt x="1141" y="492"/>
                    <a:pt x="1238" y="539"/>
                  </a:cubicBezTo>
                  <a:cubicBezTo>
                    <a:pt x="1477" y="654"/>
                    <a:pt x="1725" y="772"/>
                    <a:pt x="1971" y="814"/>
                  </a:cubicBezTo>
                  <a:cubicBezTo>
                    <a:pt x="2286" y="868"/>
                    <a:pt x="2610" y="782"/>
                    <a:pt x="2923" y="699"/>
                  </a:cubicBezTo>
                  <a:cubicBezTo>
                    <a:pt x="2985" y="683"/>
                    <a:pt x="3049" y="666"/>
                    <a:pt x="3111" y="651"/>
                  </a:cubicBezTo>
                  <a:cubicBezTo>
                    <a:pt x="3148" y="642"/>
                    <a:pt x="3148" y="642"/>
                    <a:pt x="3148" y="642"/>
                  </a:cubicBezTo>
                  <a:cubicBezTo>
                    <a:pt x="3474" y="561"/>
                    <a:pt x="3843" y="470"/>
                    <a:pt x="4158" y="604"/>
                  </a:cubicBezTo>
                  <a:cubicBezTo>
                    <a:pt x="4492" y="746"/>
                    <a:pt x="4703" y="1094"/>
                    <a:pt x="4890" y="1402"/>
                  </a:cubicBezTo>
                  <a:cubicBezTo>
                    <a:pt x="4902" y="1422"/>
                    <a:pt x="4915" y="1443"/>
                    <a:pt x="4927" y="1463"/>
                  </a:cubicBezTo>
                  <a:cubicBezTo>
                    <a:pt x="4955" y="1508"/>
                    <a:pt x="4983" y="1556"/>
                    <a:pt x="5011" y="1603"/>
                  </a:cubicBezTo>
                  <a:cubicBezTo>
                    <a:pt x="5190" y="1904"/>
                    <a:pt x="5375" y="2216"/>
                    <a:pt x="5663" y="2405"/>
                  </a:cubicBezTo>
                  <a:cubicBezTo>
                    <a:pt x="5871" y="2542"/>
                    <a:pt x="6122" y="2637"/>
                    <a:pt x="6365" y="2730"/>
                  </a:cubicBezTo>
                  <a:cubicBezTo>
                    <a:pt x="6468" y="2769"/>
                    <a:pt x="6566" y="2807"/>
                    <a:pt x="6661" y="2847"/>
                  </a:cubicBezTo>
                  <a:cubicBezTo>
                    <a:pt x="6676" y="2845"/>
                    <a:pt x="6676" y="2845"/>
                    <a:pt x="6676" y="2845"/>
                  </a:cubicBezTo>
                  <a:lnTo>
                    <a:pt x="6673" y="2843"/>
                  </a:lnTo>
                  <a:close/>
                </a:path>
              </a:pathLst>
            </a:custGeom>
            <a:solidFill>
              <a:srgbClr val="C7C9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8" name="Freeform 27"/>
            <p:cNvSpPr>
              <a:spLocks/>
            </p:cNvSpPr>
            <p:nvPr userDrawn="1"/>
          </p:nvSpPr>
          <p:spPr bwMode="auto">
            <a:xfrm>
              <a:off x="834592" y="0"/>
              <a:ext cx="10042252" cy="4285956"/>
            </a:xfrm>
            <a:custGeom>
              <a:avLst/>
              <a:gdLst>
                <a:gd name="T0" fmla="*/ 6413 w 6586"/>
                <a:gd name="T1" fmla="*/ 2732 h 2809"/>
                <a:gd name="T2" fmla="*/ 6108 w 6586"/>
                <a:gd name="T3" fmla="*/ 2611 h 2809"/>
                <a:gd name="T4" fmla="*/ 5408 w 6586"/>
                <a:gd name="T5" fmla="*/ 2288 h 2809"/>
                <a:gd name="T6" fmla="*/ 4731 w 6586"/>
                <a:gd name="T7" fmla="*/ 1470 h 2809"/>
                <a:gd name="T8" fmla="*/ 3894 w 6586"/>
                <a:gd name="T9" fmla="*/ 572 h 2809"/>
                <a:gd name="T10" fmla="*/ 2695 w 6586"/>
                <a:gd name="T11" fmla="*/ 601 h 2809"/>
                <a:gd name="T12" fmla="*/ 1712 w 6586"/>
                <a:gd name="T13" fmla="*/ 697 h 2809"/>
                <a:gd name="T14" fmla="*/ 983 w 6586"/>
                <a:gd name="T15" fmla="*/ 420 h 2809"/>
                <a:gd name="T16" fmla="*/ 704 w 6586"/>
                <a:gd name="T17" fmla="*/ 292 h 2809"/>
                <a:gd name="T18" fmla="*/ 21 w 6586"/>
                <a:gd name="T19" fmla="*/ 0 h 2809"/>
                <a:gd name="T20" fmla="*/ 0 w 6586"/>
                <a:gd name="T21" fmla="*/ 0 h 2809"/>
                <a:gd name="T22" fmla="*/ 700 w 6586"/>
                <a:gd name="T23" fmla="*/ 299 h 2809"/>
                <a:gd name="T24" fmla="*/ 979 w 6586"/>
                <a:gd name="T25" fmla="*/ 428 h 2809"/>
                <a:gd name="T26" fmla="*/ 1711 w 6586"/>
                <a:gd name="T27" fmla="*/ 705 h 2809"/>
                <a:gd name="T28" fmla="*/ 2696 w 6586"/>
                <a:gd name="T29" fmla="*/ 609 h 2809"/>
                <a:gd name="T30" fmla="*/ 3891 w 6586"/>
                <a:gd name="T31" fmla="*/ 579 h 2809"/>
                <a:gd name="T32" fmla="*/ 4724 w 6586"/>
                <a:gd name="T33" fmla="*/ 1475 h 2809"/>
                <a:gd name="T34" fmla="*/ 5403 w 6586"/>
                <a:gd name="T35" fmla="*/ 2295 h 2809"/>
                <a:gd name="T36" fmla="*/ 6105 w 6586"/>
                <a:gd name="T37" fmla="*/ 2618 h 2809"/>
                <a:gd name="T38" fmla="*/ 6410 w 6586"/>
                <a:gd name="T39" fmla="*/ 2740 h 2809"/>
                <a:gd name="T40" fmla="*/ 6571 w 6586"/>
                <a:gd name="T41" fmla="*/ 2809 h 2809"/>
                <a:gd name="T42" fmla="*/ 6586 w 6586"/>
                <a:gd name="T43" fmla="*/ 2806 h 2809"/>
                <a:gd name="T44" fmla="*/ 6413 w 6586"/>
                <a:gd name="T45" fmla="*/ 2732 h 2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586" h="2809">
                  <a:moveTo>
                    <a:pt x="6413" y="2732"/>
                  </a:moveTo>
                  <a:cubicBezTo>
                    <a:pt x="6315" y="2690"/>
                    <a:pt x="6209" y="2650"/>
                    <a:pt x="6108" y="2611"/>
                  </a:cubicBezTo>
                  <a:cubicBezTo>
                    <a:pt x="5867" y="2518"/>
                    <a:pt x="5617" y="2423"/>
                    <a:pt x="5408" y="2288"/>
                  </a:cubicBezTo>
                  <a:cubicBezTo>
                    <a:pt x="5110" y="2097"/>
                    <a:pt x="4917" y="1778"/>
                    <a:pt x="4731" y="1470"/>
                  </a:cubicBezTo>
                  <a:cubicBezTo>
                    <a:pt x="4513" y="1111"/>
                    <a:pt x="4288" y="739"/>
                    <a:pt x="3894" y="572"/>
                  </a:cubicBezTo>
                  <a:cubicBezTo>
                    <a:pt x="3512" y="409"/>
                    <a:pt x="3096" y="507"/>
                    <a:pt x="2695" y="601"/>
                  </a:cubicBezTo>
                  <a:cubicBezTo>
                    <a:pt x="2368" y="678"/>
                    <a:pt x="2031" y="757"/>
                    <a:pt x="1712" y="697"/>
                  </a:cubicBezTo>
                  <a:cubicBezTo>
                    <a:pt x="1467" y="651"/>
                    <a:pt x="1221" y="534"/>
                    <a:pt x="983" y="420"/>
                  </a:cubicBezTo>
                  <a:cubicBezTo>
                    <a:pt x="886" y="374"/>
                    <a:pt x="795" y="331"/>
                    <a:pt x="704" y="292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00" y="299"/>
                    <a:pt x="700" y="299"/>
                    <a:pt x="700" y="299"/>
                  </a:cubicBezTo>
                  <a:cubicBezTo>
                    <a:pt x="792" y="338"/>
                    <a:pt x="883" y="382"/>
                    <a:pt x="979" y="428"/>
                  </a:cubicBezTo>
                  <a:cubicBezTo>
                    <a:pt x="1218" y="541"/>
                    <a:pt x="1464" y="659"/>
                    <a:pt x="1711" y="705"/>
                  </a:cubicBezTo>
                  <a:cubicBezTo>
                    <a:pt x="2031" y="765"/>
                    <a:pt x="2370" y="686"/>
                    <a:pt x="2696" y="609"/>
                  </a:cubicBezTo>
                  <a:cubicBezTo>
                    <a:pt x="3097" y="515"/>
                    <a:pt x="3511" y="418"/>
                    <a:pt x="3891" y="579"/>
                  </a:cubicBezTo>
                  <a:cubicBezTo>
                    <a:pt x="4282" y="745"/>
                    <a:pt x="4507" y="1116"/>
                    <a:pt x="4724" y="1475"/>
                  </a:cubicBezTo>
                  <a:cubicBezTo>
                    <a:pt x="4910" y="1783"/>
                    <a:pt x="5104" y="2103"/>
                    <a:pt x="5403" y="2295"/>
                  </a:cubicBezTo>
                  <a:cubicBezTo>
                    <a:pt x="5613" y="2430"/>
                    <a:pt x="5863" y="2526"/>
                    <a:pt x="6105" y="2618"/>
                  </a:cubicBezTo>
                  <a:cubicBezTo>
                    <a:pt x="6206" y="2658"/>
                    <a:pt x="6312" y="2698"/>
                    <a:pt x="6410" y="2740"/>
                  </a:cubicBezTo>
                  <a:cubicBezTo>
                    <a:pt x="6571" y="2809"/>
                    <a:pt x="6571" y="2809"/>
                    <a:pt x="6571" y="2809"/>
                  </a:cubicBezTo>
                  <a:cubicBezTo>
                    <a:pt x="6586" y="2806"/>
                    <a:pt x="6586" y="2806"/>
                    <a:pt x="6586" y="2806"/>
                  </a:cubicBezTo>
                  <a:lnTo>
                    <a:pt x="6413" y="2732"/>
                  </a:lnTo>
                  <a:close/>
                </a:path>
              </a:pathLst>
            </a:custGeom>
            <a:solidFill>
              <a:srgbClr val="C7C8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9" name="Freeform 28"/>
            <p:cNvSpPr>
              <a:spLocks/>
            </p:cNvSpPr>
            <p:nvPr userDrawn="1"/>
          </p:nvSpPr>
          <p:spPr bwMode="auto">
            <a:xfrm>
              <a:off x="1301189" y="0"/>
              <a:ext cx="9905961" cy="4228233"/>
            </a:xfrm>
            <a:custGeom>
              <a:avLst/>
              <a:gdLst>
                <a:gd name="T0" fmla="*/ 6154 w 6497"/>
                <a:gd name="T1" fmla="*/ 2621 h 2771"/>
                <a:gd name="T2" fmla="*/ 5848 w 6497"/>
                <a:gd name="T3" fmla="*/ 2499 h 2771"/>
                <a:gd name="T4" fmla="*/ 5149 w 6497"/>
                <a:gd name="T5" fmla="*/ 2178 h 2771"/>
                <a:gd name="T6" fmla="*/ 4468 w 6497"/>
                <a:gd name="T7" fmla="*/ 1404 h 2771"/>
                <a:gd name="T8" fmla="*/ 3633 w 6497"/>
                <a:gd name="T9" fmla="*/ 552 h 2771"/>
                <a:gd name="T10" fmla="*/ 2435 w 6497"/>
                <a:gd name="T11" fmla="*/ 536 h 2771"/>
                <a:gd name="T12" fmla="*/ 1454 w 6497"/>
                <a:gd name="T13" fmla="*/ 588 h 2771"/>
                <a:gd name="T14" fmla="*/ 726 w 6497"/>
                <a:gd name="T15" fmla="*/ 309 h 2771"/>
                <a:gd name="T16" fmla="*/ 445 w 6497"/>
                <a:gd name="T17" fmla="*/ 181 h 2771"/>
                <a:gd name="T18" fmla="*/ 21 w 6497"/>
                <a:gd name="T19" fmla="*/ 0 h 2771"/>
                <a:gd name="T20" fmla="*/ 0 w 6497"/>
                <a:gd name="T21" fmla="*/ 0 h 2771"/>
                <a:gd name="T22" fmla="*/ 442 w 6497"/>
                <a:gd name="T23" fmla="*/ 189 h 2771"/>
                <a:gd name="T24" fmla="*/ 722 w 6497"/>
                <a:gd name="T25" fmla="*/ 317 h 2771"/>
                <a:gd name="T26" fmla="*/ 1452 w 6497"/>
                <a:gd name="T27" fmla="*/ 596 h 2771"/>
                <a:gd name="T28" fmla="*/ 2436 w 6497"/>
                <a:gd name="T29" fmla="*/ 544 h 2771"/>
                <a:gd name="T30" fmla="*/ 3630 w 6497"/>
                <a:gd name="T31" fmla="*/ 560 h 2771"/>
                <a:gd name="T32" fmla="*/ 4461 w 6497"/>
                <a:gd name="T33" fmla="*/ 1409 h 2771"/>
                <a:gd name="T34" fmla="*/ 5145 w 6497"/>
                <a:gd name="T35" fmla="*/ 2186 h 2771"/>
                <a:gd name="T36" fmla="*/ 5845 w 6497"/>
                <a:gd name="T37" fmla="*/ 2507 h 2771"/>
                <a:gd name="T38" fmla="*/ 6151 w 6497"/>
                <a:gd name="T39" fmla="*/ 2629 h 2771"/>
                <a:gd name="T40" fmla="*/ 6482 w 6497"/>
                <a:gd name="T41" fmla="*/ 2771 h 2771"/>
                <a:gd name="T42" fmla="*/ 6497 w 6497"/>
                <a:gd name="T43" fmla="*/ 2768 h 2771"/>
                <a:gd name="T44" fmla="*/ 6154 w 6497"/>
                <a:gd name="T45" fmla="*/ 2621 h 27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497" h="2771">
                  <a:moveTo>
                    <a:pt x="6154" y="2621"/>
                  </a:moveTo>
                  <a:cubicBezTo>
                    <a:pt x="6056" y="2579"/>
                    <a:pt x="5950" y="2538"/>
                    <a:pt x="5848" y="2499"/>
                  </a:cubicBezTo>
                  <a:cubicBezTo>
                    <a:pt x="5609" y="2406"/>
                    <a:pt x="5361" y="2311"/>
                    <a:pt x="5149" y="2178"/>
                  </a:cubicBezTo>
                  <a:cubicBezTo>
                    <a:pt x="4856" y="1995"/>
                    <a:pt x="4659" y="1695"/>
                    <a:pt x="4468" y="1404"/>
                  </a:cubicBezTo>
                  <a:cubicBezTo>
                    <a:pt x="4245" y="1065"/>
                    <a:pt x="4016" y="715"/>
                    <a:pt x="3633" y="552"/>
                  </a:cubicBezTo>
                  <a:cubicBezTo>
                    <a:pt x="3253" y="391"/>
                    <a:pt x="2837" y="465"/>
                    <a:pt x="2435" y="536"/>
                  </a:cubicBezTo>
                  <a:cubicBezTo>
                    <a:pt x="2109" y="594"/>
                    <a:pt x="1771" y="654"/>
                    <a:pt x="1454" y="588"/>
                  </a:cubicBezTo>
                  <a:cubicBezTo>
                    <a:pt x="1208" y="537"/>
                    <a:pt x="963" y="421"/>
                    <a:pt x="726" y="309"/>
                  </a:cubicBezTo>
                  <a:cubicBezTo>
                    <a:pt x="629" y="264"/>
                    <a:pt x="537" y="220"/>
                    <a:pt x="445" y="181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42" y="189"/>
                    <a:pt x="442" y="189"/>
                    <a:pt x="442" y="189"/>
                  </a:cubicBezTo>
                  <a:cubicBezTo>
                    <a:pt x="534" y="228"/>
                    <a:pt x="625" y="271"/>
                    <a:pt x="722" y="317"/>
                  </a:cubicBezTo>
                  <a:cubicBezTo>
                    <a:pt x="960" y="429"/>
                    <a:pt x="1205" y="545"/>
                    <a:pt x="1452" y="596"/>
                  </a:cubicBezTo>
                  <a:cubicBezTo>
                    <a:pt x="1771" y="662"/>
                    <a:pt x="2109" y="602"/>
                    <a:pt x="2436" y="544"/>
                  </a:cubicBezTo>
                  <a:cubicBezTo>
                    <a:pt x="2837" y="473"/>
                    <a:pt x="3252" y="399"/>
                    <a:pt x="3630" y="560"/>
                  </a:cubicBezTo>
                  <a:cubicBezTo>
                    <a:pt x="4010" y="722"/>
                    <a:pt x="4239" y="1071"/>
                    <a:pt x="4461" y="1409"/>
                  </a:cubicBezTo>
                  <a:cubicBezTo>
                    <a:pt x="4652" y="1700"/>
                    <a:pt x="4850" y="2002"/>
                    <a:pt x="5145" y="2186"/>
                  </a:cubicBezTo>
                  <a:cubicBezTo>
                    <a:pt x="5357" y="2318"/>
                    <a:pt x="5605" y="2414"/>
                    <a:pt x="5845" y="2507"/>
                  </a:cubicBezTo>
                  <a:cubicBezTo>
                    <a:pt x="5947" y="2546"/>
                    <a:pt x="6052" y="2587"/>
                    <a:pt x="6151" y="2629"/>
                  </a:cubicBezTo>
                  <a:cubicBezTo>
                    <a:pt x="6482" y="2771"/>
                    <a:pt x="6482" y="2771"/>
                    <a:pt x="6482" y="2771"/>
                  </a:cubicBezTo>
                  <a:cubicBezTo>
                    <a:pt x="6497" y="2768"/>
                    <a:pt x="6497" y="2768"/>
                    <a:pt x="6497" y="2768"/>
                  </a:cubicBezTo>
                  <a:lnTo>
                    <a:pt x="6154" y="2621"/>
                  </a:lnTo>
                  <a:close/>
                </a:path>
              </a:pathLst>
            </a:custGeom>
            <a:solidFill>
              <a:srgbClr val="C6C8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0" name="Rectangle 29"/>
            <p:cNvSpPr>
              <a:spLocks noChangeArrowheads="1"/>
            </p:cNvSpPr>
            <p:nvPr userDrawn="1"/>
          </p:nvSpPr>
          <p:spPr bwMode="auto">
            <a:xfrm>
              <a:off x="12295875" y="4489591"/>
              <a:ext cx="1604" cy="14431"/>
            </a:xfrm>
            <a:prstGeom prst="rect">
              <a:avLst/>
            </a:prstGeom>
            <a:solidFill>
              <a:srgbClr val="C6C7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1" name="Freeform 30"/>
            <p:cNvSpPr>
              <a:spLocks/>
            </p:cNvSpPr>
            <p:nvPr userDrawn="1"/>
          </p:nvSpPr>
          <p:spPr bwMode="auto">
            <a:xfrm>
              <a:off x="1767786" y="0"/>
              <a:ext cx="9769670" cy="4168906"/>
            </a:xfrm>
            <a:custGeom>
              <a:avLst/>
              <a:gdLst>
                <a:gd name="T0" fmla="*/ 5896 w 6408"/>
                <a:gd name="T1" fmla="*/ 2511 h 2732"/>
                <a:gd name="T2" fmla="*/ 5589 w 6408"/>
                <a:gd name="T3" fmla="*/ 2387 h 2732"/>
                <a:gd name="T4" fmla="*/ 4891 w 6408"/>
                <a:gd name="T5" fmla="*/ 2069 h 2732"/>
                <a:gd name="T6" fmla="*/ 4206 w 6408"/>
                <a:gd name="T7" fmla="*/ 1340 h 2732"/>
                <a:gd name="T8" fmla="*/ 3376 w 6408"/>
                <a:gd name="T9" fmla="*/ 538 h 2732"/>
                <a:gd name="T10" fmla="*/ 2177 w 6408"/>
                <a:gd name="T11" fmla="*/ 474 h 2732"/>
                <a:gd name="T12" fmla="*/ 1195 w 6408"/>
                <a:gd name="T13" fmla="*/ 480 h 2732"/>
                <a:gd name="T14" fmla="*/ 469 w 6408"/>
                <a:gd name="T15" fmla="*/ 199 h 2732"/>
                <a:gd name="T16" fmla="*/ 186 w 6408"/>
                <a:gd name="T17" fmla="*/ 70 h 2732"/>
                <a:gd name="T18" fmla="*/ 22 w 6408"/>
                <a:gd name="T19" fmla="*/ 0 h 2732"/>
                <a:gd name="T20" fmla="*/ 0 w 6408"/>
                <a:gd name="T21" fmla="*/ 0 h 2732"/>
                <a:gd name="T22" fmla="*/ 183 w 6408"/>
                <a:gd name="T23" fmla="*/ 78 h 2732"/>
                <a:gd name="T24" fmla="*/ 465 w 6408"/>
                <a:gd name="T25" fmla="*/ 206 h 2732"/>
                <a:gd name="T26" fmla="*/ 1194 w 6408"/>
                <a:gd name="T27" fmla="*/ 488 h 2732"/>
                <a:gd name="T28" fmla="*/ 2178 w 6408"/>
                <a:gd name="T29" fmla="*/ 482 h 2732"/>
                <a:gd name="T30" fmla="*/ 3372 w 6408"/>
                <a:gd name="T31" fmla="*/ 546 h 2732"/>
                <a:gd name="T32" fmla="*/ 4199 w 6408"/>
                <a:gd name="T33" fmla="*/ 1345 h 2732"/>
                <a:gd name="T34" fmla="*/ 4886 w 6408"/>
                <a:gd name="T35" fmla="*/ 2076 h 2732"/>
                <a:gd name="T36" fmla="*/ 5586 w 6408"/>
                <a:gd name="T37" fmla="*/ 2395 h 2732"/>
                <a:gd name="T38" fmla="*/ 5892 w 6408"/>
                <a:gd name="T39" fmla="*/ 2518 h 2732"/>
                <a:gd name="T40" fmla="*/ 6393 w 6408"/>
                <a:gd name="T41" fmla="*/ 2732 h 2732"/>
                <a:gd name="T42" fmla="*/ 6408 w 6408"/>
                <a:gd name="T43" fmla="*/ 2730 h 2732"/>
                <a:gd name="T44" fmla="*/ 5896 w 6408"/>
                <a:gd name="T45" fmla="*/ 2511 h 27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408" h="2732">
                  <a:moveTo>
                    <a:pt x="5896" y="2511"/>
                  </a:moveTo>
                  <a:cubicBezTo>
                    <a:pt x="5796" y="2468"/>
                    <a:pt x="5691" y="2427"/>
                    <a:pt x="5589" y="2387"/>
                  </a:cubicBezTo>
                  <a:cubicBezTo>
                    <a:pt x="5351" y="2294"/>
                    <a:pt x="5105" y="2198"/>
                    <a:pt x="4891" y="2069"/>
                  </a:cubicBezTo>
                  <a:cubicBezTo>
                    <a:pt x="4603" y="1895"/>
                    <a:pt x="4401" y="1613"/>
                    <a:pt x="4206" y="1340"/>
                  </a:cubicBezTo>
                  <a:cubicBezTo>
                    <a:pt x="3980" y="1023"/>
                    <a:pt x="3746" y="695"/>
                    <a:pt x="3376" y="538"/>
                  </a:cubicBezTo>
                  <a:cubicBezTo>
                    <a:pt x="2997" y="377"/>
                    <a:pt x="2580" y="426"/>
                    <a:pt x="2177" y="474"/>
                  </a:cubicBezTo>
                  <a:cubicBezTo>
                    <a:pt x="1850" y="512"/>
                    <a:pt x="1512" y="552"/>
                    <a:pt x="1195" y="480"/>
                  </a:cubicBezTo>
                  <a:cubicBezTo>
                    <a:pt x="949" y="423"/>
                    <a:pt x="705" y="309"/>
                    <a:pt x="469" y="199"/>
                  </a:cubicBezTo>
                  <a:cubicBezTo>
                    <a:pt x="376" y="155"/>
                    <a:pt x="280" y="110"/>
                    <a:pt x="186" y="7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83" y="78"/>
                    <a:pt x="183" y="78"/>
                    <a:pt x="183" y="78"/>
                  </a:cubicBezTo>
                  <a:cubicBezTo>
                    <a:pt x="276" y="118"/>
                    <a:pt x="372" y="163"/>
                    <a:pt x="465" y="206"/>
                  </a:cubicBezTo>
                  <a:cubicBezTo>
                    <a:pt x="702" y="317"/>
                    <a:pt x="946" y="432"/>
                    <a:pt x="1194" y="488"/>
                  </a:cubicBezTo>
                  <a:cubicBezTo>
                    <a:pt x="1512" y="561"/>
                    <a:pt x="1851" y="521"/>
                    <a:pt x="2178" y="482"/>
                  </a:cubicBezTo>
                  <a:cubicBezTo>
                    <a:pt x="2580" y="434"/>
                    <a:pt x="2996" y="385"/>
                    <a:pt x="3372" y="546"/>
                  </a:cubicBezTo>
                  <a:cubicBezTo>
                    <a:pt x="3740" y="702"/>
                    <a:pt x="3974" y="1029"/>
                    <a:pt x="4199" y="1345"/>
                  </a:cubicBezTo>
                  <a:cubicBezTo>
                    <a:pt x="4395" y="1618"/>
                    <a:pt x="4597" y="1901"/>
                    <a:pt x="4886" y="2076"/>
                  </a:cubicBezTo>
                  <a:cubicBezTo>
                    <a:pt x="5101" y="2206"/>
                    <a:pt x="5347" y="2302"/>
                    <a:pt x="5586" y="2395"/>
                  </a:cubicBezTo>
                  <a:cubicBezTo>
                    <a:pt x="5688" y="2435"/>
                    <a:pt x="5793" y="2476"/>
                    <a:pt x="5892" y="2518"/>
                  </a:cubicBezTo>
                  <a:cubicBezTo>
                    <a:pt x="6393" y="2732"/>
                    <a:pt x="6393" y="2732"/>
                    <a:pt x="6393" y="2732"/>
                  </a:cubicBezTo>
                  <a:cubicBezTo>
                    <a:pt x="6408" y="2730"/>
                    <a:pt x="6408" y="2730"/>
                    <a:pt x="6408" y="2730"/>
                  </a:cubicBezTo>
                  <a:lnTo>
                    <a:pt x="5896" y="2511"/>
                  </a:lnTo>
                  <a:close/>
                </a:path>
              </a:pathLst>
            </a:custGeom>
            <a:solidFill>
              <a:srgbClr val="C6C7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2" name="Freeform 31"/>
            <p:cNvSpPr>
              <a:spLocks/>
            </p:cNvSpPr>
            <p:nvPr userDrawn="1"/>
          </p:nvSpPr>
          <p:spPr bwMode="auto">
            <a:xfrm>
              <a:off x="12295875" y="4293973"/>
              <a:ext cx="0" cy="9621"/>
            </a:xfrm>
            <a:custGeom>
              <a:avLst/>
              <a:gdLst>
                <a:gd name="T0" fmla="*/ 6 h 6"/>
                <a:gd name="T1" fmla="*/ 0 h 6"/>
                <a:gd name="T2" fmla="*/ 6 h 6"/>
                <a:gd name="T3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C5C7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3" name="Freeform 32"/>
            <p:cNvSpPr>
              <a:spLocks/>
            </p:cNvSpPr>
            <p:nvPr userDrawn="1"/>
          </p:nvSpPr>
          <p:spPr bwMode="auto">
            <a:xfrm>
              <a:off x="2232779" y="0"/>
              <a:ext cx="9636585" cy="4111183"/>
            </a:xfrm>
            <a:custGeom>
              <a:avLst/>
              <a:gdLst>
                <a:gd name="T0" fmla="*/ 5638 w 6320"/>
                <a:gd name="T1" fmla="*/ 2400 h 2694"/>
                <a:gd name="T2" fmla="*/ 5330 w 6320"/>
                <a:gd name="T3" fmla="*/ 2275 h 2694"/>
                <a:gd name="T4" fmla="*/ 4634 w 6320"/>
                <a:gd name="T5" fmla="*/ 1960 h 2694"/>
                <a:gd name="T6" fmla="*/ 3947 w 6320"/>
                <a:gd name="T7" fmla="*/ 1278 h 2694"/>
                <a:gd name="T8" fmla="*/ 3122 w 6320"/>
                <a:gd name="T9" fmla="*/ 527 h 2694"/>
                <a:gd name="T10" fmla="*/ 1923 w 6320"/>
                <a:gd name="T11" fmla="*/ 413 h 2694"/>
                <a:gd name="T12" fmla="*/ 939 w 6320"/>
                <a:gd name="T13" fmla="*/ 372 h 2694"/>
                <a:gd name="T14" fmla="*/ 214 w 6320"/>
                <a:gd name="T15" fmla="*/ 88 h 2694"/>
                <a:gd name="T16" fmla="*/ 21 w 6320"/>
                <a:gd name="T17" fmla="*/ 0 h 2694"/>
                <a:gd name="T18" fmla="*/ 0 w 6320"/>
                <a:gd name="T19" fmla="*/ 0 h 2694"/>
                <a:gd name="T20" fmla="*/ 210 w 6320"/>
                <a:gd name="T21" fmla="*/ 96 h 2694"/>
                <a:gd name="T22" fmla="*/ 936 w 6320"/>
                <a:gd name="T23" fmla="*/ 380 h 2694"/>
                <a:gd name="T24" fmla="*/ 1923 w 6320"/>
                <a:gd name="T25" fmla="*/ 422 h 2694"/>
                <a:gd name="T26" fmla="*/ 3119 w 6320"/>
                <a:gd name="T27" fmla="*/ 535 h 2694"/>
                <a:gd name="T28" fmla="*/ 3940 w 6320"/>
                <a:gd name="T29" fmla="*/ 1283 h 2694"/>
                <a:gd name="T30" fmla="*/ 4629 w 6320"/>
                <a:gd name="T31" fmla="*/ 1967 h 2694"/>
                <a:gd name="T32" fmla="*/ 5327 w 6320"/>
                <a:gd name="T33" fmla="*/ 2283 h 2694"/>
                <a:gd name="T34" fmla="*/ 5635 w 6320"/>
                <a:gd name="T35" fmla="*/ 2408 h 2694"/>
                <a:gd name="T36" fmla="*/ 6305 w 6320"/>
                <a:gd name="T37" fmla="*/ 2694 h 2694"/>
                <a:gd name="T38" fmla="*/ 6320 w 6320"/>
                <a:gd name="T39" fmla="*/ 2691 h 2694"/>
                <a:gd name="T40" fmla="*/ 5638 w 6320"/>
                <a:gd name="T41" fmla="*/ 2400 h 2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320" h="2694">
                  <a:moveTo>
                    <a:pt x="5638" y="2400"/>
                  </a:moveTo>
                  <a:cubicBezTo>
                    <a:pt x="5538" y="2357"/>
                    <a:pt x="5432" y="2315"/>
                    <a:pt x="5330" y="2275"/>
                  </a:cubicBezTo>
                  <a:cubicBezTo>
                    <a:pt x="5094" y="2182"/>
                    <a:pt x="4849" y="2086"/>
                    <a:pt x="4634" y="1960"/>
                  </a:cubicBezTo>
                  <a:cubicBezTo>
                    <a:pt x="4352" y="1795"/>
                    <a:pt x="4146" y="1532"/>
                    <a:pt x="3947" y="1278"/>
                  </a:cubicBezTo>
                  <a:cubicBezTo>
                    <a:pt x="3717" y="983"/>
                    <a:pt x="3479" y="679"/>
                    <a:pt x="3122" y="527"/>
                  </a:cubicBezTo>
                  <a:cubicBezTo>
                    <a:pt x="2744" y="366"/>
                    <a:pt x="2326" y="390"/>
                    <a:pt x="1923" y="413"/>
                  </a:cubicBezTo>
                  <a:cubicBezTo>
                    <a:pt x="1595" y="432"/>
                    <a:pt x="1255" y="452"/>
                    <a:pt x="939" y="372"/>
                  </a:cubicBezTo>
                  <a:cubicBezTo>
                    <a:pt x="692" y="310"/>
                    <a:pt x="449" y="197"/>
                    <a:pt x="214" y="88"/>
                  </a:cubicBezTo>
                  <a:cubicBezTo>
                    <a:pt x="150" y="58"/>
                    <a:pt x="86" y="29"/>
                    <a:pt x="2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0" y="31"/>
                    <a:pt x="141" y="64"/>
                    <a:pt x="210" y="96"/>
                  </a:cubicBezTo>
                  <a:cubicBezTo>
                    <a:pt x="445" y="205"/>
                    <a:pt x="689" y="318"/>
                    <a:pt x="936" y="380"/>
                  </a:cubicBezTo>
                  <a:cubicBezTo>
                    <a:pt x="1254" y="460"/>
                    <a:pt x="1594" y="441"/>
                    <a:pt x="1923" y="422"/>
                  </a:cubicBezTo>
                  <a:cubicBezTo>
                    <a:pt x="2326" y="399"/>
                    <a:pt x="2743" y="374"/>
                    <a:pt x="3119" y="535"/>
                  </a:cubicBezTo>
                  <a:cubicBezTo>
                    <a:pt x="3473" y="686"/>
                    <a:pt x="3710" y="990"/>
                    <a:pt x="3940" y="1283"/>
                  </a:cubicBezTo>
                  <a:cubicBezTo>
                    <a:pt x="4140" y="1538"/>
                    <a:pt x="4346" y="1801"/>
                    <a:pt x="4629" y="1967"/>
                  </a:cubicBezTo>
                  <a:cubicBezTo>
                    <a:pt x="4846" y="2094"/>
                    <a:pt x="5090" y="2190"/>
                    <a:pt x="5327" y="2283"/>
                  </a:cubicBezTo>
                  <a:cubicBezTo>
                    <a:pt x="5429" y="2323"/>
                    <a:pt x="5535" y="2365"/>
                    <a:pt x="5635" y="2408"/>
                  </a:cubicBezTo>
                  <a:cubicBezTo>
                    <a:pt x="6305" y="2694"/>
                    <a:pt x="6305" y="2694"/>
                    <a:pt x="6305" y="2694"/>
                  </a:cubicBezTo>
                  <a:cubicBezTo>
                    <a:pt x="6320" y="2691"/>
                    <a:pt x="6320" y="2691"/>
                    <a:pt x="6320" y="2691"/>
                  </a:cubicBezTo>
                  <a:lnTo>
                    <a:pt x="5638" y="2400"/>
                  </a:lnTo>
                  <a:close/>
                </a:path>
              </a:pathLst>
            </a:custGeom>
            <a:solidFill>
              <a:srgbClr val="C5C7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4" name="Freeform 33"/>
            <p:cNvSpPr>
              <a:spLocks/>
            </p:cNvSpPr>
            <p:nvPr userDrawn="1"/>
          </p:nvSpPr>
          <p:spPr bwMode="auto">
            <a:xfrm>
              <a:off x="2676927" y="0"/>
              <a:ext cx="9524346" cy="4053460"/>
            </a:xfrm>
            <a:custGeom>
              <a:avLst/>
              <a:gdLst>
                <a:gd name="T0" fmla="*/ 5394 w 6246"/>
                <a:gd name="T1" fmla="*/ 2289 h 2656"/>
                <a:gd name="T2" fmla="*/ 5084 w 6246"/>
                <a:gd name="T3" fmla="*/ 2163 h 2656"/>
                <a:gd name="T4" fmla="*/ 4389 w 6246"/>
                <a:gd name="T5" fmla="*/ 1851 h 2656"/>
                <a:gd name="T6" fmla="*/ 3702 w 6246"/>
                <a:gd name="T7" fmla="*/ 1217 h 2656"/>
                <a:gd name="T8" fmla="*/ 2884 w 6246"/>
                <a:gd name="T9" fmla="*/ 519 h 2656"/>
                <a:gd name="T10" fmla="*/ 1682 w 6246"/>
                <a:gd name="T11" fmla="*/ 354 h 2656"/>
                <a:gd name="T12" fmla="*/ 695 w 6246"/>
                <a:gd name="T13" fmla="*/ 264 h 2656"/>
                <a:gd name="T14" fmla="*/ 21 w 6246"/>
                <a:gd name="T15" fmla="*/ 0 h 2656"/>
                <a:gd name="T16" fmla="*/ 0 w 6246"/>
                <a:gd name="T17" fmla="*/ 0 h 2656"/>
                <a:gd name="T18" fmla="*/ 692 w 6246"/>
                <a:gd name="T19" fmla="*/ 273 h 2656"/>
                <a:gd name="T20" fmla="*/ 1682 w 6246"/>
                <a:gd name="T21" fmla="*/ 363 h 2656"/>
                <a:gd name="T22" fmla="*/ 2880 w 6246"/>
                <a:gd name="T23" fmla="*/ 527 h 2656"/>
                <a:gd name="T24" fmla="*/ 3696 w 6246"/>
                <a:gd name="T25" fmla="*/ 1223 h 2656"/>
                <a:gd name="T26" fmla="*/ 4385 w 6246"/>
                <a:gd name="T27" fmla="*/ 1858 h 2656"/>
                <a:gd name="T28" fmla="*/ 5081 w 6246"/>
                <a:gd name="T29" fmla="*/ 2171 h 2656"/>
                <a:gd name="T30" fmla="*/ 5390 w 6246"/>
                <a:gd name="T31" fmla="*/ 2297 h 2656"/>
                <a:gd name="T32" fmla="*/ 6230 w 6246"/>
                <a:gd name="T33" fmla="*/ 2656 h 2656"/>
                <a:gd name="T34" fmla="*/ 6246 w 6246"/>
                <a:gd name="T35" fmla="*/ 2653 h 2656"/>
                <a:gd name="T36" fmla="*/ 5394 w 6246"/>
                <a:gd name="T37" fmla="*/ 2289 h 2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246" h="2656">
                  <a:moveTo>
                    <a:pt x="5394" y="2289"/>
                  </a:moveTo>
                  <a:cubicBezTo>
                    <a:pt x="5292" y="2246"/>
                    <a:pt x="5186" y="2204"/>
                    <a:pt x="5084" y="2163"/>
                  </a:cubicBezTo>
                  <a:cubicBezTo>
                    <a:pt x="4849" y="2070"/>
                    <a:pt x="4607" y="1974"/>
                    <a:pt x="4389" y="1851"/>
                  </a:cubicBezTo>
                  <a:cubicBezTo>
                    <a:pt x="4115" y="1695"/>
                    <a:pt x="3905" y="1452"/>
                    <a:pt x="3702" y="1217"/>
                  </a:cubicBezTo>
                  <a:cubicBezTo>
                    <a:pt x="3468" y="946"/>
                    <a:pt x="3226" y="666"/>
                    <a:pt x="2884" y="519"/>
                  </a:cubicBezTo>
                  <a:cubicBezTo>
                    <a:pt x="2505" y="357"/>
                    <a:pt x="2087" y="355"/>
                    <a:pt x="1682" y="354"/>
                  </a:cubicBezTo>
                  <a:cubicBezTo>
                    <a:pt x="1353" y="353"/>
                    <a:pt x="1012" y="352"/>
                    <a:pt x="695" y="264"/>
                  </a:cubicBezTo>
                  <a:cubicBezTo>
                    <a:pt x="466" y="201"/>
                    <a:pt x="240" y="100"/>
                    <a:pt x="2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25" y="103"/>
                    <a:pt x="457" y="208"/>
                    <a:pt x="692" y="273"/>
                  </a:cubicBezTo>
                  <a:cubicBezTo>
                    <a:pt x="1011" y="361"/>
                    <a:pt x="1352" y="362"/>
                    <a:pt x="1682" y="363"/>
                  </a:cubicBezTo>
                  <a:cubicBezTo>
                    <a:pt x="2086" y="364"/>
                    <a:pt x="2503" y="366"/>
                    <a:pt x="2880" y="527"/>
                  </a:cubicBezTo>
                  <a:cubicBezTo>
                    <a:pt x="3221" y="673"/>
                    <a:pt x="3462" y="952"/>
                    <a:pt x="3696" y="1223"/>
                  </a:cubicBezTo>
                  <a:cubicBezTo>
                    <a:pt x="3899" y="1458"/>
                    <a:pt x="4109" y="1702"/>
                    <a:pt x="4385" y="1858"/>
                  </a:cubicBezTo>
                  <a:cubicBezTo>
                    <a:pt x="4603" y="1982"/>
                    <a:pt x="4846" y="2078"/>
                    <a:pt x="5081" y="2171"/>
                  </a:cubicBezTo>
                  <a:cubicBezTo>
                    <a:pt x="5183" y="2212"/>
                    <a:pt x="5289" y="2254"/>
                    <a:pt x="5390" y="2297"/>
                  </a:cubicBezTo>
                  <a:cubicBezTo>
                    <a:pt x="6230" y="2656"/>
                    <a:pt x="6230" y="2656"/>
                    <a:pt x="6230" y="2656"/>
                  </a:cubicBezTo>
                  <a:cubicBezTo>
                    <a:pt x="6246" y="2653"/>
                    <a:pt x="6246" y="2653"/>
                    <a:pt x="6246" y="2653"/>
                  </a:cubicBezTo>
                  <a:lnTo>
                    <a:pt x="5394" y="2289"/>
                  </a:lnTo>
                  <a:close/>
                </a:path>
              </a:pathLst>
            </a:custGeom>
            <a:solidFill>
              <a:srgbClr val="C5C6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20" name="Freeform: Shape 119"/>
            <p:cNvSpPr>
              <a:spLocks/>
            </p:cNvSpPr>
            <p:nvPr userDrawn="1"/>
          </p:nvSpPr>
          <p:spPr bwMode="auto">
            <a:xfrm>
              <a:off x="3133904" y="0"/>
              <a:ext cx="9059296" cy="3860342"/>
            </a:xfrm>
            <a:custGeom>
              <a:avLst/>
              <a:gdLst>
                <a:gd name="connsiteX0" fmla="*/ 0 w 9059296"/>
                <a:gd name="connsiteY0" fmla="*/ 0 h 3860342"/>
                <a:gd name="connsiteX1" fmla="*/ 35068 w 9059296"/>
                <a:gd name="connsiteY1" fmla="*/ 0 h 3860342"/>
                <a:gd name="connsiteX2" fmla="*/ 676971 w 9059296"/>
                <a:gd name="connsiteY2" fmla="*/ 238014 h 3860342"/>
                <a:gd name="connsiteX3" fmla="*/ 2189481 w 9059296"/>
                <a:gd name="connsiteY3" fmla="*/ 451616 h 3860342"/>
                <a:gd name="connsiteX4" fmla="*/ 4025230 w 9059296"/>
                <a:gd name="connsiteY4" fmla="*/ 781173 h 3860342"/>
                <a:gd name="connsiteX5" fmla="*/ 5260243 w 9059296"/>
                <a:gd name="connsiteY5" fmla="*/ 1763743 h 3860342"/>
                <a:gd name="connsiteX6" fmla="*/ 6309242 w 9059296"/>
                <a:gd name="connsiteY6" fmla="*/ 2657820 h 3860342"/>
                <a:gd name="connsiteX7" fmla="*/ 7365865 w 9059296"/>
                <a:gd name="connsiteY7" fmla="*/ 3129271 h 3860342"/>
                <a:gd name="connsiteX8" fmla="*/ 7840049 w 9059296"/>
                <a:gd name="connsiteY8" fmla="*/ 3323038 h 3860342"/>
                <a:gd name="connsiteX9" fmla="*/ 8929279 w 9059296"/>
                <a:gd name="connsiteY9" fmla="*/ 3789445 h 3860342"/>
                <a:gd name="connsiteX10" fmla="*/ 9059296 w 9059296"/>
                <a:gd name="connsiteY10" fmla="*/ 3845119 h 3860342"/>
                <a:gd name="connsiteX11" fmla="*/ 9059296 w 9059296"/>
                <a:gd name="connsiteY11" fmla="*/ 3860342 h 3860342"/>
                <a:gd name="connsiteX12" fmla="*/ 8995968 w 9059296"/>
                <a:gd name="connsiteY12" fmla="*/ 3833204 h 3860342"/>
                <a:gd name="connsiteX13" fmla="*/ 7833950 w 9059296"/>
                <a:gd name="connsiteY13" fmla="*/ 3335244 h 3860342"/>
                <a:gd name="connsiteX14" fmla="*/ 7361290 w 9059296"/>
                <a:gd name="connsiteY14" fmla="*/ 3141477 h 3860342"/>
                <a:gd name="connsiteX15" fmla="*/ 6303144 w 9059296"/>
                <a:gd name="connsiteY15" fmla="*/ 2670026 h 3860342"/>
                <a:gd name="connsiteX16" fmla="*/ 5249570 w 9059296"/>
                <a:gd name="connsiteY16" fmla="*/ 1774423 h 3860342"/>
                <a:gd name="connsiteX17" fmla="*/ 4019131 w 9059296"/>
                <a:gd name="connsiteY17" fmla="*/ 794905 h 3860342"/>
                <a:gd name="connsiteX18" fmla="*/ 2187956 w 9059296"/>
                <a:gd name="connsiteY18" fmla="*/ 465347 h 3860342"/>
                <a:gd name="connsiteX19" fmla="*/ 673921 w 9059296"/>
                <a:gd name="connsiteY19" fmla="*/ 251745 h 3860342"/>
                <a:gd name="connsiteX20" fmla="*/ 0 w 9059296"/>
                <a:gd name="connsiteY20" fmla="*/ 0 h 3860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059296" h="3860342">
                  <a:moveTo>
                    <a:pt x="0" y="0"/>
                  </a:moveTo>
                  <a:cubicBezTo>
                    <a:pt x="0" y="0"/>
                    <a:pt x="0" y="0"/>
                    <a:pt x="35068" y="0"/>
                  </a:cubicBezTo>
                  <a:cubicBezTo>
                    <a:pt x="247003" y="90018"/>
                    <a:pt x="460462" y="173933"/>
                    <a:pt x="676971" y="238014"/>
                  </a:cubicBezTo>
                  <a:cubicBezTo>
                    <a:pt x="1163352" y="384484"/>
                    <a:pt x="1684803" y="419576"/>
                    <a:pt x="2189481" y="451616"/>
                  </a:cubicBezTo>
                  <a:cubicBezTo>
                    <a:pt x="2806988" y="491285"/>
                    <a:pt x="3444316" y="532480"/>
                    <a:pt x="4025230" y="781173"/>
                  </a:cubicBezTo>
                  <a:cubicBezTo>
                    <a:pt x="4525334" y="996301"/>
                    <a:pt x="4898887" y="1386888"/>
                    <a:pt x="5260243" y="1763743"/>
                  </a:cubicBezTo>
                  <a:cubicBezTo>
                    <a:pt x="5575858" y="2093301"/>
                    <a:pt x="5900620" y="2433538"/>
                    <a:pt x="6309242" y="2657820"/>
                  </a:cubicBezTo>
                  <a:cubicBezTo>
                    <a:pt x="6644678" y="2839382"/>
                    <a:pt x="7010608" y="2987378"/>
                    <a:pt x="7365865" y="3129271"/>
                  </a:cubicBezTo>
                  <a:cubicBezTo>
                    <a:pt x="7522910" y="3191826"/>
                    <a:pt x="7684529" y="3255906"/>
                    <a:pt x="7840049" y="3323038"/>
                  </a:cubicBezTo>
                  <a:cubicBezTo>
                    <a:pt x="7840049" y="3323038"/>
                    <a:pt x="7840049" y="3323038"/>
                    <a:pt x="8929279" y="3789445"/>
                  </a:cubicBezTo>
                  <a:lnTo>
                    <a:pt x="9059296" y="3845119"/>
                  </a:lnTo>
                  <a:lnTo>
                    <a:pt x="9059296" y="3860342"/>
                  </a:lnTo>
                  <a:lnTo>
                    <a:pt x="8995968" y="3833204"/>
                  </a:lnTo>
                  <a:cubicBezTo>
                    <a:pt x="8829966" y="3762067"/>
                    <a:pt x="8497961" y="3619793"/>
                    <a:pt x="7833950" y="3335244"/>
                  </a:cubicBezTo>
                  <a:cubicBezTo>
                    <a:pt x="7678430" y="3269638"/>
                    <a:pt x="7516811" y="3204031"/>
                    <a:pt x="7361290" y="3141477"/>
                  </a:cubicBezTo>
                  <a:cubicBezTo>
                    <a:pt x="7006034" y="2999584"/>
                    <a:pt x="6638579" y="2853114"/>
                    <a:pt x="6303144" y="2670026"/>
                  </a:cubicBezTo>
                  <a:cubicBezTo>
                    <a:pt x="5892997" y="2445744"/>
                    <a:pt x="5565184" y="2103981"/>
                    <a:pt x="5249570" y="1774423"/>
                  </a:cubicBezTo>
                  <a:cubicBezTo>
                    <a:pt x="4889739" y="1397568"/>
                    <a:pt x="4516186" y="1008507"/>
                    <a:pt x="4019131" y="794905"/>
                  </a:cubicBezTo>
                  <a:cubicBezTo>
                    <a:pt x="3441266" y="546211"/>
                    <a:pt x="2803938" y="505016"/>
                    <a:pt x="2187956" y="465347"/>
                  </a:cubicBezTo>
                  <a:cubicBezTo>
                    <a:pt x="1683278" y="433307"/>
                    <a:pt x="1161828" y="398215"/>
                    <a:pt x="673921" y="251745"/>
                  </a:cubicBezTo>
                  <a:cubicBezTo>
                    <a:pt x="446740" y="183088"/>
                    <a:pt x="221083" y="94595"/>
                    <a:pt x="0" y="0"/>
                  </a:cubicBezTo>
                  <a:close/>
                </a:path>
              </a:pathLst>
            </a:custGeom>
            <a:solidFill>
              <a:srgbClr val="C4C6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16" name="Freeform: Shape 115"/>
            <p:cNvSpPr>
              <a:spLocks/>
            </p:cNvSpPr>
            <p:nvPr userDrawn="1"/>
          </p:nvSpPr>
          <p:spPr bwMode="auto">
            <a:xfrm>
              <a:off x="3630966" y="1"/>
              <a:ext cx="8562234" cy="3661559"/>
            </a:xfrm>
            <a:custGeom>
              <a:avLst/>
              <a:gdLst>
                <a:gd name="connsiteX0" fmla="*/ 0 w 8562234"/>
                <a:gd name="connsiteY0" fmla="*/ 0 h 3661559"/>
                <a:gd name="connsiteX1" fmla="*/ 39643 w 8562234"/>
                <a:gd name="connsiteY1" fmla="*/ 0 h 3661559"/>
                <a:gd name="connsiteX2" fmla="*/ 254626 w 8562234"/>
                <a:gd name="connsiteY2" fmla="*/ 74782 h 3661559"/>
                <a:gd name="connsiteX3" fmla="*/ 1773234 w 8562234"/>
                <a:gd name="connsiteY3" fmla="*/ 363226 h 3661559"/>
                <a:gd name="connsiteX4" fmla="*/ 3612031 w 8562234"/>
                <a:gd name="connsiteY4" fmla="*/ 772237 h 3661559"/>
                <a:gd name="connsiteX5" fmla="*/ 4834846 w 8562234"/>
                <a:gd name="connsiteY5" fmla="*/ 1672671 h 3661559"/>
                <a:gd name="connsiteX6" fmla="*/ 5886894 w 8562234"/>
                <a:gd name="connsiteY6" fmla="*/ 2492219 h 3661559"/>
                <a:gd name="connsiteX7" fmla="*/ 6937417 w 8562234"/>
                <a:gd name="connsiteY7" fmla="*/ 2957698 h 3661559"/>
                <a:gd name="connsiteX8" fmla="*/ 7414650 w 8562234"/>
                <a:gd name="connsiteY8" fmla="*/ 3154572 h 3661559"/>
                <a:gd name="connsiteX9" fmla="*/ 8444833 w 8562234"/>
                <a:gd name="connsiteY9" fmla="*/ 3595961 h 3661559"/>
                <a:gd name="connsiteX10" fmla="*/ 8562234 w 8562234"/>
                <a:gd name="connsiteY10" fmla="*/ 3646262 h 3661559"/>
                <a:gd name="connsiteX11" fmla="*/ 8562234 w 8562234"/>
                <a:gd name="connsiteY11" fmla="*/ 3661559 h 3661559"/>
                <a:gd name="connsiteX12" fmla="*/ 8508056 w 8562234"/>
                <a:gd name="connsiteY12" fmla="*/ 3638365 h 3661559"/>
                <a:gd name="connsiteX13" fmla="*/ 7410076 w 8562234"/>
                <a:gd name="connsiteY13" fmla="*/ 3168308 h 3661559"/>
                <a:gd name="connsiteX14" fmla="*/ 6932843 w 8562234"/>
                <a:gd name="connsiteY14" fmla="*/ 2971433 h 3661559"/>
                <a:gd name="connsiteX15" fmla="*/ 5879270 w 8562234"/>
                <a:gd name="connsiteY15" fmla="*/ 2504428 h 3661559"/>
                <a:gd name="connsiteX16" fmla="*/ 4825698 w 8562234"/>
                <a:gd name="connsiteY16" fmla="*/ 1683354 h 3661559"/>
                <a:gd name="connsiteX17" fmla="*/ 3605932 w 8562234"/>
                <a:gd name="connsiteY17" fmla="*/ 785972 h 3661559"/>
                <a:gd name="connsiteX18" fmla="*/ 1771710 w 8562234"/>
                <a:gd name="connsiteY18" fmla="*/ 378488 h 3661559"/>
                <a:gd name="connsiteX19" fmla="*/ 250052 w 8562234"/>
                <a:gd name="connsiteY19" fmla="*/ 88517 h 3661559"/>
                <a:gd name="connsiteX20" fmla="*/ 0 w 8562234"/>
                <a:gd name="connsiteY20" fmla="*/ 0 h 3661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8562234" h="3661559">
                  <a:moveTo>
                    <a:pt x="0" y="0"/>
                  </a:moveTo>
                  <a:cubicBezTo>
                    <a:pt x="0" y="0"/>
                    <a:pt x="0" y="0"/>
                    <a:pt x="39643" y="0"/>
                  </a:cubicBezTo>
                  <a:cubicBezTo>
                    <a:pt x="111304" y="25945"/>
                    <a:pt x="182965" y="51890"/>
                    <a:pt x="254626" y="74782"/>
                  </a:cubicBezTo>
                  <a:cubicBezTo>
                    <a:pt x="744057" y="233503"/>
                    <a:pt x="1267032" y="300654"/>
                    <a:pt x="1773234" y="363226"/>
                  </a:cubicBezTo>
                  <a:cubicBezTo>
                    <a:pt x="2390741" y="441060"/>
                    <a:pt x="3028068" y="521947"/>
                    <a:pt x="3612031" y="772237"/>
                  </a:cubicBezTo>
                  <a:cubicBezTo>
                    <a:pt x="4090789" y="978269"/>
                    <a:pt x="4468917" y="1330812"/>
                    <a:pt x="4834846" y="1672671"/>
                  </a:cubicBezTo>
                  <a:cubicBezTo>
                    <a:pt x="5155034" y="1973325"/>
                    <a:pt x="5487420" y="2283135"/>
                    <a:pt x="5886894" y="2492219"/>
                  </a:cubicBezTo>
                  <a:cubicBezTo>
                    <a:pt x="6222330" y="2669254"/>
                    <a:pt x="6586734" y="2815765"/>
                    <a:pt x="6937417" y="2957698"/>
                  </a:cubicBezTo>
                  <a:cubicBezTo>
                    <a:pt x="7095986" y="3021797"/>
                    <a:pt x="7257606" y="3087421"/>
                    <a:pt x="7414650" y="3154572"/>
                  </a:cubicBezTo>
                  <a:cubicBezTo>
                    <a:pt x="7414650" y="3154572"/>
                    <a:pt x="7414650" y="3154572"/>
                    <a:pt x="8444833" y="3595961"/>
                  </a:cubicBezTo>
                  <a:lnTo>
                    <a:pt x="8562234" y="3646262"/>
                  </a:lnTo>
                  <a:lnTo>
                    <a:pt x="8562234" y="3661559"/>
                  </a:lnTo>
                  <a:lnTo>
                    <a:pt x="8508056" y="3638365"/>
                  </a:lnTo>
                  <a:cubicBezTo>
                    <a:pt x="8351202" y="3571214"/>
                    <a:pt x="8037493" y="3436912"/>
                    <a:pt x="7410076" y="3168308"/>
                  </a:cubicBezTo>
                  <a:cubicBezTo>
                    <a:pt x="7253032" y="3099631"/>
                    <a:pt x="7089888" y="3034006"/>
                    <a:pt x="6932843" y="2971433"/>
                  </a:cubicBezTo>
                  <a:cubicBezTo>
                    <a:pt x="6580636" y="2827974"/>
                    <a:pt x="6216230" y="2681463"/>
                    <a:pt x="5879270" y="2504428"/>
                  </a:cubicBezTo>
                  <a:cubicBezTo>
                    <a:pt x="5479797" y="2293818"/>
                    <a:pt x="5147411" y="1984008"/>
                    <a:pt x="4825698" y="1683354"/>
                  </a:cubicBezTo>
                  <a:cubicBezTo>
                    <a:pt x="4459768" y="1343021"/>
                    <a:pt x="4081641" y="990478"/>
                    <a:pt x="3605932" y="785972"/>
                  </a:cubicBezTo>
                  <a:cubicBezTo>
                    <a:pt x="3025019" y="535682"/>
                    <a:pt x="2387691" y="456322"/>
                    <a:pt x="1771710" y="378488"/>
                  </a:cubicBezTo>
                  <a:cubicBezTo>
                    <a:pt x="1265507" y="314389"/>
                    <a:pt x="741008" y="247238"/>
                    <a:pt x="250052" y="88517"/>
                  </a:cubicBezTo>
                  <a:cubicBezTo>
                    <a:pt x="166193" y="61046"/>
                    <a:pt x="82335" y="30523"/>
                    <a:pt x="0" y="0"/>
                  </a:cubicBezTo>
                  <a:close/>
                </a:path>
              </a:pathLst>
            </a:custGeom>
            <a:solidFill>
              <a:srgbClr val="C4C5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18" name="Freeform: Shape 117"/>
            <p:cNvSpPr>
              <a:spLocks/>
            </p:cNvSpPr>
            <p:nvPr userDrawn="1"/>
          </p:nvSpPr>
          <p:spPr bwMode="auto">
            <a:xfrm>
              <a:off x="4188958" y="1"/>
              <a:ext cx="8004242" cy="3467965"/>
            </a:xfrm>
            <a:custGeom>
              <a:avLst/>
              <a:gdLst>
                <a:gd name="connsiteX0" fmla="*/ 0 w 8004242"/>
                <a:gd name="connsiteY0" fmla="*/ 0 h 3467965"/>
                <a:gd name="connsiteX1" fmla="*/ 50316 w 8004242"/>
                <a:gd name="connsiteY1" fmla="*/ 0 h 3467965"/>
                <a:gd name="connsiteX2" fmla="*/ 1299059 w 8004242"/>
                <a:gd name="connsiteY2" fmla="*/ 276214 h 3467965"/>
                <a:gd name="connsiteX3" fmla="*/ 3136342 w 8004242"/>
                <a:gd name="connsiteY3" fmla="*/ 761495 h 3467965"/>
                <a:gd name="connsiteX4" fmla="*/ 4346967 w 8004242"/>
                <a:gd name="connsiteY4" fmla="*/ 1579454 h 3467965"/>
                <a:gd name="connsiteX5" fmla="*/ 5402071 w 8004242"/>
                <a:gd name="connsiteY5" fmla="*/ 2325689 h 3467965"/>
                <a:gd name="connsiteX6" fmla="*/ 7582416 w 8004242"/>
                <a:gd name="connsiteY6" fmla="*/ 3279466 h 3467965"/>
                <a:gd name="connsiteX7" fmla="*/ 8004242 w 8004242"/>
                <a:gd name="connsiteY7" fmla="*/ 3452516 h 3467965"/>
                <a:gd name="connsiteX8" fmla="*/ 8004242 w 8004242"/>
                <a:gd name="connsiteY8" fmla="*/ 3467965 h 3467965"/>
                <a:gd name="connsiteX9" fmla="*/ 7576316 w 8004242"/>
                <a:gd name="connsiteY9" fmla="*/ 3293200 h 3467965"/>
                <a:gd name="connsiteX10" fmla="*/ 5394447 w 8004242"/>
                <a:gd name="connsiteY10" fmla="*/ 2337897 h 3467965"/>
                <a:gd name="connsiteX11" fmla="*/ 4337818 w 8004242"/>
                <a:gd name="connsiteY11" fmla="*/ 1591663 h 3467965"/>
                <a:gd name="connsiteX12" fmla="*/ 3130243 w 8004242"/>
                <a:gd name="connsiteY12" fmla="*/ 775230 h 3467965"/>
                <a:gd name="connsiteX13" fmla="*/ 1296009 w 8004242"/>
                <a:gd name="connsiteY13" fmla="*/ 289948 h 3467965"/>
                <a:gd name="connsiteX14" fmla="*/ 0 w 8004242"/>
                <a:gd name="connsiteY14" fmla="*/ 0 h 3467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004242" h="3467965">
                  <a:moveTo>
                    <a:pt x="0" y="0"/>
                  </a:moveTo>
                  <a:cubicBezTo>
                    <a:pt x="0" y="0"/>
                    <a:pt x="0" y="0"/>
                    <a:pt x="50316" y="0"/>
                  </a:cubicBezTo>
                  <a:cubicBezTo>
                    <a:pt x="460465" y="119031"/>
                    <a:pt x="885861" y="198386"/>
                    <a:pt x="1299059" y="276214"/>
                  </a:cubicBezTo>
                  <a:cubicBezTo>
                    <a:pt x="1913519" y="390667"/>
                    <a:pt x="2550851" y="509698"/>
                    <a:pt x="3136342" y="761495"/>
                  </a:cubicBezTo>
                  <a:cubicBezTo>
                    <a:pt x="3593757" y="958355"/>
                    <a:pt x="3976461" y="1274246"/>
                    <a:pt x="4346967" y="1579454"/>
                  </a:cubicBezTo>
                  <a:cubicBezTo>
                    <a:pt x="4673256" y="1849564"/>
                    <a:pt x="5011744" y="2130356"/>
                    <a:pt x="5402071" y="2325689"/>
                  </a:cubicBezTo>
                  <a:cubicBezTo>
                    <a:pt x="6104965" y="2679731"/>
                    <a:pt x="6856650" y="2984939"/>
                    <a:pt x="7582416" y="3279466"/>
                  </a:cubicBezTo>
                  <a:lnTo>
                    <a:pt x="8004242" y="3452516"/>
                  </a:lnTo>
                  <a:lnTo>
                    <a:pt x="8004242" y="3467965"/>
                  </a:lnTo>
                  <a:lnTo>
                    <a:pt x="7576316" y="3293200"/>
                  </a:lnTo>
                  <a:cubicBezTo>
                    <a:pt x="6850552" y="2998674"/>
                    <a:pt x="6100391" y="2693465"/>
                    <a:pt x="5394447" y="2337897"/>
                  </a:cubicBezTo>
                  <a:cubicBezTo>
                    <a:pt x="5004120" y="2142564"/>
                    <a:pt x="4665632" y="1861772"/>
                    <a:pt x="4337818" y="1591663"/>
                  </a:cubicBezTo>
                  <a:cubicBezTo>
                    <a:pt x="3968837" y="1286454"/>
                    <a:pt x="3586133" y="970563"/>
                    <a:pt x="3130243" y="775230"/>
                  </a:cubicBezTo>
                  <a:cubicBezTo>
                    <a:pt x="2546277" y="523433"/>
                    <a:pt x="1910470" y="405927"/>
                    <a:pt x="1296009" y="289948"/>
                  </a:cubicBezTo>
                  <a:cubicBezTo>
                    <a:pt x="867564" y="210594"/>
                    <a:pt x="425396" y="128188"/>
                    <a:pt x="0" y="0"/>
                  </a:cubicBezTo>
                  <a:close/>
                </a:path>
              </a:pathLst>
            </a:custGeom>
            <a:solidFill>
              <a:srgbClr val="C3C5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14" name="Freeform: Shape 113"/>
            <p:cNvSpPr>
              <a:spLocks/>
            </p:cNvSpPr>
            <p:nvPr userDrawn="1"/>
          </p:nvSpPr>
          <p:spPr bwMode="auto">
            <a:xfrm>
              <a:off x="4780622" y="1"/>
              <a:ext cx="7412579" cy="3266743"/>
            </a:xfrm>
            <a:custGeom>
              <a:avLst/>
              <a:gdLst>
                <a:gd name="connsiteX0" fmla="*/ 0 w 7412579"/>
                <a:gd name="connsiteY0" fmla="*/ 0 h 3266743"/>
                <a:gd name="connsiteX1" fmla="*/ 54890 w 7412579"/>
                <a:gd name="connsiteY1" fmla="*/ 0 h 3266743"/>
                <a:gd name="connsiteX2" fmla="*/ 792845 w 7412579"/>
                <a:gd name="connsiteY2" fmla="*/ 189200 h 3266743"/>
                <a:gd name="connsiteX3" fmla="*/ 2625536 w 7412579"/>
                <a:gd name="connsiteY3" fmla="*/ 749170 h 3266743"/>
                <a:gd name="connsiteX4" fmla="*/ 3822427 w 7412579"/>
                <a:gd name="connsiteY4" fmla="*/ 1484608 h 3266743"/>
                <a:gd name="connsiteX5" fmla="*/ 4882095 w 7412579"/>
                <a:gd name="connsiteY5" fmla="*/ 2159014 h 3266743"/>
                <a:gd name="connsiteX6" fmla="*/ 7057843 w 7412579"/>
                <a:gd name="connsiteY6" fmla="*/ 3103487 h 3266743"/>
                <a:gd name="connsiteX7" fmla="*/ 7412579 w 7412579"/>
                <a:gd name="connsiteY7" fmla="*/ 3250217 h 3266743"/>
                <a:gd name="connsiteX8" fmla="*/ 7412579 w 7412579"/>
                <a:gd name="connsiteY8" fmla="*/ 3266743 h 3266743"/>
                <a:gd name="connsiteX9" fmla="*/ 7053269 w 7412579"/>
                <a:gd name="connsiteY9" fmla="*/ 3117219 h 3266743"/>
                <a:gd name="connsiteX10" fmla="*/ 4875995 w 7412579"/>
                <a:gd name="connsiteY10" fmla="*/ 2171220 h 3266743"/>
                <a:gd name="connsiteX11" fmla="*/ 3814803 w 7412579"/>
                <a:gd name="connsiteY11" fmla="*/ 1496814 h 3266743"/>
                <a:gd name="connsiteX12" fmla="*/ 2620962 w 7412579"/>
                <a:gd name="connsiteY12" fmla="*/ 761377 h 3266743"/>
                <a:gd name="connsiteX13" fmla="*/ 789796 w 7412579"/>
                <a:gd name="connsiteY13" fmla="*/ 202932 h 3266743"/>
                <a:gd name="connsiteX14" fmla="*/ 0 w 7412579"/>
                <a:gd name="connsiteY14" fmla="*/ 0 h 3266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412579" h="3266743">
                  <a:moveTo>
                    <a:pt x="0" y="0"/>
                  </a:moveTo>
                  <a:cubicBezTo>
                    <a:pt x="0" y="0"/>
                    <a:pt x="0" y="0"/>
                    <a:pt x="54890" y="0"/>
                  </a:cubicBezTo>
                  <a:cubicBezTo>
                    <a:pt x="301891" y="67135"/>
                    <a:pt x="548893" y="128168"/>
                    <a:pt x="792845" y="189200"/>
                  </a:cubicBezTo>
                  <a:cubicBezTo>
                    <a:pt x="1404250" y="340254"/>
                    <a:pt x="2037001" y="495887"/>
                    <a:pt x="2625536" y="749170"/>
                  </a:cubicBezTo>
                  <a:cubicBezTo>
                    <a:pt x="3063126" y="936844"/>
                    <a:pt x="3448875" y="1214541"/>
                    <a:pt x="3822427" y="1484608"/>
                  </a:cubicBezTo>
                  <a:cubicBezTo>
                    <a:pt x="4156337" y="1725685"/>
                    <a:pt x="4502443" y="1975917"/>
                    <a:pt x="4882095" y="2159014"/>
                  </a:cubicBezTo>
                  <a:cubicBezTo>
                    <a:pt x="5592605" y="2500794"/>
                    <a:pt x="6338185" y="2807480"/>
                    <a:pt x="7057843" y="3103487"/>
                  </a:cubicBezTo>
                  <a:lnTo>
                    <a:pt x="7412579" y="3250217"/>
                  </a:lnTo>
                  <a:lnTo>
                    <a:pt x="7412579" y="3266743"/>
                  </a:lnTo>
                  <a:lnTo>
                    <a:pt x="7053269" y="3117219"/>
                  </a:lnTo>
                  <a:cubicBezTo>
                    <a:pt x="6332085" y="2821213"/>
                    <a:pt x="5586507" y="2513000"/>
                    <a:pt x="4875995" y="2171220"/>
                  </a:cubicBezTo>
                  <a:cubicBezTo>
                    <a:pt x="4494820" y="1988123"/>
                    <a:pt x="4148713" y="1737892"/>
                    <a:pt x="3814803" y="1496814"/>
                  </a:cubicBezTo>
                  <a:cubicBezTo>
                    <a:pt x="3441252" y="1226747"/>
                    <a:pt x="3055502" y="949051"/>
                    <a:pt x="2620962" y="761377"/>
                  </a:cubicBezTo>
                  <a:cubicBezTo>
                    <a:pt x="2030903" y="509619"/>
                    <a:pt x="1399676" y="353987"/>
                    <a:pt x="789796" y="202932"/>
                  </a:cubicBezTo>
                  <a:cubicBezTo>
                    <a:pt x="529072" y="138848"/>
                    <a:pt x="263774" y="73239"/>
                    <a:pt x="0" y="0"/>
                  </a:cubicBezTo>
                  <a:close/>
                </a:path>
              </a:pathLst>
            </a:custGeom>
            <a:solidFill>
              <a:srgbClr val="C3C4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12" name="Freeform: Shape 111"/>
            <p:cNvSpPr>
              <a:spLocks/>
            </p:cNvSpPr>
            <p:nvPr userDrawn="1"/>
          </p:nvSpPr>
          <p:spPr bwMode="auto">
            <a:xfrm>
              <a:off x="5279287" y="1"/>
              <a:ext cx="6913913" cy="3065889"/>
            </a:xfrm>
            <a:custGeom>
              <a:avLst/>
              <a:gdLst>
                <a:gd name="connsiteX0" fmla="*/ 0 w 6913913"/>
                <a:gd name="connsiteY0" fmla="*/ 0 h 3065889"/>
                <a:gd name="connsiteX1" fmla="*/ 50315 w 6913913"/>
                <a:gd name="connsiteY1" fmla="*/ 0 h 3065889"/>
                <a:gd name="connsiteX2" fmla="*/ 385745 w 6913913"/>
                <a:gd name="connsiteY2" fmla="*/ 102261 h 3065889"/>
                <a:gd name="connsiteX3" fmla="*/ 2204691 w 6913913"/>
                <a:gd name="connsiteY3" fmla="*/ 731090 h 3065889"/>
                <a:gd name="connsiteX4" fmla="*/ 3387845 w 6913913"/>
                <a:gd name="connsiteY4" fmla="*/ 1387393 h 3065889"/>
                <a:gd name="connsiteX5" fmla="*/ 4456647 w 6913913"/>
                <a:gd name="connsiteY5" fmla="*/ 1993328 h 3065889"/>
                <a:gd name="connsiteX6" fmla="*/ 6621696 w 6913913"/>
                <a:gd name="connsiteY6" fmla="*/ 2927414 h 3065889"/>
                <a:gd name="connsiteX7" fmla="*/ 6913913 w 6913913"/>
                <a:gd name="connsiteY7" fmla="*/ 3049393 h 3065889"/>
                <a:gd name="connsiteX8" fmla="*/ 6913913 w 6913913"/>
                <a:gd name="connsiteY8" fmla="*/ 3065889 h 3065889"/>
                <a:gd name="connsiteX9" fmla="*/ 6617122 w 6913913"/>
                <a:gd name="connsiteY9" fmla="*/ 2941151 h 3065889"/>
                <a:gd name="connsiteX10" fmla="*/ 4450549 w 6913913"/>
                <a:gd name="connsiteY10" fmla="*/ 2005538 h 3065889"/>
                <a:gd name="connsiteX11" fmla="*/ 3380221 w 6913913"/>
                <a:gd name="connsiteY11" fmla="*/ 1399603 h 3065889"/>
                <a:gd name="connsiteX12" fmla="*/ 2200117 w 6913913"/>
                <a:gd name="connsiteY12" fmla="*/ 744827 h 3065889"/>
                <a:gd name="connsiteX13" fmla="*/ 381171 w 6913913"/>
                <a:gd name="connsiteY13" fmla="*/ 117524 h 3065889"/>
                <a:gd name="connsiteX14" fmla="*/ 0 w 6913913"/>
                <a:gd name="connsiteY14" fmla="*/ 0 h 3065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913913" h="3065889">
                  <a:moveTo>
                    <a:pt x="0" y="0"/>
                  </a:moveTo>
                  <a:cubicBezTo>
                    <a:pt x="0" y="0"/>
                    <a:pt x="0" y="0"/>
                    <a:pt x="50315" y="0"/>
                  </a:cubicBezTo>
                  <a:cubicBezTo>
                    <a:pt x="163141" y="35105"/>
                    <a:pt x="274443" y="68683"/>
                    <a:pt x="385745" y="102261"/>
                  </a:cubicBezTo>
                  <a:cubicBezTo>
                    <a:pt x="989519" y="286942"/>
                    <a:pt x="1614639" y="477727"/>
                    <a:pt x="2204691" y="731090"/>
                  </a:cubicBezTo>
                  <a:cubicBezTo>
                    <a:pt x="2622454" y="911192"/>
                    <a:pt x="3011248" y="1152345"/>
                    <a:pt x="3387845" y="1387393"/>
                  </a:cubicBezTo>
                  <a:cubicBezTo>
                    <a:pt x="3729373" y="1601073"/>
                    <a:pt x="4083100" y="1820858"/>
                    <a:pt x="4456647" y="1993328"/>
                  </a:cubicBezTo>
                  <a:cubicBezTo>
                    <a:pt x="5170199" y="2319953"/>
                    <a:pt x="5908145" y="2629789"/>
                    <a:pt x="6621696" y="2927414"/>
                  </a:cubicBezTo>
                  <a:lnTo>
                    <a:pt x="6913913" y="3049393"/>
                  </a:lnTo>
                  <a:lnTo>
                    <a:pt x="6913913" y="3065889"/>
                  </a:lnTo>
                  <a:lnTo>
                    <a:pt x="6617122" y="2941151"/>
                  </a:lnTo>
                  <a:cubicBezTo>
                    <a:pt x="5902046" y="2641999"/>
                    <a:pt x="5164099" y="2333689"/>
                    <a:pt x="4450549" y="2005538"/>
                  </a:cubicBezTo>
                  <a:cubicBezTo>
                    <a:pt x="4075477" y="1834594"/>
                    <a:pt x="3721750" y="1613283"/>
                    <a:pt x="3380221" y="1399603"/>
                  </a:cubicBezTo>
                  <a:cubicBezTo>
                    <a:pt x="3005149" y="1166082"/>
                    <a:pt x="2616355" y="923402"/>
                    <a:pt x="2200117" y="744827"/>
                  </a:cubicBezTo>
                  <a:cubicBezTo>
                    <a:pt x="1608540" y="491464"/>
                    <a:pt x="984945" y="300678"/>
                    <a:pt x="381171" y="117524"/>
                  </a:cubicBezTo>
                  <a:cubicBezTo>
                    <a:pt x="254622" y="77841"/>
                    <a:pt x="128074" y="39683"/>
                    <a:pt x="0" y="0"/>
                  </a:cubicBezTo>
                  <a:close/>
                </a:path>
              </a:pathLst>
            </a:custGeom>
            <a:solidFill>
              <a:srgbClr val="C2C4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10" name="Freeform: Shape 109"/>
            <p:cNvSpPr>
              <a:spLocks/>
            </p:cNvSpPr>
            <p:nvPr userDrawn="1"/>
          </p:nvSpPr>
          <p:spPr bwMode="auto">
            <a:xfrm>
              <a:off x="5667316" y="1"/>
              <a:ext cx="6525884" cy="2863221"/>
            </a:xfrm>
            <a:custGeom>
              <a:avLst/>
              <a:gdLst>
                <a:gd name="connsiteX0" fmla="*/ 0 w 6525884"/>
                <a:gd name="connsiteY0" fmla="*/ 0 h 2863221"/>
                <a:gd name="connsiteX1" fmla="*/ 44221 w 6525884"/>
                <a:gd name="connsiteY1" fmla="*/ 0 h 2863221"/>
                <a:gd name="connsiteX2" fmla="*/ 109790 w 6525884"/>
                <a:gd name="connsiteY2" fmla="*/ 24416 h 2863221"/>
                <a:gd name="connsiteX3" fmla="*/ 1889300 w 6525884"/>
                <a:gd name="connsiteY3" fmla="*/ 708059 h 2863221"/>
                <a:gd name="connsiteX4" fmla="*/ 3051242 w 6525884"/>
                <a:gd name="connsiteY4" fmla="*/ 1281831 h 2863221"/>
                <a:gd name="connsiteX5" fmla="*/ 4141516 w 6525884"/>
                <a:gd name="connsiteY5" fmla="*/ 1825084 h 2863221"/>
                <a:gd name="connsiteX6" fmla="*/ 6273268 w 6525884"/>
                <a:gd name="connsiteY6" fmla="*/ 2739151 h 2863221"/>
                <a:gd name="connsiteX7" fmla="*/ 6525884 w 6525884"/>
                <a:gd name="connsiteY7" fmla="*/ 2846566 h 2863221"/>
                <a:gd name="connsiteX8" fmla="*/ 6525884 w 6525884"/>
                <a:gd name="connsiteY8" fmla="*/ 2863221 h 2863221"/>
                <a:gd name="connsiteX9" fmla="*/ 6267168 w 6525884"/>
                <a:gd name="connsiteY9" fmla="*/ 2752885 h 2863221"/>
                <a:gd name="connsiteX10" fmla="*/ 4135416 w 6525884"/>
                <a:gd name="connsiteY10" fmla="*/ 1838818 h 2863221"/>
                <a:gd name="connsiteX11" fmla="*/ 3045142 w 6525884"/>
                <a:gd name="connsiteY11" fmla="*/ 1295565 h 2863221"/>
                <a:gd name="connsiteX12" fmla="*/ 1883200 w 6525884"/>
                <a:gd name="connsiteY12" fmla="*/ 721793 h 2863221"/>
                <a:gd name="connsiteX13" fmla="*/ 105215 w 6525884"/>
                <a:gd name="connsiteY13" fmla="*/ 38150 h 2863221"/>
                <a:gd name="connsiteX14" fmla="*/ 0 w 6525884"/>
                <a:gd name="connsiteY14" fmla="*/ 0 h 2863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525884" h="2863221">
                  <a:moveTo>
                    <a:pt x="0" y="0"/>
                  </a:moveTo>
                  <a:cubicBezTo>
                    <a:pt x="0" y="0"/>
                    <a:pt x="0" y="0"/>
                    <a:pt x="44221" y="0"/>
                  </a:cubicBezTo>
                  <a:cubicBezTo>
                    <a:pt x="65569" y="7630"/>
                    <a:pt x="88442" y="15260"/>
                    <a:pt x="109790" y="24416"/>
                  </a:cubicBezTo>
                  <a:cubicBezTo>
                    <a:pt x="698385" y="238054"/>
                    <a:pt x="1305279" y="457797"/>
                    <a:pt x="1889300" y="708059"/>
                  </a:cubicBezTo>
                  <a:cubicBezTo>
                    <a:pt x="2288813" y="878970"/>
                    <a:pt x="2676127" y="1083453"/>
                    <a:pt x="3051242" y="1281831"/>
                  </a:cubicBezTo>
                  <a:cubicBezTo>
                    <a:pt x="3403484" y="1469528"/>
                    <a:pt x="3769450" y="1661803"/>
                    <a:pt x="4141516" y="1825084"/>
                  </a:cubicBezTo>
                  <a:cubicBezTo>
                    <a:pt x="4849050" y="2136385"/>
                    <a:pt x="5573358" y="2443109"/>
                    <a:pt x="6273268" y="2739151"/>
                  </a:cubicBezTo>
                  <a:lnTo>
                    <a:pt x="6525884" y="2846566"/>
                  </a:lnTo>
                  <a:lnTo>
                    <a:pt x="6525884" y="2863221"/>
                  </a:lnTo>
                  <a:lnTo>
                    <a:pt x="6267168" y="2752885"/>
                  </a:lnTo>
                  <a:cubicBezTo>
                    <a:pt x="5567258" y="2456843"/>
                    <a:pt x="4842950" y="2150119"/>
                    <a:pt x="4135416" y="1838818"/>
                  </a:cubicBezTo>
                  <a:cubicBezTo>
                    <a:pt x="3761826" y="1675537"/>
                    <a:pt x="3397385" y="1481736"/>
                    <a:pt x="3045142" y="1295565"/>
                  </a:cubicBezTo>
                  <a:cubicBezTo>
                    <a:pt x="2670027" y="1097187"/>
                    <a:pt x="2281188" y="892704"/>
                    <a:pt x="1883200" y="721793"/>
                  </a:cubicBezTo>
                  <a:cubicBezTo>
                    <a:pt x="1299180" y="471531"/>
                    <a:pt x="692286" y="251788"/>
                    <a:pt x="105215" y="38150"/>
                  </a:cubicBezTo>
                  <a:cubicBezTo>
                    <a:pt x="70144" y="25942"/>
                    <a:pt x="35072" y="12208"/>
                    <a:pt x="0" y="0"/>
                  </a:cubicBezTo>
                  <a:close/>
                </a:path>
              </a:pathLst>
            </a:custGeom>
            <a:solidFill>
              <a:srgbClr val="C2C3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51" name="Freeform 40"/>
            <p:cNvSpPr>
              <a:spLocks/>
            </p:cNvSpPr>
            <p:nvPr userDrawn="1"/>
          </p:nvSpPr>
          <p:spPr bwMode="auto">
            <a:xfrm>
              <a:off x="-792" y="4832724"/>
              <a:ext cx="5053996" cy="732765"/>
            </a:xfrm>
            <a:custGeom>
              <a:avLst/>
              <a:gdLst>
                <a:gd name="T0" fmla="*/ 2531 w 3314"/>
                <a:gd name="T1" fmla="*/ 341 h 480"/>
                <a:gd name="T2" fmla="*/ 2388 w 3314"/>
                <a:gd name="T3" fmla="*/ 357 h 480"/>
                <a:gd name="T4" fmla="*/ 2141 w 3314"/>
                <a:gd name="T5" fmla="*/ 386 h 480"/>
                <a:gd name="T6" fmla="*/ 1044 w 3314"/>
                <a:gd name="T7" fmla="*/ 413 h 480"/>
                <a:gd name="T8" fmla="*/ 290 w 3314"/>
                <a:gd name="T9" fmla="*/ 132 h 480"/>
                <a:gd name="T10" fmla="*/ 18 w 3314"/>
                <a:gd name="T11" fmla="*/ 8 h 480"/>
                <a:gd name="T12" fmla="*/ 0 w 3314"/>
                <a:gd name="T13" fmla="*/ 0 h 480"/>
                <a:gd name="T14" fmla="*/ 0 w 3314"/>
                <a:gd name="T15" fmla="*/ 4 h 480"/>
                <a:gd name="T16" fmla="*/ 17 w 3314"/>
                <a:gd name="T17" fmla="*/ 11 h 480"/>
                <a:gd name="T18" fmla="*/ 288 w 3314"/>
                <a:gd name="T19" fmla="*/ 135 h 480"/>
                <a:gd name="T20" fmla="*/ 1043 w 3314"/>
                <a:gd name="T21" fmla="*/ 416 h 480"/>
                <a:gd name="T22" fmla="*/ 2142 w 3314"/>
                <a:gd name="T23" fmla="*/ 390 h 480"/>
                <a:gd name="T24" fmla="*/ 2388 w 3314"/>
                <a:gd name="T25" fmla="*/ 361 h 480"/>
                <a:gd name="T26" fmla="*/ 2532 w 3314"/>
                <a:gd name="T27" fmla="*/ 345 h 480"/>
                <a:gd name="T28" fmla="*/ 3302 w 3314"/>
                <a:gd name="T29" fmla="*/ 315 h 480"/>
                <a:gd name="T30" fmla="*/ 3314 w 3314"/>
                <a:gd name="T31" fmla="*/ 313 h 480"/>
                <a:gd name="T32" fmla="*/ 2531 w 3314"/>
                <a:gd name="T33" fmla="*/ 341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14" h="480">
                  <a:moveTo>
                    <a:pt x="2531" y="341"/>
                  </a:moveTo>
                  <a:cubicBezTo>
                    <a:pt x="2481" y="347"/>
                    <a:pt x="2434" y="352"/>
                    <a:pt x="2388" y="357"/>
                  </a:cubicBezTo>
                  <a:cubicBezTo>
                    <a:pt x="2306" y="366"/>
                    <a:pt x="2222" y="376"/>
                    <a:pt x="2141" y="386"/>
                  </a:cubicBezTo>
                  <a:cubicBezTo>
                    <a:pt x="1778" y="431"/>
                    <a:pt x="1402" y="477"/>
                    <a:pt x="1044" y="413"/>
                  </a:cubicBezTo>
                  <a:cubicBezTo>
                    <a:pt x="788" y="367"/>
                    <a:pt x="535" y="247"/>
                    <a:pt x="290" y="132"/>
                  </a:cubicBezTo>
                  <a:cubicBezTo>
                    <a:pt x="196" y="88"/>
                    <a:pt x="107" y="46"/>
                    <a:pt x="18" y="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06" y="49"/>
                    <a:pt x="194" y="91"/>
                    <a:pt x="288" y="135"/>
                  </a:cubicBezTo>
                  <a:cubicBezTo>
                    <a:pt x="533" y="251"/>
                    <a:pt x="787" y="370"/>
                    <a:pt x="1043" y="416"/>
                  </a:cubicBezTo>
                  <a:cubicBezTo>
                    <a:pt x="1402" y="480"/>
                    <a:pt x="1778" y="434"/>
                    <a:pt x="2142" y="390"/>
                  </a:cubicBezTo>
                  <a:cubicBezTo>
                    <a:pt x="2223" y="380"/>
                    <a:pt x="2307" y="370"/>
                    <a:pt x="2388" y="361"/>
                  </a:cubicBezTo>
                  <a:cubicBezTo>
                    <a:pt x="2434" y="356"/>
                    <a:pt x="2482" y="351"/>
                    <a:pt x="2532" y="345"/>
                  </a:cubicBezTo>
                  <a:cubicBezTo>
                    <a:pt x="2781" y="315"/>
                    <a:pt x="3053" y="284"/>
                    <a:pt x="3302" y="315"/>
                  </a:cubicBezTo>
                  <a:cubicBezTo>
                    <a:pt x="3314" y="313"/>
                    <a:pt x="3314" y="313"/>
                    <a:pt x="3314" y="313"/>
                  </a:cubicBezTo>
                  <a:cubicBezTo>
                    <a:pt x="3062" y="279"/>
                    <a:pt x="2785" y="311"/>
                    <a:pt x="2531" y="341"/>
                  </a:cubicBezTo>
                  <a:close/>
                </a:path>
              </a:pathLst>
            </a:custGeom>
            <a:solidFill>
              <a:srgbClr val="D3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2" name="Freeform 41"/>
            <p:cNvSpPr>
              <a:spLocks/>
            </p:cNvSpPr>
            <p:nvPr userDrawn="1"/>
          </p:nvSpPr>
          <p:spPr bwMode="auto">
            <a:xfrm>
              <a:off x="-792" y="4632296"/>
              <a:ext cx="5714608" cy="755213"/>
            </a:xfrm>
            <a:custGeom>
              <a:avLst/>
              <a:gdLst>
                <a:gd name="T0" fmla="*/ 3707 w 3747"/>
                <a:gd name="T1" fmla="*/ 348 h 495"/>
                <a:gd name="T2" fmla="*/ 2619 w 3747"/>
                <a:gd name="T3" fmla="*/ 320 h 495"/>
                <a:gd name="T4" fmla="*/ 2467 w 3747"/>
                <a:gd name="T5" fmla="*/ 342 h 495"/>
                <a:gd name="T6" fmla="*/ 2211 w 3747"/>
                <a:gd name="T7" fmla="*/ 379 h 495"/>
                <a:gd name="T8" fmla="*/ 1093 w 3747"/>
                <a:gd name="T9" fmla="*/ 431 h 495"/>
                <a:gd name="T10" fmla="*/ 336 w 3747"/>
                <a:gd name="T11" fmla="*/ 152 h 495"/>
                <a:gd name="T12" fmla="*/ 66 w 3747"/>
                <a:gd name="T13" fmla="*/ 28 h 495"/>
                <a:gd name="T14" fmla="*/ 0 w 3747"/>
                <a:gd name="T15" fmla="*/ 0 h 495"/>
                <a:gd name="T16" fmla="*/ 0 w 3747"/>
                <a:gd name="T17" fmla="*/ 4 h 495"/>
                <a:gd name="T18" fmla="*/ 64 w 3747"/>
                <a:gd name="T19" fmla="*/ 31 h 495"/>
                <a:gd name="T20" fmla="*/ 334 w 3747"/>
                <a:gd name="T21" fmla="*/ 155 h 495"/>
                <a:gd name="T22" fmla="*/ 1092 w 3747"/>
                <a:gd name="T23" fmla="*/ 435 h 495"/>
                <a:gd name="T24" fmla="*/ 2212 w 3747"/>
                <a:gd name="T25" fmla="*/ 382 h 495"/>
                <a:gd name="T26" fmla="*/ 2468 w 3747"/>
                <a:gd name="T27" fmla="*/ 346 h 495"/>
                <a:gd name="T28" fmla="*/ 2620 w 3747"/>
                <a:gd name="T29" fmla="*/ 324 h 495"/>
                <a:gd name="T30" fmla="*/ 3705 w 3747"/>
                <a:gd name="T31" fmla="*/ 351 h 495"/>
                <a:gd name="T32" fmla="*/ 3741 w 3747"/>
                <a:gd name="T33" fmla="*/ 368 h 495"/>
                <a:gd name="T34" fmla="*/ 3747 w 3747"/>
                <a:gd name="T35" fmla="*/ 367 h 495"/>
                <a:gd name="T36" fmla="*/ 3707 w 3747"/>
                <a:gd name="T37" fmla="*/ 348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747" h="495">
                  <a:moveTo>
                    <a:pt x="3707" y="348"/>
                  </a:moveTo>
                  <a:cubicBezTo>
                    <a:pt x="3390" y="209"/>
                    <a:pt x="2962" y="271"/>
                    <a:pt x="2619" y="320"/>
                  </a:cubicBezTo>
                  <a:cubicBezTo>
                    <a:pt x="2566" y="328"/>
                    <a:pt x="2516" y="335"/>
                    <a:pt x="2467" y="342"/>
                  </a:cubicBezTo>
                  <a:cubicBezTo>
                    <a:pt x="2383" y="353"/>
                    <a:pt x="2296" y="366"/>
                    <a:pt x="2211" y="379"/>
                  </a:cubicBezTo>
                  <a:cubicBezTo>
                    <a:pt x="1841" y="434"/>
                    <a:pt x="1458" y="491"/>
                    <a:pt x="1093" y="431"/>
                  </a:cubicBezTo>
                  <a:cubicBezTo>
                    <a:pt x="837" y="389"/>
                    <a:pt x="582" y="268"/>
                    <a:pt x="336" y="152"/>
                  </a:cubicBezTo>
                  <a:cubicBezTo>
                    <a:pt x="242" y="107"/>
                    <a:pt x="154" y="66"/>
                    <a:pt x="66" y="2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64" y="31"/>
                    <a:pt x="64" y="31"/>
                    <a:pt x="64" y="31"/>
                  </a:cubicBezTo>
                  <a:cubicBezTo>
                    <a:pt x="153" y="69"/>
                    <a:pt x="241" y="111"/>
                    <a:pt x="334" y="155"/>
                  </a:cubicBezTo>
                  <a:cubicBezTo>
                    <a:pt x="580" y="272"/>
                    <a:pt x="835" y="392"/>
                    <a:pt x="1092" y="435"/>
                  </a:cubicBezTo>
                  <a:cubicBezTo>
                    <a:pt x="1458" y="495"/>
                    <a:pt x="1841" y="438"/>
                    <a:pt x="2212" y="382"/>
                  </a:cubicBezTo>
                  <a:cubicBezTo>
                    <a:pt x="2296" y="370"/>
                    <a:pt x="2384" y="357"/>
                    <a:pt x="2468" y="346"/>
                  </a:cubicBezTo>
                  <a:cubicBezTo>
                    <a:pt x="2517" y="339"/>
                    <a:pt x="2567" y="332"/>
                    <a:pt x="2620" y="324"/>
                  </a:cubicBezTo>
                  <a:cubicBezTo>
                    <a:pt x="2962" y="275"/>
                    <a:pt x="3389" y="213"/>
                    <a:pt x="3705" y="351"/>
                  </a:cubicBezTo>
                  <a:cubicBezTo>
                    <a:pt x="3717" y="357"/>
                    <a:pt x="3729" y="362"/>
                    <a:pt x="3741" y="368"/>
                  </a:cubicBezTo>
                  <a:cubicBezTo>
                    <a:pt x="3747" y="367"/>
                    <a:pt x="3747" y="367"/>
                    <a:pt x="3747" y="367"/>
                  </a:cubicBezTo>
                  <a:cubicBezTo>
                    <a:pt x="3734" y="361"/>
                    <a:pt x="3720" y="354"/>
                    <a:pt x="3707" y="348"/>
                  </a:cubicBezTo>
                  <a:close/>
                </a:path>
              </a:pathLst>
            </a:custGeom>
            <a:solidFill>
              <a:srgbClr val="D3D4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3" name="Freeform 42"/>
            <p:cNvSpPr>
              <a:spLocks/>
            </p:cNvSpPr>
            <p:nvPr userDrawn="1"/>
          </p:nvSpPr>
          <p:spPr bwMode="auto">
            <a:xfrm>
              <a:off x="-792" y="4433471"/>
              <a:ext cx="6110654" cy="780868"/>
            </a:xfrm>
            <a:custGeom>
              <a:avLst/>
              <a:gdLst>
                <a:gd name="T0" fmla="*/ 3801 w 4007"/>
                <a:gd name="T1" fmla="*/ 317 h 512"/>
                <a:gd name="T2" fmla="*/ 2697 w 4007"/>
                <a:gd name="T3" fmla="*/ 307 h 512"/>
                <a:gd name="T4" fmla="*/ 2542 w 4007"/>
                <a:gd name="T5" fmla="*/ 332 h 512"/>
                <a:gd name="T6" fmla="*/ 2277 w 4007"/>
                <a:gd name="T7" fmla="*/ 376 h 512"/>
                <a:gd name="T8" fmla="*/ 1141 w 4007"/>
                <a:gd name="T9" fmla="*/ 450 h 512"/>
                <a:gd name="T10" fmla="*/ 383 w 4007"/>
                <a:gd name="T11" fmla="*/ 172 h 512"/>
                <a:gd name="T12" fmla="*/ 113 w 4007"/>
                <a:gd name="T13" fmla="*/ 48 h 512"/>
                <a:gd name="T14" fmla="*/ 0 w 4007"/>
                <a:gd name="T15" fmla="*/ 0 h 512"/>
                <a:gd name="T16" fmla="*/ 0 w 4007"/>
                <a:gd name="T17" fmla="*/ 4 h 512"/>
                <a:gd name="T18" fmla="*/ 112 w 4007"/>
                <a:gd name="T19" fmla="*/ 52 h 512"/>
                <a:gd name="T20" fmla="*/ 381 w 4007"/>
                <a:gd name="T21" fmla="*/ 176 h 512"/>
                <a:gd name="T22" fmla="*/ 1140 w 4007"/>
                <a:gd name="T23" fmla="*/ 454 h 512"/>
                <a:gd name="T24" fmla="*/ 2277 w 4007"/>
                <a:gd name="T25" fmla="*/ 380 h 512"/>
                <a:gd name="T26" fmla="*/ 2542 w 4007"/>
                <a:gd name="T27" fmla="*/ 336 h 512"/>
                <a:gd name="T28" fmla="*/ 2698 w 4007"/>
                <a:gd name="T29" fmla="*/ 311 h 512"/>
                <a:gd name="T30" fmla="*/ 3799 w 4007"/>
                <a:gd name="T31" fmla="*/ 321 h 512"/>
                <a:gd name="T32" fmla="*/ 4002 w 4007"/>
                <a:gd name="T33" fmla="*/ 453 h 512"/>
                <a:gd name="T34" fmla="*/ 4007 w 4007"/>
                <a:gd name="T35" fmla="*/ 453 h 512"/>
                <a:gd name="T36" fmla="*/ 3801 w 4007"/>
                <a:gd name="T37" fmla="*/ 317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07" h="512">
                  <a:moveTo>
                    <a:pt x="3801" y="317"/>
                  </a:moveTo>
                  <a:cubicBezTo>
                    <a:pt x="3480" y="176"/>
                    <a:pt x="3046" y="249"/>
                    <a:pt x="2697" y="307"/>
                  </a:cubicBezTo>
                  <a:cubicBezTo>
                    <a:pt x="2643" y="316"/>
                    <a:pt x="2591" y="325"/>
                    <a:pt x="2542" y="332"/>
                  </a:cubicBezTo>
                  <a:cubicBezTo>
                    <a:pt x="2455" y="346"/>
                    <a:pt x="2364" y="361"/>
                    <a:pt x="2277" y="376"/>
                  </a:cubicBezTo>
                  <a:cubicBezTo>
                    <a:pt x="1901" y="441"/>
                    <a:pt x="1512" y="508"/>
                    <a:pt x="1141" y="450"/>
                  </a:cubicBezTo>
                  <a:cubicBezTo>
                    <a:pt x="885" y="410"/>
                    <a:pt x="630" y="289"/>
                    <a:pt x="383" y="172"/>
                  </a:cubicBezTo>
                  <a:cubicBezTo>
                    <a:pt x="289" y="128"/>
                    <a:pt x="201" y="86"/>
                    <a:pt x="113" y="4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12" y="52"/>
                    <a:pt x="112" y="52"/>
                    <a:pt x="112" y="52"/>
                  </a:cubicBezTo>
                  <a:cubicBezTo>
                    <a:pt x="200" y="89"/>
                    <a:pt x="288" y="131"/>
                    <a:pt x="381" y="176"/>
                  </a:cubicBezTo>
                  <a:cubicBezTo>
                    <a:pt x="628" y="293"/>
                    <a:pt x="884" y="414"/>
                    <a:pt x="1140" y="454"/>
                  </a:cubicBezTo>
                  <a:cubicBezTo>
                    <a:pt x="1512" y="512"/>
                    <a:pt x="1901" y="445"/>
                    <a:pt x="2277" y="380"/>
                  </a:cubicBezTo>
                  <a:cubicBezTo>
                    <a:pt x="2365" y="365"/>
                    <a:pt x="2455" y="350"/>
                    <a:pt x="2542" y="336"/>
                  </a:cubicBezTo>
                  <a:cubicBezTo>
                    <a:pt x="2592" y="329"/>
                    <a:pt x="2643" y="320"/>
                    <a:pt x="2698" y="311"/>
                  </a:cubicBezTo>
                  <a:cubicBezTo>
                    <a:pt x="3046" y="253"/>
                    <a:pt x="3479" y="180"/>
                    <a:pt x="3799" y="321"/>
                  </a:cubicBezTo>
                  <a:cubicBezTo>
                    <a:pt x="3877" y="355"/>
                    <a:pt x="3944" y="400"/>
                    <a:pt x="4002" y="453"/>
                  </a:cubicBezTo>
                  <a:cubicBezTo>
                    <a:pt x="4007" y="453"/>
                    <a:pt x="4007" y="453"/>
                    <a:pt x="4007" y="453"/>
                  </a:cubicBezTo>
                  <a:cubicBezTo>
                    <a:pt x="3945" y="396"/>
                    <a:pt x="3877" y="351"/>
                    <a:pt x="3801" y="317"/>
                  </a:cubicBezTo>
                  <a:close/>
                </a:path>
              </a:pathLst>
            </a:custGeom>
            <a:solidFill>
              <a:srgbClr val="D2D4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4" name="Freeform 43"/>
            <p:cNvSpPr>
              <a:spLocks/>
            </p:cNvSpPr>
            <p:nvPr userDrawn="1"/>
          </p:nvSpPr>
          <p:spPr bwMode="auto">
            <a:xfrm>
              <a:off x="-792" y="4233043"/>
              <a:ext cx="6388046" cy="841798"/>
            </a:xfrm>
            <a:custGeom>
              <a:avLst/>
              <a:gdLst>
                <a:gd name="T0" fmla="*/ 3883 w 4189"/>
                <a:gd name="T1" fmla="*/ 299 h 552"/>
                <a:gd name="T2" fmla="*/ 2764 w 4189"/>
                <a:gd name="T3" fmla="*/ 302 h 552"/>
                <a:gd name="T4" fmla="*/ 2609 w 4189"/>
                <a:gd name="T5" fmla="*/ 330 h 552"/>
                <a:gd name="T6" fmla="*/ 2337 w 4189"/>
                <a:gd name="T7" fmla="*/ 380 h 552"/>
                <a:gd name="T8" fmla="*/ 1188 w 4189"/>
                <a:gd name="T9" fmla="*/ 471 h 552"/>
                <a:gd name="T10" fmla="*/ 431 w 4189"/>
                <a:gd name="T11" fmla="*/ 193 h 552"/>
                <a:gd name="T12" fmla="*/ 160 w 4189"/>
                <a:gd name="T13" fmla="*/ 68 h 552"/>
                <a:gd name="T14" fmla="*/ 0 w 4189"/>
                <a:gd name="T15" fmla="*/ 0 h 552"/>
                <a:gd name="T16" fmla="*/ 0 w 4189"/>
                <a:gd name="T17" fmla="*/ 4 h 552"/>
                <a:gd name="T18" fmla="*/ 159 w 4189"/>
                <a:gd name="T19" fmla="*/ 72 h 552"/>
                <a:gd name="T20" fmla="*/ 430 w 4189"/>
                <a:gd name="T21" fmla="*/ 197 h 552"/>
                <a:gd name="T22" fmla="*/ 1187 w 4189"/>
                <a:gd name="T23" fmla="*/ 475 h 552"/>
                <a:gd name="T24" fmla="*/ 2338 w 4189"/>
                <a:gd name="T25" fmla="*/ 384 h 552"/>
                <a:gd name="T26" fmla="*/ 2610 w 4189"/>
                <a:gd name="T27" fmla="*/ 334 h 552"/>
                <a:gd name="T28" fmla="*/ 2765 w 4189"/>
                <a:gd name="T29" fmla="*/ 306 h 552"/>
                <a:gd name="T30" fmla="*/ 3881 w 4189"/>
                <a:gd name="T31" fmla="*/ 303 h 552"/>
                <a:gd name="T32" fmla="*/ 4183 w 4189"/>
                <a:gd name="T33" fmla="*/ 552 h 552"/>
                <a:gd name="T34" fmla="*/ 4189 w 4189"/>
                <a:gd name="T35" fmla="*/ 551 h 552"/>
                <a:gd name="T36" fmla="*/ 3883 w 4189"/>
                <a:gd name="T37" fmla="*/ 299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189" h="552">
                  <a:moveTo>
                    <a:pt x="3883" y="299"/>
                  </a:moveTo>
                  <a:cubicBezTo>
                    <a:pt x="3557" y="156"/>
                    <a:pt x="3118" y="237"/>
                    <a:pt x="2764" y="302"/>
                  </a:cubicBezTo>
                  <a:cubicBezTo>
                    <a:pt x="2710" y="312"/>
                    <a:pt x="2659" y="322"/>
                    <a:pt x="2609" y="330"/>
                  </a:cubicBezTo>
                  <a:cubicBezTo>
                    <a:pt x="2520" y="345"/>
                    <a:pt x="2427" y="363"/>
                    <a:pt x="2337" y="380"/>
                  </a:cubicBezTo>
                  <a:cubicBezTo>
                    <a:pt x="1956" y="453"/>
                    <a:pt x="1563" y="528"/>
                    <a:pt x="1188" y="471"/>
                  </a:cubicBezTo>
                  <a:cubicBezTo>
                    <a:pt x="933" y="432"/>
                    <a:pt x="678" y="310"/>
                    <a:pt x="431" y="193"/>
                  </a:cubicBezTo>
                  <a:cubicBezTo>
                    <a:pt x="338" y="148"/>
                    <a:pt x="249" y="106"/>
                    <a:pt x="160" y="6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59" y="72"/>
                    <a:pt x="159" y="72"/>
                    <a:pt x="159" y="72"/>
                  </a:cubicBezTo>
                  <a:cubicBezTo>
                    <a:pt x="247" y="110"/>
                    <a:pt x="336" y="152"/>
                    <a:pt x="430" y="197"/>
                  </a:cubicBezTo>
                  <a:cubicBezTo>
                    <a:pt x="676" y="314"/>
                    <a:pt x="932" y="436"/>
                    <a:pt x="1187" y="475"/>
                  </a:cubicBezTo>
                  <a:cubicBezTo>
                    <a:pt x="1563" y="532"/>
                    <a:pt x="1957" y="457"/>
                    <a:pt x="2338" y="384"/>
                  </a:cubicBezTo>
                  <a:cubicBezTo>
                    <a:pt x="2428" y="367"/>
                    <a:pt x="2521" y="350"/>
                    <a:pt x="2610" y="334"/>
                  </a:cubicBezTo>
                  <a:cubicBezTo>
                    <a:pt x="2660" y="326"/>
                    <a:pt x="2711" y="316"/>
                    <a:pt x="2765" y="306"/>
                  </a:cubicBezTo>
                  <a:cubicBezTo>
                    <a:pt x="3118" y="241"/>
                    <a:pt x="3556" y="161"/>
                    <a:pt x="3881" y="303"/>
                  </a:cubicBezTo>
                  <a:cubicBezTo>
                    <a:pt x="4012" y="360"/>
                    <a:pt x="4108" y="447"/>
                    <a:pt x="4183" y="552"/>
                  </a:cubicBezTo>
                  <a:cubicBezTo>
                    <a:pt x="4189" y="551"/>
                    <a:pt x="4189" y="551"/>
                    <a:pt x="4189" y="551"/>
                  </a:cubicBezTo>
                  <a:cubicBezTo>
                    <a:pt x="4106" y="436"/>
                    <a:pt x="4005" y="353"/>
                    <a:pt x="3883" y="299"/>
                  </a:cubicBezTo>
                  <a:close/>
                </a:path>
              </a:pathLst>
            </a:custGeom>
            <a:solidFill>
              <a:srgbClr val="D2D3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5" name="Freeform 44"/>
            <p:cNvSpPr>
              <a:spLocks/>
            </p:cNvSpPr>
            <p:nvPr userDrawn="1"/>
          </p:nvSpPr>
          <p:spPr bwMode="auto">
            <a:xfrm>
              <a:off x="-792" y="4032615"/>
              <a:ext cx="6590077" cy="1006952"/>
            </a:xfrm>
            <a:custGeom>
              <a:avLst/>
              <a:gdLst>
                <a:gd name="T0" fmla="*/ 3951 w 4322"/>
                <a:gd name="T1" fmla="*/ 296 h 660"/>
                <a:gd name="T2" fmla="*/ 2820 w 4322"/>
                <a:gd name="T3" fmla="*/ 308 h 660"/>
                <a:gd name="T4" fmla="*/ 2669 w 4322"/>
                <a:gd name="T5" fmla="*/ 336 h 660"/>
                <a:gd name="T6" fmla="*/ 2391 w 4322"/>
                <a:gd name="T7" fmla="*/ 391 h 660"/>
                <a:gd name="T8" fmla="*/ 1234 w 4322"/>
                <a:gd name="T9" fmla="*/ 493 h 660"/>
                <a:gd name="T10" fmla="*/ 482 w 4322"/>
                <a:gd name="T11" fmla="*/ 214 h 660"/>
                <a:gd name="T12" fmla="*/ 208 w 4322"/>
                <a:gd name="T13" fmla="*/ 88 h 660"/>
                <a:gd name="T14" fmla="*/ 0 w 4322"/>
                <a:gd name="T15" fmla="*/ 0 h 660"/>
                <a:gd name="T16" fmla="*/ 0 w 4322"/>
                <a:gd name="T17" fmla="*/ 4 h 660"/>
                <a:gd name="T18" fmla="*/ 206 w 4322"/>
                <a:gd name="T19" fmla="*/ 92 h 660"/>
                <a:gd name="T20" fmla="*/ 480 w 4322"/>
                <a:gd name="T21" fmla="*/ 218 h 660"/>
                <a:gd name="T22" fmla="*/ 1233 w 4322"/>
                <a:gd name="T23" fmla="*/ 497 h 660"/>
                <a:gd name="T24" fmla="*/ 2392 w 4322"/>
                <a:gd name="T25" fmla="*/ 396 h 660"/>
                <a:gd name="T26" fmla="*/ 2670 w 4322"/>
                <a:gd name="T27" fmla="*/ 341 h 660"/>
                <a:gd name="T28" fmla="*/ 2821 w 4322"/>
                <a:gd name="T29" fmla="*/ 312 h 660"/>
                <a:gd name="T30" fmla="*/ 3949 w 4322"/>
                <a:gd name="T31" fmla="*/ 300 h 660"/>
                <a:gd name="T32" fmla="*/ 4317 w 4322"/>
                <a:gd name="T33" fmla="*/ 660 h 660"/>
                <a:gd name="T34" fmla="*/ 4322 w 4322"/>
                <a:gd name="T35" fmla="*/ 659 h 660"/>
                <a:gd name="T36" fmla="*/ 3951 w 4322"/>
                <a:gd name="T37" fmla="*/ 296 h 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322" h="660">
                  <a:moveTo>
                    <a:pt x="3951" y="296"/>
                  </a:moveTo>
                  <a:cubicBezTo>
                    <a:pt x="3619" y="151"/>
                    <a:pt x="3176" y="238"/>
                    <a:pt x="2820" y="308"/>
                  </a:cubicBezTo>
                  <a:cubicBezTo>
                    <a:pt x="2767" y="318"/>
                    <a:pt x="2718" y="328"/>
                    <a:pt x="2669" y="336"/>
                  </a:cubicBezTo>
                  <a:cubicBezTo>
                    <a:pt x="2578" y="353"/>
                    <a:pt x="2487" y="372"/>
                    <a:pt x="2391" y="391"/>
                  </a:cubicBezTo>
                  <a:cubicBezTo>
                    <a:pt x="2008" y="470"/>
                    <a:pt x="1611" y="552"/>
                    <a:pt x="1234" y="493"/>
                  </a:cubicBezTo>
                  <a:cubicBezTo>
                    <a:pt x="981" y="453"/>
                    <a:pt x="727" y="332"/>
                    <a:pt x="482" y="214"/>
                  </a:cubicBezTo>
                  <a:cubicBezTo>
                    <a:pt x="387" y="169"/>
                    <a:pt x="297" y="126"/>
                    <a:pt x="208" y="8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06" y="92"/>
                    <a:pt x="206" y="92"/>
                    <a:pt x="206" y="92"/>
                  </a:cubicBezTo>
                  <a:cubicBezTo>
                    <a:pt x="295" y="130"/>
                    <a:pt x="385" y="173"/>
                    <a:pt x="480" y="218"/>
                  </a:cubicBezTo>
                  <a:cubicBezTo>
                    <a:pt x="725" y="336"/>
                    <a:pt x="979" y="457"/>
                    <a:pt x="1233" y="497"/>
                  </a:cubicBezTo>
                  <a:cubicBezTo>
                    <a:pt x="1611" y="556"/>
                    <a:pt x="2008" y="475"/>
                    <a:pt x="2392" y="396"/>
                  </a:cubicBezTo>
                  <a:cubicBezTo>
                    <a:pt x="2488" y="376"/>
                    <a:pt x="2579" y="357"/>
                    <a:pt x="2670" y="341"/>
                  </a:cubicBezTo>
                  <a:cubicBezTo>
                    <a:pt x="2718" y="332"/>
                    <a:pt x="2768" y="322"/>
                    <a:pt x="2821" y="312"/>
                  </a:cubicBezTo>
                  <a:cubicBezTo>
                    <a:pt x="3176" y="242"/>
                    <a:pt x="3618" y="156"/>
                    <a:pt x="3949" y="300"/>
                  </a:cubicBezTo>
                  <a:cubicBezTo>
                    <a:pt x="4124" y="377"/>
                    <a:pt x="4237" y="505"/>
                    <a:pt x="4317" y="660"/>
                  </a:cubicBezTo>
                  <a:cubicBezTo>
                    <a:pt x="4322" y="659"/>
                    <a:pt x="4322" y="659"/>
                    <a:pt x="4322" y="659"/>
                  </a:cubicBezTo>
                  <a:cubicBezTo>
                    <a:pt x="4232" y="485"/>
                    <a:pt x="4111" y="366"/>
                    <a:pt x="3951" y="296"/>
                  </a:cubicBezTo>
                  <a:close/>
                </a:path>
              </a:pathLst>
            </a:custGeom>
            <a:solidFill>
              <a:srgbClr val="D1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6" name="Freeform 45"/>
            <p:cNvSpPr>
              <a:spLocks/>
            </p:cNvSpPr>
            <p:nvPr userDrawn="1"/>
          </p:nvSpPr>
          <p:spPr bwMode="auto">
            <a:xfrm>
              <a:off x="-792" y="3832187"/>
              <a:ext cx="6752023" cy="1178518"/>
            </a:xfrm>
            <a:custGeom>
              <a:avLst/>
              <a:gdLst>
                <a:gd name="T0" fmla="*/ 4389 w 4428"/>
                <a:gd name="T1" fmla="*/ 681 h 773"/>
                <a:gd name="T2" fmla="*/ 4010 w 4428"/>
                <a:gd name="T3" fmla="*/ 297 h 773"/>
                <a:gd name="T4" fmla="*/ 2870 w 4428"/>
                <a:gd name="T5" fmla="*/ 316 h 773"/>
                <a:gd name="T6" fmla="*/ 2723 w 4428"/>
                <a:gd name="T7" fmla="*/ 346 h 773"/>
                <a:gd name="T8" fmla="*/ 2443 w 4428"/>
                <a:gd name="T9" fmla="*/ 405 h 773"/>
                <a:gd name="T10" fmla="*/ 1280 w 4428"/>
                <a:gd name="T11" fmla="*/ 515 h 773"/>
                <a:gd name="T12" fmla="*/ 531 w 4428"/>
                <a:gd name="T13" fmla="*/ 237 h 773"/>
                <a:gd name="T14" fmla="*/ 255 w 4428"/>
                <a:gd name="T15" fmla="*/ 109 h 773"/>
                <a:gd name="T16" fmla="*/ 0 w 4428"/>
                <a:gd name="T17" fmla="*/ 0 h 773"/>
                <a:gd name="T18" fmla="*/ 0 w 4428"/>
                <a:gd name="T19" fmla="*/ 5 h 773"/>
                <a:gd name="T20" fmla="*/ 253 w 4428"/>
                <a:gd name="T21" fmla="*/ 113 h 773"/>
                <a:gd name="T22" fmla="*/ 529 w 4428"/>
                <a:gd name="T23" fmla="*/ 241 h 773"/>
                <a:gd name="T24" fmla="*/ 1279 w 4428"/>
                <a:gd name="T25" fmla="*/ 519 h 773"/>
                <a:gd name="T26" fmla="*/ 2444 w 4428"/>
                <a:gd name="T27" fmla="*/ 409 h 773"/>
                <a:gd name="T28" fmla="*/ 2724 w 4428"/>
                <a:gd name="T29" fmla="*/ 350 h 773"/>
                <a:gd name="T30" fmla="*/ 2871 w 4428"/>
                <a:gd name="T31" fmla="*/ 320 h 773"/>
                <a:gd name="T32" fmla="*/ 4008 w 4428"/>
                <a:gd name="T33" fmla="*/ 301 h 773"/>
                <a:gd name="T34" fmla="*/ 4423 w 4428"/>
                <a:gd name="T35" fmla="*/ 773 h 773"/>
                <a:gd name="T36" fmla="*/ 4428 w 4428"/>
                <a:gd name="T37" fmla="*/ 772 h 773"/>
                <a:gd name="T38" fmla="*/ 4389 w 4428"/>
                <a:gd name="T39" fmla="*/ 681 h 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428" h="773">
                  <a:moveTo>
                    <a:pt x="4389" y="681"/>
                  </a:moveTo>
                  <a:cubicBezTo>
                    <a:pt x="4301" y="495"/>
                    <a:pt x="4177" y="370"/>
                    <a:pt x="4010" y="297"/>
                  </a:cubicBezTo>
                  <a:cubicBezTo>
                    <a:pt x="3673" y="150"/>
                    <a:pt x="3228" y="242"/>
                    <a:pt x="2870" y="316"/>
                  </a:cubicBezTo>
                  <a:cubicBezTo>
                    <a:pt x="2819" y="326"/>
                    <a:pt x="2770" y="336"/>
                    <a:pt x="2723" y="346"/>
                  </a:cubicBezTo>
                  <a:cubicBezTo>
                    <a:pt x="2631" y="363"/>
                    <a:pt x="2540" y="383"/>
                    <a:pt x="2443" y="405"/>
                  </a:cubicBezTo>
                  <a:cubicBezTo>
                    <a:pt x="2057" y="489"/>
                    <a:pt x="1658" y="576"/>
                    <a:pt x="1280" y="515"/>
                  </a:cubicBezTo>
                  <a:cubicBezTo>
                    <a:pt x="1028" y="475"/>
                    <a:pt x="776" y="354"/>
                    <a:pt x="531" y="237"/>
                  </a:cubicBezTo>
                  <a:cubicBezTo>
                    <a:pt x="436" y="191"/>
                    <a:pt x="345" y="148"/>
                    <a:pt x="255" y="10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253" y="113"/>
                    <a:pt x="253" y="113"/>
                    <a:pt x="253" y="113"/>
                  </a:cubicBezTo>
                  <a:cubicBezTo>
                    <a:pt x="343" y="152"/>
                    <a:pt x="434" y="195"/>
                    <a:pt x="529" y="241"/>
                  </a:cubicBezTo>
                  <a:cubicBezTo>
                    <a:pt x="774" y="358"/>
                    <a:pt x="1027" y="479"/>
                    <a:pt x="1279" y="519"/>
                  </a:cubicBezTo>
                  <a:cubicBezTo>
                    <a:pt x="1658" y="580"/>
                    <a:pt x="2057" y="493"/>
                    <a:pt x="2444" y="409"/>
                  </a:cubicBezTo>
                  <a:cubicBezTo>
                    <a:pt x="2541" y="388"/>
                    <a:pt x="2632" y="368"/>
                    <a:pt x="2724" y="350"/>
                  </a:cubicBezTo>
                  <a:cubicBezTo>
                    <a:pt x="2771" y="341"/>
                    <a:pt x="2820" y="331"/>
                    <a:pt x="2871" y="320"/>
                  </a:cubicBezTo>
                  <a:cubicBezTo>
                    <a:pt x="3228" y="247"/>
                    <a:pt x="3672" y="155"/>
                    <a:pt x="4008" y="301"/>
                  </a:cubicBezTo>
                  <a:cubicBezTo>
                    <a:pt x="4224" y="396"/>
                    <a:pt x="4344" y="569"/>
                    <a:pt x="4423" y="773"/>
                  </a:cubicBezTo>
                  <a:cubicBezTo>
                    <a:pt x="4428" y="772"/>
                    <a:pt x="4428" y="772"/>
                    <a:pt x="4428" y="772"/>
                  </a:cubicBezTo>
                  <a:cubicBezTo>
                    <a:pt x="4416" y="741"/>
                    <a:pt x="4403" y="710"/>
                    <a:pt x="4389" y="681"/>
                  </a:cubicBezTo>
                  <a:close/>
                </a:path>
              </a:pathLst>
            </a:custGeom>
            <a:solidFill>
              <a:srgbClr val="D1D2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7" name="Freeform 46"/>
            <p:cNvSpPr>
              <a:spLocks/>
            </p:cNvSpPr>
            <p:nvPr userDrawn="1"/>
          </p:nvSpPr>
          <p:spPr bwMode="auto">
            <a:xfrm>
              <a:off x="-792" y="3631758"/>
              <a:ext cx="6878694" cy="1356498"/>
            </a:xfrm>
            <a:custGeom>
              <a:avLst/>
              <a:gdLst>
                <a:gd name="T0" fmla="*/ 4069 w 4511"/>
                <a:gd name="T1" fmla="*/ 269 h 889"/>
                <a:gd name="T2" fmla="*/ 2931 w 4511"/>
                <a:gd name="T3" fmla="*/ 304 h 889"/>
                <a:gd name="T4" fmla="*/ 2777 w 4511"/>
                <a:gd name="T5" fmla="*/ 338 h 889"/>
                <a:gd name="T6" fmla="*/ 2497 w 4511"/>
                <a:gd name="T7" fmla="*/ 401 h 889"/>
                <a:gd name="T8" fmla="*/ 1330 w 4511"/>
                <a:gd name="T9" fmla="*/ 532 h 889"/>
                <a:gd name="T10" fmla="*/ 574 w 4511"/>
                <a:gd name="T11" fmla="*/ 255 h 889"/>
                <a:gd name="T12" fmla="*/ 303 w 4511"/>
                <a:gd name="T13" fmla="*/ 129 h 889"/>
                <a:gd name="T14" fmla="*/ 0 w 4511"/>
                <a:gd name="T15" fmla="*/ 0 h 889"/>
                <a:gd name="T16" fmla="*/ 0 w 4511"/>
                <a:gd name="T17" fmla="*/ 5 h 889"/>
                <a:gd name="T18" fmla="*/ 301 w 4511"/>
                <a:gd name="T19" fmla="*/ 134 h 889"/>
                <a:gd name="T20" fmla="*/ 572 w 4511"/>
                <a:gd name="T21" fmla="*/ 259 h 889"/>
                <a:gd name="T22" fmla="*/ 1330 w 4511"/>
                <a:gd name="T23" fmla="*/ 536 h 889"/>
                <a:gd name="T24" fmla="*/ 2498 w 4511"/>
                <a:gd name="T25" fmla="*/ 406 h 889"/>
                <a:gd name="T26" fmla="*/ 2778 w 4511"/>
                <a:gd name="T27" fmla="*/ 343 h 889"/>
                <a:gd name="T28" fmla="*/ 2932 w 4511"/>
                <a:gd name="T29" fmla="*/ 309 h 889"/>
                <a:gd name="T30" fmla="*/ 4067 w 4511"/>
                <a:gd name="T31" fmla="*/ 273 h 889"/>
                <a:gd name="T32" fmla="*/ 4507 w 4511"/>
                <a:gd name="T33" fmla="*/ 889 h 889"/>
                <a:gd name="T34" fmla="*/ 4511 w 4511"/>
                <a:gd name="T35" fmla="*/ 889 h 889"/>
                <a:gd name="T36" fmla="*/ 4069 w 4511"/>
                <a:gd name="T37" fmla="*/ 269 h 8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511" h="889">
                  <a:moveTo>
                    <a:pt x="4069" y="269"/>
                  </a:moveTo>
                  <a:cubicBezTo>
                    <a:pt x="3738" y="123"/>
                    <a:pt x="3290" y="224"/>
                    <a:pt x="2931" y="304"/>
                  </a:cubicBezTo>
                  <a:cubicBezTo>
                    <a:pt x="2877" y="316"/>
                    <a:pt x="2826" y="328"/>
                    <a:pt x="2777" y="338"/>
                  </a:cubicBezTo>
                  <a:cubicBezTo>
                    <a:pt x="2686" y="357"/>
                    <a:pt x="2594" y="379"/>
                    <a:pt x="2497" y="401"/>
                  </a:cubicBezTo>
                  <a:cubicBezTo>
                    <a:pt x="2111" y="492"/>
                    <a:pt x="1711" y="585"/>
                    <a:pt x="1330" y="532"/>
                  </a:cubicBezTo>
                  <a:cubicBezTo>
                    <a:pt x="1076" y="496"/>
                    <a:pt x="821" y="373"/>
                    <a:pt x="574" y="255"/>
                  </a:cubicBezTo>
                  <a:cubicBezTo>
                    <a:pt x="480" y="210"/>
                    <a:pt x="391" y="167"/>
                    <a:pt x="303" y="12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301" y="134"/>
                    <a:pt x="301" y="134"/>
                    <a:pt x="301" y="134"/>
                  </a:cubicBezTo>
                  <a:cubicBezTo>
                    <a:pt x="389" y="171"/>
                    <a:pt x="478" y="214"/>
                    <a:pt x="572" y="259"/>
                  </a:cubicBezTo>
                  <a:cubicBezTo>
                    <a:pt x="819" y="378"/>
                    <a:pt x="1075" y="500"/>
                    <a:pt x="1330" y="536"/>
                  </a:cubicBezTo>
                  <a:cubicBezTo>
                    <a:pt x="1712" y="590"/>
                    <a:pt x="2112" y="496"/>
                    <a:pt x="2498" y="406"/>
                  </a:cubicBezTo>
                  <a:cubicBezTo>
                    <a:pt x="2595" y="383"/>
                    <a:pt x="2687" y="362"/>
                    <a:pt x="2778" y="343"/>
                  </a:cubicBezTo>
                  <a:cubicBezTo>
                    <a:pt x="2827" y="332"/>
                    <a:pt x="2878" y="321"/>
                    <a:pt x="2932" y="309"/>
                  </a:cubicBezTo>
                  <a:cubicBezTo>
                    <a:pt x="3291" y="228"/>
                    <a:pt x="3737" y="128"/>
                    <a:pt x="4067" y="273"/>
                  </a:cubicBezTo>
                  <a:cubicBezTo>
                    <a:pt x="4312" y="380"/>
                    <a:pt x="4429" y="634"/>
                    <a:pt x="4507" y="889"/>
                  </a:cubicBezTo>
                  <a:cubicBezTo>
                    <a:pt x="4511" y="889"/>
                    <a:pt x="4511" y="889"/>
                    <a:pt x="4511" y="889"/>
                  </a:cubicBezTo>
                  <a:cubicBezTo>
                    <a:pt x="4433" y="632"/>
                    <a:pt x="4316" y="377"/>
                    <a:pt x="4069" y="269"/>
                  </a:cubicBez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8" name="Freeform 47"/>
            <p:cNvSpPr>
              <a:spLocks/>
            </p:cNvSpPr>
            <p:nvPr userDrawn="1"/>
          </p:nvSpPr>
          <p:spPr bwMode="auto">
            <a:xfrm>
              <a:off x="-792" y="3431331"/>
              <a:ext cx="6998951" cy="1537685"/>
            </a:xfrm>
            <a:custGeom>
              <a:avLst/>
              <a:gdLst>
                <a:gd name="T0" fmla="*/ 4455 w 4590"/>
                <a:gd name="T1" fmla="*/ 619 h 1007"/>
                <a:gd name="T2" fmla="*/ 4114 w 4590"/>
                <a:gd name="T3" fmla="*/ 255 h 1007"/>
                <a:gd name="T4" fmla="*/ 2978 w 4590"/>
                <a:gd name="T5" fmla="*/ 303 h 1007"/>
                <a:gd name="T6" fmla="*/ 2822 w 4590"/>
                <a:gd name="T7" fmla="*/ 339 h 1007"/>
                <a:gd name="T8" fmla="*/ 2545 w 4590"/>
                <a:gd name="T9" fmla="*/ 405 h 1007"/>
                <a:gd name="T10" fmla="*/ 1379 w 4590"/>
                <a:gd name="T11" fmla="*/ 549 h 1007"/>
                <a:gd name="T12" fmla="*/ 619 w 4590"/>
                <a:gd name="T13" fmla="*/ 274 h 1007"/>
                <a:gd name="T14" fmla="*/ 350 w 4590"/>
                <a:gd name="T15" fmla="*/ 150 h 1007"/>
                <a:gd name="T16" fmla="*/ 0 w 4590"/>
                <a:gd name="T17" fmla="*/ 0 h 1007"/>
                <a:gd name="T18" fmla="*/ 0 w 4590"/>
                <a:gd name="T19" fmla="*/ 5 h 1007"/>
                <a:gd name="T20" fmla="*/ 348 w 4590"/>
                <a:gd name="T21" fmla="*/ 154 h 1007"/>
                <a:gd name="T22" fmla="*/ 617 w 4590"/>
                <a:gd name="T23" fmla="*/ 278 h 1007"/>
                <a:gd name="T24" fmla="*/ 1379 w 4590"/>
                <a:gd name="T25" fmla="*/ 554 h 1007"/>
                <a:gd name="T26" fmla="*/ 2546 w 4590"/>
                <a:gd name="T27" fmla="*/ 410 h 1007"/>
                <a:gd name="T28" fmla="*/ 2823 w 4590"/>
                <a:gd name="T29" fmla="*/ 344 h 1007"/>
                <a:gd name="T30" fmla="*/ 2979 w 4590"/>
                <a:gd name="T31" fmla="*/ 307 h 1007"/>
                <a:gd name="T32" fmla="*/ 4112 w 4590"/>
                <a:gd name="T33" fmla="*/ 259 h 1007"/>
                <a:gd name="T34" fmla="*/ 4585 w 4590"/>
                <a:gd name="T35" fmla="*/ 1007 h 1007"/>
                <a:gd name="T36" fmla="*/ 4590 w 4590"/>
                <a:gd name="T37" fmla="*/ 1006 h 1007"/>
                <a:gd name="T38" fmla="*/ 4455 w 4590"/>
                <a:gd name="T39" fmla="*/ 619 h 10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590" h="1007">
                  <a:moveTo>
                    <a:pt x="4455" y="619"/>
                  </a:moveTo>
                  <a:cubicBezTo>
                    <a:pt x="4367" y="436"/>
                    <a:pt x="4255" y="317"/>
                    <a:pt x="4114" y="255"/>
                  </a:cubicBezTo>
                  <a:cubicBezTo>
                    <a:pt x="3785" y="110"/>
                    <a:pt x="3337" y="217"/>
                    <a:pt x="2978" y="303"/>
                  </a:cubicBezTo>
                  <a:cubicBezTo>
                    <a:pt x="2923" y="316"/>
                    <a:pt x="2872" y="328"/>
                    <a:pt x="2822" y="339"/>
                  </a:cubicBezTo>
                  <a:cubicBezTo>
                    <a:pt x="2731" y="359"/>
                    <a:pt x="2641" y="381"/>
                    <a:pt x="2545" y="405"/>
                  </a:cubicBezTo>
                  <a:cubicBezTo>
                    <a:pt x="2160" y="500"/>
                    <a:pt x="1761" y="598"/>
                    <a:pt x="1379" y="549"/>
                  </a:cubicBezTo>
                  <a:cubicBezTo>
                    <a:pt x="1124" y="517"/>
                    <a:pt x="867" y="393"/>
                    <a:pt x="619" y="274"/>
                  </a:cubicBezTo>
                  <a:cubicBezTo>
                    <a:pt x="525" y="229"/>
                    <a:pt x="437" y="187"/>
                    <a:pt x="350" y="15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348" y="154"/>
                    <a:pt x="348" y="154"/>
                    <a:pt x="348" y="154"/>
                  </a:cubicBezTo>
                  <a:cubicBezTo>
                    <a:pt x="435" y="191"/>
                    <a:pt x="523" y="234"/>
                    <a:pt x="617" y="278"/>
                  </a:cubicBezTo>
                  <a:cubicBezTo>
                    <a:pt x="865" y="398"/>
                    <a:pt x="1123" y="521"/>
                    <a:pt x="1379" y="554"/>
                  </a:cubicBezTo>
                  <a:cubicBezTo>
                    <a:pt x="1762" y="603"/>
                    <a:pt x="2160" y="505"/>
                    <a:pt x="2546" y="410"/>
                  </a:cubicBezTo>
                  <a:cubicBezTo>
                    <a:pt x="2642" y="386"/>
                    <a:pt x="2732" y="364"/>
                    <a:pt x="2823" y="344"/>
                  </a:cubicBezTo>
                  <a:cubicBezTo>
                    <a:pt x="2873" y="333"/>
                    <a:pt x="2924" y="320"/>
                    <a:pt x="2979" y="307"/>
                  </a:cubicBezTo>
                  <a:cubicBezTo>
                    <a:pt x="3338" y="222"/>
                    <a:pt x="3784" y="115"/>
                    <a:pt x="4112" y="259"/>
                  </a:cubicBezTo>
                  <a:cubicBezTo>
                    <a:pt x="4394" y="383"/>
                    <a:pt x="4506" y="711"/>
                    <a:pt x="4585" y="1007"/>
                  </a:cubicBezTo>
                  <a:cubicBezTo>
                    <a:pt x="4590" y="1006"/>
                    <a:pt x="4590" y="1006"/>
                    <a:pt x="4590" y="1006"/>
                  </a:cubicBezTo>
                  <a:cubicBezTo>
                    <a:pt x="4555" y="878"/>
                    <a:pt x="4514" y="742"/>
                    <a:pt x="4455" y="619"/>
                  </a:cubicBezTo>
                  <a:close/>
                </a:path>
              </a:pathLst>
            </a:custGeom>
            <a:solidFill>
              <a:srgbClr val="D0D1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9" name="Freeform 48"/>
            <p:cNvSpPr>
              <a:spLocks/>
            </p:cNvSpPr>
            <p:nvPr userDrawn="1"/>
          </p:nvSpPr>
          <p:spPr bwMode="auto">
            <a:xfrm>
              <a:off x="-792" y="3232506"/>
              <a:ext cx="7101570" cy="1717269"/>
            </a:xfrm>
            <a:custGeom>
              <a:avLst/>
              <a:gdLst>
                <a:gd name="T0" fmla="*/ 4653 w 4657"/>
                <a:gd name="T1" fmla="*/ 1112 h 1126"/>
                <a:gd name="T2" fmla="*/ 4486 w 4657"/>
                <a:gd name="T3" fmla="*/ 618 h 1126"/>
                <a:gd name="T4" fmla="*/ 4144 w 4657"/>
                <a:gd name="T5" fmla="*/ 253 h 1126"/>
                <a:gd name="T6" fmla="*/ 3013 w 4657"/>
                <a:gd name="T7" fmla="*/ 309 h 1126"/>
                <a:gd name="T8" fmla="*/ 2860 w 4657"/>
                <a:gd name="T9" fmla="*/ 347 h 1126"/>
                <a:gd name="T10" fmla="*/ 2586 w 4657"/>
                <a:gd name="T11" fmla="*/ 415 h 1126"/>
                <a:gd name="T12" fmla="*/ 1427 w 4657"/>
                <a:gd name="T13" fmla="*/ 568 h 1126"/>
                <a:gd name="T14" fmla="*/ 665 w 4657"/>
                <a:gd name="T15" fmla="*/ 294 h 1126"/>
                <a:gd name="T16" fmla="*/ 397 w 4657"/>
                <a:gd name="T17" fmla="*/ 170 h 1126"/>
                <a:gd name="T18" fmla="*/ 0 w 4657"/>
                <a:gd name="T19" fmla="*/ 0 h 1126"/>
                <a:gd name="T20" fmla="*/ 0 w 4657"/>
                <a:gd name="T21" fmla="*/ 5 h 1126"/>
                <a:gd name="T22" fmla="*/ 395 w 4657"/>
                <a:gd name="T23" fmla="*/ 174 h 1126"/>
                <a:gd name="T24" fmla="*/ 663 w 4657"/>
                <a:gd name="T25" fmla="*/ 298 h 1126"/>
                <a:gd name="T26" fmla="*/ 1426 w 4657"/>
                <a:gd name="T27" fmla="*/ 573 h 1126"/>
                <a:gd name="T28" fmla="*/ 2587 w 4657"/>
                <a:gd name="T29" fmla="*/ 420 h 1126"/>
                <a:gd name="T30" fmla="*/ 2861 w 4657"/>
                <a:gd name="T31" fmla="*/ 352 h 1126"/>
                <a:gd name="T32" fmla="*/ 3014 w 4657"/>
                <a:gd name="T33" fmla="*/ 314 h 1126"/>
                <a:gd name="T34" fmla="*/ 4142 w 4657"/>
                <a:gd name="T35" fmla="*/ 258 h 1126"/>
                <a:gd name="T36" fmla="*/ 4648 w 4657"/>
                <a:gd name="T37" fmla="*/ 1114 h 1126"/>
                <a:gd name="T38" fmla="*/ 4652 w 4657"/>
                <a:gd name="T39" fmla="*/ 1126 h 1126"/>
                <a:gd name="T40" fmla="*/ 4657 w 4657"/>
                <a:gd name="T41" fmla="*/ 1125 h 1126"/>
                <a:gd name="T42" fmla="*/ 4653 w 4657"/>
                <a:gd name="T43" fmla="*/ 1112 h 1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657" h="1126">
                  <a:moveTo>
                    <a:pt x="4653" y="1112"/>
                  </a:moveTo>
                  <a:cubicBezTo>
                    <a:pt x="4611" y="955"/>
                    <a:pt x="4564" y="777"/>
                    <a:pt x="4486" y="618"/>
                  </a:cubicBezTo>
                  <a:cubicBezTo>
                    <a:pt x="4397" y="435"/>
                    <a:pt x="4285" y="315"/>
                    <a:pt x="4144" y="253"/>
                  </a:cubicBezTo>
                  <a:cubicBezTo>
                    <a:pt x="3817" y="109"/>
                    <a:pt x="3371" y="220"/>
                    <a:pt x="3013" y="309"/>
                  </a:cubicBezTo>
                  <a:cubicBezTo>
                    <a:pt x="2959" y="323"/>
                    <a:pt x="2908" y="335"/>
                    <a:pt x="2860" y="347"/>
                  </a:cubicBezTo>
                  <a:cubicBezTo>
                    <a:pt x="2770" y="368"/>
                    <a:pt x="2681" y="391"/>
                    <a:pt x="2586" y="415"/>
                  </a:cubicBezTo>
                  <a:cubicBezTo>
                    <a:pt x="2203" y="513"/>
                    <a:pt x="1808" y="614"/>
                    <a:pt x="1427" y="568"/>
                  </a:cubicBezTo>
                  <a:cubicBezTo>
                    <a:pt x="1172" y="537"/>
                    <a:pt x="914" y="413"/>
                    <a:pt x="665" y="294"/>
                  </a:cubicBezTo>
                  <a:cubicBezTo>
                    <a:pt x="572" y="249"/>
                    <a:pt x="484" y="207"/>
                    <a:pt x="397" y="17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395" y="174"/>
                    <a:pt x="395" y="174"/>
                    <a:pt x="395" y="174"/>
                  </a:cubicBezTo>
                  <a:cubicBezTo>
                    <a:pt x="482" y="211"/>
                    <a:pt x="570" y="254"/>
                    <a:pt x="663" y="298"/>
                  </a:cubicBezTo>
                  <a:cubicBezTo>
                    <a:pt x="912" y="418"/>
                    <a:pt x="1170" y="542"/>
                    <a:pt x="1426" y="573"/>
                  </a:cubicBezTo>
                  <a:cubicBezTo>
                    <a:pt x="1808" y="620"/>
                    <a:pt x="2204" y="518"/>
                    <a:pt x="2587" y="420"/>
                  </a:cubicBezTo>
                  <a:cubicBezTo>
                    <a:pt x="2682" y="395"/>
                    <a:pt x="2771" y="372"/>
                    <a:pt x="2861" y="352"/>
                  </a:cubicBezTo>
                  <a:cubicBezTo>
                    <a:pt x="2909" y="340"/>
                    <a:pt x="2960" y="328"/>
                    <a:pt x="3014" y="314"/>
                  </a:cubicBezTo>
                  <a:cubicBezTo>
                    <a:pt x="3372" y="225"/>
                    <a:pt x="3817" y="115"/>
                    <a:pt x="4142" y="258"/>
                  </a:cubicBezTo>
                  <a:cubicBezTo>
                    <a:pt x="4457" y="396"/>
                    <a:pt x="4567" y="811"/>
                    <a:pt x="4648" y="1114"/>
                  </a:cubicBezTo>
                  <a:cubicBezTo>
                    <a:pt x="4649" y="1118"/>
                    <a:pt x="4650" y="1122"/>
                    <a:pt x="4652" y="1126"/>
                  </a:cubicBezTo>
                  <a:cubicBezTo>
                    <a:pt x="4657" y="1125"/>
                    <a:pt x="4657" y="1125"/>
                    <a:pt x="4657" y="1125"/>
                  </a:cubicBezTo>
                  <a:cubicBezTo>
                    <a:pt x="4655" y="1121"/>
                    <a:pt x="4654" y="1117"/>
                    <a:pt x="4653" y="1112"/>
                  </a:cubicBezTo>
                  <a:close/>
                </a:path>
              </a:pathLst>
            </a:custGeom>
            <a:solidFill>
              <a:srgbClr val="CFD1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0" name="Freeform 49"/>
            <p:cNvSpPr>
              <a:spLocks/>
            </p:cNvSpPr>
            <p:nvPr userDrawn="1"/>
          </p:nvSpPr>
          <p:spPr bwMode="auto">
            <a:xfrm>
              <a:off x="-792" y="3032077"/>
              <a:ext cx="7194569" cy="1901662"/>
            </a:xfrm>
            <a:custGeom>
              <a:avLst/>
              <a:gdLst>
                <a:gd name="T0" fmla="*/ 4699 w 4718"/>
                <a:gd name="T1" fmla="*/ 1179 h 1246"/>
                <a:gd name="T2" fmla="*/ 4683 w 4718"/>
                <a:gd name="T3" fmla="*/ 1122 h 1246"/>
                <a:gd name="T4" fmla="*/ 4509 w 4718"/>
                <a:gd name="T5" fmla="*/ 628 h 1246"/>
                <a:gd name="T6" fmla="*/ 4163 w 4718"/>
                <a:gd name="T7" fmla="*/ 263 h 1246"/>
                <a:gd name="T8" fmla="*/ 3038 w 4718"/>
                <a:gd name="T9" fmla="*/ 324 h 1246"/>
                <a:gd name="T10" fmla="*/ 2891 w 4718"/>
                <a:gd name="T11" fmla="*/ 361 h 1246"/>
                <a:gd name="T12" fmla="*/ 2622 w 4718"/>
                <a:gd name="T13" fmla="*/ 430 h 1246"/>
                <a:gd name="T14" fmla="*/ 1474 w 4718"/>
                <a:gd name="T15" fmla="*/ 588 h 1246"/>
                <a:gd name="T16" fmla="*/ 712 w 4718"/>
                <a:gd name="T17" fmla="*/ 314 h 1246"/>
                <a:gd name="T18" fmla="*/ 445 w 4718"/>
                <a:gd name="T19" fmla="*/ 190 h 1246"/>
                <a:gd name="T20" fmla="*/ 0 w 4718"/>
                <a:gd name="T21" fmla="*/ 0 h 1246"/>
                <a:gd name="T22" fmla="*/ 0 w 4718"/>
                <a:gd name="T23" fmla="*/ 5 h 1246"/>
                <a:gd name="T24" fmla="*/ 443 w 4718"/>
                <a:gd name="T25" fmla="*/ 195 h 1246"/>
                <a:gd name="T26" fmla="*/ 710 w 4718"/>
                <a:gd name="T27" fmla="*/ 319 h 1246"/>
                <a:gd name="T28" fmla="*/ 1473 w 4718"/>
                <a:gd name="T29" fmla="*/ 593 h 1246"/>
                <a:gd name="T30" fmla="*/ 2623 w 4718"/>
                <a:gd name="T31" fmla="*/ 435 h 1246"/>
                <a:gd name="T32" fmla="*/ 2892 w 4718"/>
                <a:gd name="T33" fmla="*/ 366 h 1246"/>
                <a:gd name="T34" fmla="*/ 3039 w 4718"/>
                <a:gd name="T35" fmla="*/ 329 h 1246"/>
                <a:gd name="T36" fmla="*/ 4161 w 4718"/>
                <a:gd name="T37" fmla="*/ 267 h 1246"/>
                <a:gd name="T38" fmla="*/ 4678 w 4718"/>
                <a:gd name="T39" fmla="*/ 1124 h 1246"/>
                <a:gd name="T40" fmla="*/ 4694 w 4718"/>
                <a:gd name="T41" fmla="*/ 1181 h 1246"/>
                <a:gd name="T42" fmla="*/ 4712 w 4718"/>
                <a:gd name="T43" fmla="*/ 1246 h 1246"/>
                <a:gd name="T44" fmla="*/ 4718 w 4718"/>
                <a:gd name="T45" fmla="*/ 1245 h 1246"/>
                <a:gd name="T46" fmla="*/ 4699 w 4718"/>
                <a:gd name="T47" fmla="*/ 1179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718" h="1246">
                  <a:moveTo>
                    <a:pt x="4699" y="1179"/>
                  </a:moveTo>
                  <a:cubicBezTo>
                    <a:pt x="4694" y="1161"/>
                    <a:pt x="4689" y="1142"/>
                    <a:pt x="4683" y="1122"/>
                  </a:cubicBezTo>
                  <a:cubicBezTo>
                    <a:pt x="4639" y="965"/>
                    <a:pt x="4588" y="786"/>
                    <a:pt x="4509" y="628"/>
                  </a:cubicBezTo>
                  <a:cubicBezTo>
                    <a:pt x="4417" y="444"/>
                    <a:pt x="4304" y="324"/>
                    <a:pt x="4163" y="263"/>
                  </a:cubicBezTo>
                  <a:cubicBezTo>
                    <a:pt x="3837" y="119"/>
                    <a:pt x="3394" y="232"/>
                    <a:pt x="3038" y="324"/>
                  </a:cubicBezTo>
                  <a:cubicBezTo>
                    <a:pt x="2986" y="337"/>
                    <a:pt x="2937" y="349"/>
                    <a:pt x="2891" y="361"/>
                  </a:cubicBezTo>
                  <a:cubicBezTo>
                    <a:pt x="2803" y="382"/>
                    <a:pt x="2715" y="405"/>
                    <a:pt x="2622" y="430"/>
                  </a:cubicBezTo>
                  <a:cubicBezTo>
                    <a:pt x="2243" y="530"/>
                    <a:pt x="1851" y="633"/>
                    <a:pt x="1474" y="588"/>
                  </a:cubicBezTo>
                  <a:cubicBezTo>
                    <a:pt x="1219" y="558"/>
                    <a:pt x="961" y="434"/>
                    <a:pt x="712" y="314"/>
                  </a:cubicBezTo>
                  <a:cubicBezTo>
                    <a:pt x="619" y="269"/>
                    <a:pt x="532" y="227"/>
                    <a:pt x="445" y="19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443" y="195"/>
                    <a:pt x="443" y="195"/>
                    <a:pt x="443" y="195"/>
                  </a:cubicBezTo>
                  <a:cubicBezTo>
                    <a:pt x="530" y="232"/>
                    <a:pt x="617" y="274"/>
                    <a:pt x="710" y="319"/>
                  </a:cubicBezTo>
                  <a:cubicBezTo>
                    <a:pt x="960" y="439"/>
                    <a:pt x="1217" y="563"/>
                    <a:pt x="1473" y="593"/>
                  </a:cubicBezTo>
                  <a:cubicBezTo>
                    <a:pt x="1852" y="639"/>
                    <a:pt x="2244" y="535"/>
                    <a:pt x="2623" y="435"/>
                  </a:cubicBezTo>
                  <a:cubicBezTo>
                    <a:pt x="2716" y="410"/>
                    <a:pt x="2804" y="387"/>
                    <a:pt x="2892" y="366"/>
                  </a:cubicBezTo>
                  <a:cubicBezTo>
                    <a:pt x="2939" y="354"/>
                    <a:pt x="2988" y="342"/>
                    <a:pt x="3039" y="329"/>
                  </a:cubicBezTo>
                  <a:cubicBezTo>
                    <a:pt x="3394" y="238"/>
                    <a:pt x="3837" y="125"/>
                    <a:pt x="4161" y="267"/>
                  </a:cubicBezTo>
                  <a:cubicBezTo>
                    <a:pt x="4476" y="406"/>
                    <a:pt x="4588" y="804"/>
                    <a:pt x="4678" y="1124"/>
                  </a:cubicBezTo>
                  <a:cubicBezTo>
                    <a:pt x="4684" y="1143"/>
                    <a:pt x="4689" y="1162"/>
                    <a:pt x="4694" y="1181"/>
                  </a:cubicBezTo>
                  <a:cubicBezTo>
                    <a:pt x="4700" y="1202"/>
                    <a:pt x="4706" y="1224"/>
                    <a:pt x="4712" y="1246"/>
                  </a:cubicBezTo>
                  <a:cubicBezTo>
                    <a:pt x="4718" y="1245"/>
                    <a:pt x="4718" y="1245"/>
                    <a:pt x="4718" y="1245"/>
                  </a:cubicBezTo>
                  <a:cubicBezTo>
                    <a:pt x="4711" y="1223"/>
                    <a:pt x="4705" y="1201"/>
                    <a:pt x="4699" y="1179"/>
                  </a:cubicBezTo>
                  <a:close/>
                </a:path>
              </a:pathLst>
            </a:custGeom>
            <a:solidFill>
              <a:srgbClr val="CFD0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1" name="Freeform 50"/>
            <p:cNvSpPr>
              <a:spLocks/>
            </p:cNvSpPr>
            <p:nvPr userDrawn="1"/>
          </p:nvSpPr>
          <p:spPr bwMode="auto">
            <a:xfrm>
              <a:off x="-792" y="2831650"/>
              <a:ext cx="7281154" cy="2086056"/>
            </a:xfrm>
            <a:custGeom>
              <a:avLst/>
              <a:gdLst>
                <a:gd name="T0" fmla="*/ 4769 w 4775"/>
                <a:gd name="T1" fmla="*/ 1346 h 1367"/>
                <a:gd name="T2" fmla="*/ 4726 w 4775"/>
                <a:gd name="T3" fmla="*/ 1198 h 1367"/>
                <a:gd name="T4" fmla="*/ 4708 w 4775"/>
                <a:gd name="T5" fmla="*/ 1139 h 1367"/>
                <a:gd name="T6" fmla="*/ 4173 w 4775"/>
                <a:gd name="T7" fmla="*/ 281 h 1367"/>
                <a:gd name="T8" fmla="*/ 3055 w 4775"/>
                <a:gd name="T9" fmla="*/ 344 h 1367"/>
                <a:gd name="T10" fmla="*/ 2916 w 4775"/>
                <a:gd name="T11" fmla="*/ 379 h 1367"/>
                <a:gd name="T12" fmla="*/ 2654 w 4775"/>
                <a:gd name="T13" fmla="*/ 448 h 1367"/>
                <a:gd name="T14" fmla="*/ 1520 w 4775"/>
                <a:gd name="T15" fmla="*/ 609 h 1367"/>
                <a:gd name="T16" fmla="*/ 761 w 4775"/>
                <a:gd name="T17" fmla="*/ 334 h 1367"/>
                <a:gd name="T18" fmla="*/ 492 w 4775"/>
                <a:gd name="T19" fmla="*/ 210 h 1367"/>
                <a:gd name="T20" fmla="*/ 0 w 4775"/>
                <a:gd name="T21" fmla="*/ 0 h 1367"/>
                <a:gd name="T22" fmla="*/ 0 w 4775"/>
                <a:gd name="T23" fmla="*/ 6 h 1367"/>
                <a:gd name="T24" fmla="*/ 490 w 4775"/>
                <a:gd name="T25" fmla="*/ 215 h 1367"/>
                <a:gd name="T26" fmla="*/ 758 w 4775"/>
                <a:gd name="T27" fmla="*/ 339 h 1367"/>
                <a:gd name="T28" fmla="*/ 1519 w 4775"/>
                <a:gd name="T29" fmla="*/ 614 h 1367"/>
                <a:gd name="T30" fmla="*/ 2655 w 4775"/>
                <a:gd name="T31" fmla="*/ 454 h 1367"/>
                <a:gd name="T32" fmla="*/ 2918 w 4775"/>
                <a:gd name="T33" fmla="*/ 385 h 1367"/>
                <a:gd name="T34" fmla="*/ 3057 w 4775"/>
                <a:gd name="T35" fmla="*/ 349 h 1367"/>
                <a:gd name="T36" fmla="*/ 4171 w 4775"/>
                <a:gd name="T37" fmla="*/ 286 h 1367"/>
                <a:gd name="T38" fmla="*/ 4703 w 4775"/>
                <a:gd name="T39" fmla="*/ 1141 h 1367"/>
                <a:gd name="T40" fmla="*/ 4721 w 4775"/>
                <a:gd name="T41" fmla="*/ 1200 h 1367"/>
                <a:gd name="T42" fmla="*/ 4764 w 4775"/>
                <a:gd name="T43" fmla="*/ 1348 h 1367"/>
                <a:gd name="T44" fmla="*/ 4770 w 4775"/>
                <a:gd name="T45" fmla="*/ 1367 h 1367"/>
                <a:gd name="T46" fmla="*/ 4775 w 4775"/>
                <a:gd name="T47" fmla="*/ 1366 h 1367"/>
                <a:gd name="T48" fmla="*/ 4769 w 4775"/>
                <a:gd name="T49" fmla="*/ 1346 h 1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775" h="1367">
                  <a:moveTo>
                    <a:pt x="4769" y="1346"/>
                  </a:moveTo>
                  <a:cubicBezTo>
                    <a:pt x="4755" y="1295"/>
                    <a:pt x="4741" y="1246"/>
                    <a:pt x="4726" y="1198"/>
                  </a:cubicBezTo>
                  <a:cubicBezTo>
                    <a:pt x="4720" y="1179"/>
                    <a:pt x="4714" y="1160"/>
                    <a:pt x="4708" y="1139"/>
                  </a:cubicBezTo>
                  <a:cubicBezTo>
                    <a:pt x="4612" y="819"/>
                    <a:pt x="4491" y="420"/>
                    <a:pt x="4173" y="281"/>
                  </a:cubicBezTo>
                  <a:cubicBezTo>
                    <a:pt x="3847" y="138"/>
                    <a:pt x="3408" y="252"/>
                    <a:pt x="3055" y="344"/>
                  </a:cubicBezTo>
                  <a:cubicBezTo>
                    <a:pt x="3007" y="356"/>
                    <a:pt x="2961" y="368"/>
                    <a:pt x="2916" y="379"/>
                  </a:cubicBezTo>
                  <a:cubicBezTo>
                    <a:pt x="2830" y="401"/>
                    <a:pt x="2744" y="424"/>
                    <a:pt x="2654" y="448"/>
                  </a:cubicBezTo>
                  <a:cubicBezTo>
                    <a:pt x="2280" y="550"/>
                    <a:pt x="1893" y="654"/>
                    <a:pt x="1520" y="609"/>
                  </a:cubicBezTo>
                  <a:cubicBezTo>
                    <a:pt x="1266" y="578"/>
                    <a:pt x="1009" y="454"/>
                    <a:pt x="761" y="334"/>
                  </a:cubicBezTo>
                  <a:cubicBezTo>
                    <a:pt x="667" y="290"/>
                    <a:pt x="579" y="247"/>
                    <a:pt x="492" y="21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490" y="215"/>
                    <a:pt x="490" y="215"/>
                    <a:pt x="490" y="215"/>
                  </a:cubicBezTo>
                  <a:cubicBezTo>
                    <a:pt x="577" y="252"/>
                    <a:pt x="665" y="294"/>
                    <a:pt x="758" y="339"/>
                  </a:cubicBezTo>
                  <a:cubicBezTo>
                    <a:pt x="1007" y="459"/>
                    <a:pt x="1264" y="583"/>
                    <a:pt x="1519" y="614"/>
                  </a:cubicBezTo>
                  <a:cubicBezTo>
                    <a:pt x="1893" y="660"/>
                    <a:pt x="2281" y="555"/>
                    <a:pt x="2655" y="454"/>
                  </a:cubicBezTo>
                  <a:cubicBezTo>
                    <a:pt x="2746" y="429"/>
                    <a:pt x="2832" y="406"/>
                    <a:pt x="2918" y="385"/>
                  </a:cubicBezTo>
                  <a:cubicBezTo>
                    <a:pt x="2962" y="374"/>
                    <a:pt x="3008" y="362"/>
                    <a:pt x="3057" y="349"/>
                  </a:cubicBezTo>
                  <a:cubicBezTo>
                    <a:pt x="3408" y="257"/>
                    <a:pt x="3846" y="143"/>
                    <a:pt x="4171" y="286"/>
                  </a:cubicBezTo>
                  <a:cubicBezTo>
                    <a:pt x="4487" y="424"/>
                    <a:pt x="4607" y="822"/>
                    <a:pt x="4703" y="1141"/>
                  </a:cubicBezTo>
                  <a:cubicBezTo>
                    <a:pt x="4709" y="1161"/>
                    <a:pt x="4715" y="1181"/>
                    <a:pt x="4721" y="1200"/>
                  </a:cubicBezTo>
                  <a:cubicBezTo>
                    <a:pt x="4735" y="1248"/>
                    <a:pt x="4749" y="1296"/>
                    <a:pt x="4764" y="1348"/>
                  </a:cubicBezTo>
                  <a:cubicBezTo>
                    <a:pt x="4766" y="1354"/>
                    <a:pt x="4768" y="1360"/>
                    <a:pt x="4770" y="1367"/>
                  </a:cubicBezTo>
                  <a:cubicBezTo>
                    <a:pt x="4775" y="1366"/>
                    <a:pt x="4775" y="1366"/>
                    <a:pt x="4775" y="1366"/>
                  </a:cubicBezTo>
                  <a:cubicBezTo>
                    <a:pt x="4773" y="1359"/>
                    <a:pt x="4771" y="1353"/>
                    <a:pt x="4769" y="1346"/>
                  </a:cubicBezTo>
                  <a:close/>
                </a:path>
              </a:pathLst>
            </a:custGeom>
            <a:solidFill>
              <a:srgbClr val="CED0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2" name="Freeform 51"/>
            <p:cNvSpPr>
              <a:spLocks/>
            </p:cNvSpPr>
            <p:nvPr userDrawn="1"/>
          </p:nvSpPr>
          <p:spPr bwMode="auto">
            <a:xfrm>
              <a:off x="-792" y="2632825"/>
              <a:ext cx="7369342" cy="2270450"/>
            </a:xfrm>
            <a:custGeom>
              <a:avLst/>
              <a:gdLst>
                <a:gd name="T0" fmla="*/ 4796 w 4833"/>
                <a:gd name="T1" fmla="*/ 1369 h 1488"/>
                <a:gd name="T2" fmla="*/ 4749 w 4833"/>
                <a:gd name="T3" fmla="*/ 1221 h 1488"/>
                <a:gd name="T4" fmla="*/ 4730 w 4833"/>
                <a:gd name="T5" fmla="*/ 1162 h 1488"/>
                <a:gd name="T6" fmla="*/ 4175 w 4833"/>
                <a:gd name="T7" fmla="*/ 306 h 1488"/>
                <a:gd name="T8" fmla="*/ 3066 w 4833"/>
                <a:gd name="T9" fmla="*/ 369 h 1488"/>
                <a:gd name="T10" fmla="*/ 2938 w 4833"/>
                <a:gd name="T11" fmla="*/ 402 h 1488"/>
                <a:gd name="T12" fmla="*/ 2682 w 4833"/>
                <a:gd name="T13" fmla="*/ 471 h 1488"/>
                <a:gd name="T14" fmla="*/ 1565 w 4833"/>
                <a:gd name="T15" fmla="*/ 630 h 1488"/>
                <a:gd name="T16" fmla="*/ 810 w 4833"/>
                <a:gd name="T17" fmla="*/ 355 h 1488"/>
                <a:gd name="T18" fmla="*/ 540 w 4833"/>
                <a:gd name="T19" fmla="*/ 230 h 1488"/>
                <a:gd name="T20" fmla="*/ 0 w 4833"/>
                <a:gd name="T21" fmla="*/ 0 h 1488"/>
                <a:gd name="T22" fmla="*/ 0 w 4833"/>
                <a:gd name="T23" fmla="*/ 6 h 1488"/>
                <a:gd name="T24" fmla="*/ 537 w 4833"/>
                <a:gd name="T25" fmla="*/ 235 h 1488"/>
                <a:gd name="T26" fmla="*/ 807 w 4833"/>
                <a:gd name="T27" fmla="*/ 360 h 1488"/>
                <a:gd name="T28" fmla="*/ 1564 w 4833"/>
                <a:gd name="T29" fmla="*/ 636 h 1488"/>
                <a:gd name="T30" fmla="*/ 2683 w 4833"/>
                <a:gd name="T31" fmla="*/ 476 h 1488"/>
                <a:gd name="T32" fmla="*/ 2939 w 4833"/>
                <a:gd name="T33" fmla="*/ 408 h 1488"/>
                <a:gd name="T34" fmla="*/ 3067 w 4833"/>
                <a:gd name="T35" fmla="*/ 374 h 1488"/>
                <a:gd name="T36" fmla="*/ 4173 w 4833"/>
                <a:gd name="T37" fmla="*/ 311 h 1488"/>
                <a:gd name="T38" fmla="*/ 4724 w 4833"/>
                <a:gd name="T39" fmla="*/ 1164 h 1488"/>
                <a:gd name="T40" fmla="*/ 4743 w 4833"/>
                <a:gd name="T41" fmla="*/ 1223 h 1488"/>
                <a:gd name="T42" fmla="*/ 4790 w 4833"/>
                <a:gd name="T43" fmla="*/ 1371 h 1488"/>
                <a:gd name="T44" fmla="*/ 4827 w 4833"/>
                <a:gd name="T45" fmla="*/ 1488 h 1488"/>
                <a:gd name="T46" fmla="*/ 4833 w 4833"/>
                <a:gd name="T47" fmla="*/ 1487 h 1488"/>
                <a:gd name="T48" fmla="*/ 4796 w 4833"/>
                <a:gd name="T49" fmla="*/ 1369 h 1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833" h="1488">
                  <a:moveTo>
                    <a:pt x="4796" y="1369"/>
                  </a:moveTo>
                  <a:cubicBezTo>
                    <a:pt x="4780" y="1317"/>
                    <a:pt x="4764" y="1269"/>
                    <a:pt x="4749" y="1221"/>
                  </a:cubicBezTo>
                  <a:cubicBezTo>
                    <a:pt x="4742" y="1202"/>
                    <a:pt x="4736" y="1182"/>
                    <a:pt x="4730" y="1162"/>
                  </a:cubicBezTo>
                  <a:cubicBezTo>
                    <a:pt x="4626" y="843"/>
                    <a:pt x="4496" y="446"/>
                    <a:pt x="4175" y="306"/>
                  </a:cubicBezTo>
                  <a:cubicBezTo>
                    <a:pt x="3848" y="163"/>
                    <a:pt x="3414" y="277"/>
                    <a:pt x="3066" y="369"/>
                  </a:cubicBezTo>
                  <a:cubicBezTo>
                    <a:pt x="3021" y="381"/>
                    <a:pt x="2979" y="392"/>
                    <a:pt x="2938" y="402"/>
                  </a:cubicBezTo>
                  <a:cubicBezTo>
                    <a:pt x="2854" y="423"/>
                    <a:pt x="2770" y="446"/>
                    <a:pt x="2682" y="471"/>
                  </a:cubicBezTo>
                  <a:cubicBezTo>
                    <a:pt x="2313" y="572"/>
                    <a:pt x="1932" y="677"/>
                    <a:pt x="1565" y="630"/>
                  </a:cubicBezTo>
                  <a:cubicBezTo>
                    <a:pt x="1312" y="598"/>
                    <a:pt x="1057" y="475"/>
                    <a:pt x="810" y="355"/>
                  </a:cubicBezTo>
                  <a:cubicBezTo>
                    <a:pt x="716" y="310"/>
                    <a:pt x="627" y="267"/>
                    <a:pt x="540" y="23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537" y="235"/>
                    <a:pt x="537" y="235"/>
                    <a:pt x="537" y="235"/>
                  </a:cubicBezTo>
                  <a:cubicBezTo>
                    <a:pt x="625" y="273"/>
                    <a:pt x="714" y="315"/>
                    <a:pt x="807" y="360"/>
                  </a:cubicBezTo>
                  <a:cubicBezTo>
                    <a:pt x="1055" y="480"/>
                    <a:pt x="1311" y="603"/>
                    <a:pt x="1564" y="636"/>
                  </a:cubicBezTo>
                  <a:cubicBezTo>
                    <a:pt x="1933" y="683"/>
                    <a:pt x="2314" y="578"/>
                    <a:pt x="2683" y="476"/>
                  </a:cubicBezTo>
                  <a:cubicBezTo>
                    <a:pt x="2772" y="452"/>
                    <a:pt x="2855" y="429"/>
                    <a:pt x="2939" y="408"/>
                  </a:cubicBezTo>
                  <a:cubicBezTo>
                    <a:pt x="2980" y="397"/>
                    <a:pt x="3023" y="386"/>
                    <a:pt x="3067" y="374"/>
                  </a:cubicBezTo>
                  <a:cubicBezTo>
                    <a:pt x="3415" y="283"/>
                    <a:pt x="3847" y="169"/>
                    <a:pt x="4173" y="311"/>
                  </a:cubicBezTo>
                  <a:cubicBezTo>
                    <a:pt x="4492" y="450"/>
                    <a:pt x="4621" y="846"/>
                    <a:pt x="4724" y="1164"/>
                  </a:cubicBezTo>
                  <a:cubicBezTo>
                    <a:pt x="4731" y="1184"/>
                    <a:pt x="4737" y="1204"/>
                    <a:pt x="4743" y="1223"/>
                  </a:cubicBezTo>
                  <a:cubicBezTo>
                    <a:pt x="4759" y="1271"/>
                    <a:pt x="4774" y="1319"/>
                    <a:pt x="4790" y="1371"/>
                  </a:cubicBezTo>
                  <a:cubicBezTo>
                    <a:pt x="4802" y="1409"/>
                    <a:pt x="4814" y="1448"/>
                    <a:pt x="4827" y="1488"/>
                  </a:cubicBezTo>
                  <a:cubicBezTo>
                    <a:pt x="4833" y="1487"/>
                    <a:pt x="4833" y="1487"/>
                    <a:pt x="4833" y="1487"/>
                  </a:cubicBezTo>
                  <a:cubicBezTo>
                    <a:pt x="4820" y="1447"/>
                    <a:pt x="4808" y="1408"/>
                    <a:pt x="4796" y="1369"/>
                  </a:cubicBezTo>
                  <a:close/>
                </a:path>
              </a:pathLst>
            </a:custGeom>
            <a:solidFill>
              <a:srgbClr val="CECF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3" name="Freeform 52"/>
            <p:cNvSpPr>
              <a:spLocks/>
            </p:cNvSpPr>
            <p:nvPr userDrawn="1"/>
          </p:nvSpPr>
          <p:spPr bwMode="auto">
            <a:xfrm>
              <a:off x="-792" y="2430793"/>
              <a:ext cx="7462341" cy="2454844"/>
            </a:xfrm>
            <a:custGeom>
              <a:avLst/>
              <a:gdLst>
                <a:gd name="T0" fmla="*/ 4819 w 4894"/>
                <a:gd name="T1" fmla="*/ 1395 h 1609"/>
                <a:gd name="T2" fmla="*/ 4768 w 4894"/>
                <a:gd name="T3" fmla="*/ 1248 h 1609"/>
                <a:gd name="T4" fmla="*/ 4749 w 4894"/>
                <a:gd name="T5" fmla="*/ 1191 h 1609"/>
                <a:gd name="T6" fmla="*/ 4172 w 4894"/>
                <a:gd name="T7" fmla="*/ 337 h 1609"/>
                <a:gd name="T8" fmla="*/ 3072 w 4894"/>
                <a:gd name="T9" fmla="*/ 398 h 1609"/>
                <a:gd name="T10" fmla="*/ 2956 w 4894"/>
                <a:gd name="T11" fmla="*/ 429 h 1609"/>
                <a:gd name="T12" fmla="*/ 2707 w 4894"/>
                <a:gd name="T13" fmla="*/ 496 h 1609"/>
                <a:gd name="T14" fmla="*/ 1610 w 4894"/>
                <a:gd name="T15" fmla="*/ 653 h 1609"/>
                <a:gd name="T16" fmla="*/ 860 w 4894"/>
                <a:gd name="T17" fmla="*/ 378 h 1609"/>
                <a:gd name="T18" fmla="*/ 587 w 4894"/>
                <a:gd name="T19" fmla="*/ 251 h 1609"/>
                <a:gd name="T20" fmla="*/ 0 w 4894"/>
                <a:gd name="T21" fmla="*/ 0 h 1609"/>
                <a:gd name="T22" fmla="*/ 0 w 4894"/>
                <a:gd name="T23" fmla="*/ 7 h 1609"/>
                <a:gd name="T24" fmla="*/ 585 w 4894"/>
                <a:gd name="T25" fmla="*/ 256 h 1609"/>
                <a:gd name="T26" fmla="*/ 857 w 4894"/>
                <a:gd name="T27" fmla="*/ 383 h 1609"/>
                <a:gd name="T28" fmla="*/ 1609 w 4894"/>
                <a:gd name="T29" fmla="*/ 658 h 1609"/>
                <a:gd name="T30" fmla="*/ 2709 w 4894"/>
                <a:gd name="T31" fmla="*/ 502 h 1609"/>
                <a:gd name="T32" fmla="*/ 2957 w 4894"/>
                <a:gd name="T33" fmla="*/ 434 h 1609"/>
                <a:gd name="T34" fmla="*/ 3073 w 4894"/>
                <a:gd name="T35" fmla="*/ 404 h 1609"/>
                <a:gd name="T36" fmla="*/ 4169 w 4894"/>
                <a:gd name="T37" fmla="*/ 342 h 1609"/>
                <a:gd name="T38" fmla="*/ 4743 w 4894"/>
                <a:gd name="T39" fmla="*/ 1193 h 1609"/>
                <a:gd name="T40" fmla="*/ 4763 w 4894"/>
                <a:gd name="T41" fmla="*/ 1250 h 1609"/>
                <a:gd name="T42" fmla="*/ 4814 w 4894"/>
                <a:gd name="T43" fmla="*/ 1397 h 1609"/>
                <a:gd name="T44" fmla="*/ 4888 w 4894"/>
                <a:gd name="T45" fmla="*/ 1609 h 1609"/>
                <a:gd name="T46" fmla="*/ 4894 w 4894"/>
                <a:gd name="T47" fmla="*/ 1608 h 1609"/>
                <a:gd name="T48" fmla="*/ 4819 w 4894"/>
                <a:gd name="T49" fmla="*/ 1395 h 1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894" h="1609">
                  <a:moveTo>
                    <a:pt x="4819" y="1395"/>
                  </a:moveTo>
                  <a:cubicBezTo>
                    <a:pt x="4802" y="1344"/>
                    <a:pt x="4785" y="1295"/>
                    <a:pt x="4768" y="1248"/>
                  </a:cubicBezTo>
                  <a:cubicBezTo>
                    <a:pt x="4762" y="1229"/>
                    <a:pt x="4755" y="1210"/>
                    <a:pt x="4749" y="1191"/>
                  </a:cubicBezTo>
                  <a:cubicBezTo>
                    <a:pt x="4637" y="874"/>
                    <a:pt x="4497" y="478"/>
                    <a:pt x="4172" y="337"/>
                  </a:cubicBezTo>
                  <a:cubicBezTo>
                    <a:pt x="3843" y="194"/>
                    <a:pt x="3416" y="307"/>
                    <a:pt x="3072" y="398"/>
                  </a:cubicBezTo>
                  <a:cubicBezTo>
                    <a:pt x="3032" y="409"/>
                    <a:pt x="2993" y="419"/>
                    <a:pt x="2956" y="429"/>
                  </a:cubicBezTo>
                  <a:cubicBezTo>
                    <a:pt x="2875" y="449"/>
                    <a:pt x="2793" y="472"/>
                    <a:pt x="2707" y="496"/>
                  </a:cubicBezTo>
                  <a:cubicBezTo>
                    <a:pt x="2345" y="597"/>
                    <a:pt x="1970" y="702"/>
                    <a:pt x="1610" y="653"/>
                  </a:cubicBezTo>
                  <a:cubicBezTo>
                    <a:pt x="1359" y="618"/>
                    <a:pt x="1105" y="496"/>
                    <a:pt x="860" y="378"/>
                  </a:cubicBezTo>
                  <a:cubicBezTo>
                    <a:pt x="765" y="332"/>
                    <a:pt x="675" y="289"/>
                    <a:pt x="587" y="2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585" y="256"/>
                    <a:pt x="585" y="256"/>
                    <a:pt x="585" y="256"/>
                  </a:cubicBezTo>
                  <a:cubicBezTo>
                    <a:pt x="673" y="294"/>
                    <a:pt x="763" y="337"/>
                    <a:pt x="857" y="383"/>
                  </a:cubicBezTo>
                  <a:cubicBezTo>
                    <a:pt x="1103" y="501"/>
                    <a:pt x="1357" y="624"/>
                    <a:pt x="1609" y="658"/>
                  </a:cubicBezTo>
                  <a:cubicBezTo>
                    <a:pt x="1971" y="708"/>
                    <a:pt x="2346" y="603"/>
                    <a:pt x="2709" y="502"/>
                  </a:cubicBezTo>
                  <a:cubicBezTo>
                    <a:pt x="2795" y="478"/>
                    <a:pt x="2876" y="455"/>
                    <a:pt x="2957" y="434"/>
                  </a:cubicBezTo>
                  <a:cubicBezTo>
                    <a:pt x="2995" y="425"/>
                    <a:pt x="3033" y="415"/>
                    <a:pt x="3073" y="404"/>
                  </a:cubicBezTo>
                  <a:cubicBezTo>
                    <a:pt x="3416" y="313"/>
                    <a:pt x="3843" y="200"/>
                    <a:pt x="4169" y="342"/>
                  </a:cubicBezTo>
                  <a:cubicBezTo>
                    <a:pt x="4493" y="482"/>
                    <a:pt x="4632" y="877"/>
                    <a:pt x="4743" y="1193"/>
                  </a:cubicBezTo>
                  <a:cubicBezTo>
                    <a:pt x="4750" y="1212"/>
                    <a:pt x="4757" y="1231"/>
                    <a:pt x="4763" y="1250"/>
                  </a:cubicBezTo>
                  <a:cubicBezTo>
                    <a:pt x="4780" y="1297"/>
                    <a:pt x="4796" y="1346"/>
                    <a:pt x="4814" y="1397"/>
                  </a:cubicBezTo>
                  <a:cubicBezTo>
                    <a:pt x="4837" y="1466"/>
                    <a:pt x="4861" y="1538"/>
                    <a:pt x="4888" y="1609"/>
                  </a:cubicBezTo>
                  <a:cubicBezTo>
                    <a:pt x="4894" y="1608"/>
                    <a:pt x="4894" y="1608"/>
                    <a:pt x="4894" y="1608"/>
                  </a:cubicBezTo>
                  <a:cubicBezTo>
                    <a:pt x="4867" y="1537"/>
                    <a:pt x="4843" y="1465"/>
                    <a:pt x="4819" y="1395"/>
                  </a:cubicBezTo>
                  <a:close/>
                </a:path>
              </a:pathLst>
            </a:custGeom>
            <a:solidFill>
              <a:srgbClr val="CDCF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4" name="Freeform 53"/>
            <p:cNvSpPr>
              <a:spLocks/>
            </p:cNvSpPr>
            <p:nvPr userDrawn="1"/>
          </p:nvSpPr>
          <p:spPr bwMode="auto">
            <a:xfrm>
              <a:off x="-792" y="2230365"/>
              <a:ext cx="7563356" cy="2637635"/>
            </a:xfrm>
            <a:custGeom>
              <a:avLst/>
              <a:gdLst>
                <a:gd name="T0" fmla="*/ 4841 w 4960"/>
                <a:gd name="T1" fmla="*/ 1422 h 1728"/>
                <a:gd name="T2" fmla="*/ 4786 w 4960"/>
                <a:gd name="T3" fmla="*/ 1275 h 1728"/>
                <a:gd name="T4" fmla="*/ 4766 w 4960"/>
                <a:gd name="T5" fmla="*/ 1222 h 1728"/>
                <a:gd name="T6" fmla="*/ 4165 w 4960"/>
                <a:gd name="T7" fmla="*/ 370 h 1728"/>
                <a:gd name="T8" fmla="*/ 3074 w 4960"/>
                <a:gd name="T9" fmla="*/ 429 h 1728"/>
                <a:gd name="T10" fmla="*/ 2972 w 4960"/>
                <a:gd name="T11" fmla="*/ 456 h 1728"/>
                <a:gd name="T12" fmla="*/ 2731 w 4960"/>
                <a:gd name="T13" fmla="*/ 522 h 1728"/>
                <a:gd name="T14" fmla="*/ 1654 w 4960"/>
                <a:gd name="T15" fmla="*/ 675 h 1728"/>
                <a:gd name="T16" fmla="*/ 910 w 4960"/>
                <a:gd name="T17" fmla="*/ 399 h 1728"/>
                <a:gd name="T18" fmla="*/ 634 w 4960"/>
                <a:gd name="T19" fmla="*/ 271 h 1728"/>
                <a:gd name="T20" fmla="*/ 0 w 4960"/>
                <a:gd name="T21" fmla="*/ 0 h 1728"/>
                <a:gd name="T22" fmla="*/ 0 w 4960"/>
                <a:gd name="T23" fmla="*/ 7 h 1728"/>
                <a:gd name="T24" fmla="*/ 632 w 4960"/>
                <a:gd name="T25" fmla="*/ 277 h 1728"/>
                <a:gd name="T26" fmla="*/ 907 w 4960"/>
                <a:gd name="T27" fmla="*/ 404 h 1728"/>
                <a:gd name="T28" fmla="*/ 1653 w 4960"/>
                <a:gd name="T29" fmla="*/ 680 h 1728"/>
                <a:gd name="T30" fmla="*/ 2733 w 4960"/>
                <a:gd name="T31" fmla="*/ 528 h 1728"/>
                <a:gd name="T32" fmla="*/ 2974 w 4960"/>
                <a:gd name="T33" fmla="*/ 462 h 1728"/>
                <a:gd name="T34" fmla="*/ 3076 w 4960"/>
                <a:gd name="T35" fmla="*/ 435 h 1728"/>
                <a:gd name="T36" fmla="*/ 4163 w 4960"/>
                <a:gd name="T37" fmla="*/ 375 h 1728"/>
                <a:gd name="T38" fmla="*/ 4761 w 4960"/>
                <a:gd name="T39" fmla="*/ 1224 h 1728"/>
                <a:gd name="T40" fmla="*/ 4781 w 4960"/>
                <a:gd name="T41" fmla="*/ 1277 h 1728"/>
                <a:gd name="T42" fmla="*/ 4836 w 4960"/>
                <a:gd name="T43" fmla="*/ 1424 h 1728"/>
                <a:gd name="T44" fmla="*/ 4954 w 4960"/>
                <a:gd name="T45" fmla="*/ 1728 h 1728"/>
                <a:gd name="T46" fmla="*/ 4960 w 4960"/>
                <a:gd name="T47" fmla="*/ 1727 h 1728"/>
                <a:gd name="T48" fmla="*/ 4841 w 4960"/>
                <a:gd name="T49" fmla="*/ 1422 h 1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960" h="1728">
                  <a:moveTo>
                    <a:pt x="4841" y="1422"/>
                  </a:moveTo>
                  <a:cubicBezTo>
                    <a:pt x="4823" y="1371"/>
                    <a:pt x="4805" y="1322"/>
                    <a:pt x="4786" y="1275"/>
                  </a:cubicBezTo>
                  <a:cubicBezTo>
                    <a:pt x="4780" y="1257"/>
                    <a:pt x="4773" y="1240"/>
                    <a:pt x="4766" y="1222"/>
                  </a:cubicBezTo>
                  <a:cubicBezTo>
                    <a:pt x="4646" y="906"/>
                    <a:pt x="4496" y="513"/>
                    <a:pt x="4165" y="370"/>
                  </a:cubicBezTo>
                  <a:cubicBezTo>
                    <a:pt x="3835" y="227"/>
                    <a:pt x="3413" y="339"/>
                    <a:pt x="3074" y="429"/>
                  </a:cubicBezTo>
                  <a:cubicBezTo>
                    <a:pt x="3040" y="438"/>
                    <a:pt x="3006" y="447"/>
                    <a:pt x="2972" y="456"/>
                  </a:cubicBezTo>
                  <a:cubicBezTo>
                    <a:pt x="2894" y="476"/>
                    <a:pt x="2815" y="499"/>
                    <a:pt x="2731" y="522"/>
                  </a:cubicBezTo>
                  <a:cubicBezTo>
                    <a:pt x="2376" y="623"/>
                    <a:pt x="2008" y="727"/>
                    <a:pt x="1654" y="675"/>
                  </a:cubicBezTo>
                  <a:cubicBezTo>
                    <a:pt x="1406" y="638"/>
                    <a:pt x="1154" y="517"/>
                    <a:pt x="910" y="399"/>
                  </a:cubicBezTo>
                  <a:cubicBezTo>
                    <a:pt x="814" y="353"/>
                    <a:pt x="724" y="309"/>
                    <a:pt x="634" y="27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632" y="277"/>
                    <a:pt x="632" y="277"/>
                    <a:pt x="632" y="277"/>
                  </a:cubicBezTo>
                  <a:cubicBezTo>
                    <a:pt x="721" y="315"/>
                    <a:pt x="812" y="358"/>
                    <a:pt x="907" y="404"/>
                  </a:cubicBezTo>
                  <a:cubicBezTo>
                    <a:pt x="1151" y="522"/>
                    <a:pt x="1404" y="644"/>
                    <a:pt x="1653" y="680"/>
                  </a:cubicBezTo>
                  <a:cubicBezTo>
                    <a:pt x="2008" y="733"/>
                    <a:pt x="2377" y="629"/>
                    <a:pt x="2733" y="528"/>
                  </a:cubicBezTo>
                  <a:cubicBezTo>
                    <a:pt x="2816" y="504"/>
                    <a:pt x="2895" y="482"/>
                    <a:pt x="2974" y="462"/>
                  </a:cubicBezTo>
                  <a:cubicBezTo>
                    <a:pt x="3007" y="453"/>
                    <a:pt x="3041" y="444"/>
                    <a:pt x="3076" y="435"/>
                  </a:cubicBezTo>
                  <a:cubicBezTo>
                    <a:pt x="3414" y="345"/>
                    <a:pt x="3834" y="234"/>
                    <a:pt x="4163" y="375"/>
                  </a:cubicBezTo>
                  <a:cubicBezTo>
                    <a:pt x="4491" y="517"/>
                    <a:pt x="4641" y="909"/>
                    <a:pt x="4761" y="1224"/>
                  </a:cubicBezTo>
                  <a:cubicBezTo>
                    <a:pt x="4768" y="1242"/>
                    <a:pt x="4774" y="1260"/>
                    <a:pt x="4781" y="1277"/>
                  </a:cubicBezTo>
                  <a:cubicBezTo>
                    <a:pt x="4799" y="1324"/>
                    <a:pt x="4817" y="1373"/>
                    <a:pt x="4836" y="1424"/>
                  </a:cubicBezTo>
                  <a:cubicBezTo>
                    <a:pt x="4872" y="1524"/>
                    <a:pt x="4910" y="1627"/>
                    <a:pt x="4954" y="1728"/>
                  </a:cubicBezTo>
                  <a:cubicBezTo>
                    <a:pt x="4960" y="1727"/>
                    <a:pt x="4960" y="1727"/>
                    <a:pt x="4960" y="1727"/>
                  </a:cubicBezTo>
                  <a:cubicBezTo>
                    <a:pt x="4916" y="1626"/>
                    <a:pt x="4878" y="1522"/>
                    <a:pt x="4841" y="1422"/>
                  </a:cubicBezTo>
                  <a:close/>
                </a:path>
              </a:pathLst>
            </a:custGeom>
            <a:solidFill>
              <a:srgbClr val="CDCE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5" name="Freeform 54"/>
            <p:cNvSpPr>
              <a:spLocks/>
            </p:cNvSpPr>
            <p:nvPr userDrawn="1"/>
          </p:nvSpPr>
          <p:spPr bwMode="auto">
            <a:xfrm>
              <a:off x="-792" y="2031540"/>
              <a:ext cx="7677200" cy="2817218"/>
            </a:xfrm>
            <a:custGeom>
              <a:avLst/>
              <a:gdLst>
                <a:gd name="T0" fmla="*/ 4863 w 5034"/>
                <a:gd name="T1" fmla="*/ 1450 h 1846"/>
                <a:gd name="T2" fmla="*/ 4804 w 5034"/>
                <a:gd name="T3" fmla="*/ 1303 h 1846"/>
                <a:gd name="T4" fmla="*/ 4784 w 5034"/>
                <a:gd name="T5" fmla="*/ 1255 h 1846"/>
                <a:gd name="T6" fmla="*/ 4157 w 5034"/>
                <a:gd name="T7" fmla="*/ 404 h 1846"/>
                <a:gd name="T8" fmla="*/ 3075 w 5034"/>
                <a:gd name="T9" fmla="*/ 461 h 1846"/>
                <a:gd name="T10" fmla="*/ 2988 w 5034"/>
                <a:gd name="T11" fmla="*/ 484 h 1846"/>
                <a:gd name="T12" fmla="*/ 2755 w 5034"/>
                <a:gd name="T13" fmla="*/ 549 h 1846"/>
                <a:gd name="T14" fmla="*/ 1699 w 5034"/>
                <a:gd name="T15" fmla="*/ 697 h 1846"/>
                <a:gd name="T16" fmla="*/ 960 w 5034"/>
                <a:gd name="T17" fmla="*/ 421 h 1846"/>
                <a:gd name="T18" fmla="*/ 682 w 5034"/>
                <a:gd name="T19" fmla="*/ 291 h 1846"/>
                <a:gd name="T20" fmla="*/ 0 w 5034"/>
                <a:gd name="T21" fmla="*/ 0 h 1846"/>
                <a:gd name="T22" fmla="*/ 0 w 5034"/>
                <a:gd name="T23" fmla="*/ 7 h 1846"/>
                <a:gd name="T24" fmla="*/ 679 w 5034"/>
                <a:gd name="T25" fmla="*/ 297 h 1846"/>
                <a:gd name="T26" fmla="*/ 958 w 5034"/>
                <a:gd name="T27" fmla="*/ 426 h 1846"/>
                <a:gd name="T28" fmla="*/ 1698 w 5034"/>
                <a:gd name="T29" fmla="*/ 703 h 1846"/>
                <a:gd name="T30" fmla="*/ 2756 w 5034"/>
                <a:gd name="T31" fmla="*/ 555 h 1846"/>
                <a:gd name="T32" fmla="*/ 2990 w 5034"/>
                <a:gd name="T33" fmla="*/ 490 h 1846"/>
                <a:gd name="T34" fmla="*/ 3076 w 5034"/>
                <a:gd name="T35" fmla="*/ 467 h 1846"/>
                <a:gd name="T36" fmla="*/ 4155 w 5034"/>
                <a:gd name="T37" fmla="*/ 410 h 1846"/>
                <a:gd name="T38" fmla="*/ 4778 w 5034"/>
                <a:gd name="T39" fmla="*/ 1257 h 1846"/>
                <a:gd name="T40" fmla="*/ 4798 w 5034"/>
                <a:gd name="T41" fmla="*/ 1305 h 1846"/>
                <a:gd name="T42" fmla="*/ 4857 w 5034"/>
                <a:gd name="T43" fmla="*/ 1452 h 1846"/>
                <a:gd name="T44" fmla="*/ 5028 w 5034"/>
                <a:gd name="T45" fmla="*/ 1846 h 1846"/>
                <a:gd name="T46" fmla="*/ 5034 w 5034"/>
                <a:gd name="T47" fmla="*/ 1845 h 1846"/>
                <a:gd name="T48" fmla="*/ 4863 w 5034"/>
                <a:gd name="T49" fmla="*/ 1450 h 18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034" h="1846">
                  <a:moveTo>
                    <a:pt x="4863" y="1450"/>
                  </a:moveTo>
                  <a:cubicBezTo>
                    <a:pt x="4842" y="1398"/>
                    <a:pt x="4823" y="1350"/>
                    <a:pt x="4804" y="1303"/>
                  </a:cubicBezTo>
                  <a:cubicBezTo>
                    <a:pt x="4797" y="1287"/>
                    <a:pt x="4791" y="1271"/>
                    <a:pt x="4784" y="1255"/>
                  </a:cubicBezTo>
                  <a:cubicBezTo>
                    <a:pt x="4655" y="940"/>
                    <a:pt x="4494" y="549"/>
                    <a:pt x="4157" y="404"/>
                  </a:cubicBezTo>
                  <a:cubicBezTo>
                    <a:pt x="3825" y="262"/>
                    <a:pt x="3409" y="372"/>
                    <a:pt x="3075" y="461"/>
                  </a:cubicBezTo>
                  <a:cubicBezTo>
                    <a:pt x="3045" y="469"/>
                    <a:pt x="3016" y="477"/>
                    <a:pt x="2988" y="484"/>
                  </a:cubicBezTo>
                  <a:cubicBezTo>
                    <a:pt x="2912" y="504"/>
                    <a:pt x="2836" y="526"/>
                    <a:pt x="2755" y="549"/>
                  </a:cubicBezTo>
                  <a:cubicBezTo>
                    <a:pt x="2406" y="648"/>
                    <a:pt x="2045" y="751"/>
                    <a:pt x="1699" y="697"/>
                  </a:cubicBezTo>
                  <a:cubicBezTo>
                    <a:pt x="1452" y="658"/>
                    <a:pt x="1202" y="537"/>
                    <a:pt x="960" y="421"/>
                  </a:cubicBezTo>
                  <a:cubicBezTo>
                    <a:pt x="864" y="374"/>
                    <a:pt x="772" y="330"/>
                    <a:pt x="682" y="29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679" y="297"/>
                    <a:pt x="679" y="297"/>
                    <a:pt x="679" y="297"/>
                  </a:cubicBezTo>
                  <a:cubicBezTo>
                    <a:pt x="770" y="336"/>
                    <a:pt x="861" y="380"/>
                    <a:pt x="958" y="426"/>
                  </a:cubicBezTo>
                  <a:cubicBezTo>
                    <a:pt x="1200" y="543"/>
                    <a:pt x="1450" y="664"/>
                    <a:pt x="1698" y="703"/>
                  </a:cubicBezTo>
                  <a:cubicBezTo>
                    <a:pt x="2045" y="758"/>
                    <a:pt x="2407" y="654"/>
                    <a:pt x="2756" y="555"/>
                  </a:cubicBezTo>
                  <a:cubicBezTo>
                    <a:pt x="2837" y="532"/>
                    <a:pt x="2914" y="510"/>
                    <a:pt x="2990" y="490"/>
                  </a:cubicBezTo>
                  <a:cubicBezTo>
                    <a:pt x="3018" y="483"/>
                    <a:pt x="3047" y="475"/>
                    <a:pt x="3076" y="467"/>
                  </a:cubicBezTo>
                  <a:cubicBezTo>
                    <a:pt x="3409" y="378"/>
                    <a:pt x="3824" y="268"/>
                    <a:pt x="4155" y="410"/>
                  </a:cubicBezTo>
                  <a:cubicBezTo>
                    <a:pt x="4489" y="554"/>
                    <a:pt x="4649" y="944"/>
                    <a:pt x="4778" y="1257"/>
                  </a:cubicBezTo>
                  <a:cubicBezTo>
                    <a:pt x="4785" y="1273"/>
                    <a:pt x="4792" y="1289"/>
                    <a:pt x="4798" y="1305"/>
                  </a:cubicBezTo>
                  <a:cubicBezTo>
                    <a:pt x="4818" y="1352"/>
                    <a:pt x="4837" y="1401"/>
                    <a:pt x="4857" y="1452"/>
                  </a:cubicBezTo>
                  <a:cubicBezTo>
                    <a:pt x="4908" y="1581"/>
                    <a:pt x="4962" y="1718"/>
                    <a:pt x="5028" y="1846"/>
                  </a:cubicBezTo>
                  <a:cubicBezTo>
                    <a:pt x="5034" y="1845"/>
                    <a:pt x="5034" y="1845"/>
                    <a:pt x="5034" y="1845"/>
                  </a:cubicBezTo>
                  <a:cubicBezTo>
                    <a:pt x="4968" y="1716"/>
                    <a:pt x="4914" y="1579"/>
                    <a:pt x="4863" y="1450"/>
                  </a:cubicBezTo>
                  <a:close/>
                </a:path>
              </a:pathLst>
            </a:custGeom>
            <a:solidFill>
              <a:srgbClr val="CCCE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6" name="Freeform 55"/>
            <p:cNvSpPr>
              <a:spLocks/>
            </p:cNvSpPr>
            <p:nvPr userDrawn="1"/>
          </p:nvSpPr>
          <p:spPr bwMode="auto">
            <a:xfrm>
              <a:off x="-792" y="1831112"/>
              <a:ext cx="7800664" cy="2995199"/>
            </a:xfrm>
            <a:custGeom>
              <a:avLst/>
              <a:gdLst>
                <a:gd name="T0" fmla="*/ 4862 w 5116"/>
                <a:gd name="T1" fmla="*/ 1408 h 1963"/>
                <a:gd name="T2" fmla="*/ 4150 w 5116"/>
                <a:gd name="T3" fmla="*/ 438 h 1963"/>
                <a:gd name="T4" fmla="*/ 3074 w 5116"/>
                <a:gd name="T5" fmla="*/ 493 h 1963"/>
                <a:gd name="T6" fmla="*/ 3004 w 5116"/>
                <a:gd name="T7" fmla="*/ 512 h 1963"/>
                <a:gd name="T8" fmla="*/ 2779 w 5116"/>
                <a:gd name="T9" fmla="*/ 575 h 1963"/>
                <a:gd name="T10" fmla="*/ 1743 w 5116"/>
                <a:gd name="T11" fmla="*/ 719 h 1963"/>
                <a:gd name="T12" fmla="*/ 1011 w 5116"/>
                <a:gd name="T13" fmla="*/ 442 h 1963"/>
                <a:gd name="T14" fmla="*/ 729 w 5116"/>
                <a:gd name="T15" fmla="*/ 312 h 1963"/>
                <a:gd name="T16" fmla="*/ 0 w 5116"/>
                <a:gd name="T17" fmla="*/ 0 h 1963"/>
                <a:gd name="T18" fmla="*/ 0 w 5116"/>
                <a:gd name="T19" fmla="*/ 7 h 1963"/>
                <a:gd name="T20" fmla="*/ 727 w 5116"/>
                <a:gd name="T21" fmla="*/ 317 h 1963"/>
                <a:gd name="T22" fmla="*/ 1008 w 5116"/>
                <a:gd name="T23" fmla="*/ 448 h 1963"/>
                <a:gd name="T24" fmla="*/ 1742 w 5116"/>
                <a:gd name="T25" fmla="*/ 725 h 1963"/>
                <a:gd name="T26" fmla="*/ 2780 w 5116"/>
                <a:gd name="T27" fmla="*/ 581 h 1963"/>
                <a:gd name="T28" fmla="*/ 3006 w 5116"/>
                <a:gd name="T29" fmla="*/ 518 h 1963"/>
                <a:gd name="T30" fmla="*/ 3076 w 5116"/>
                <a:gd name="T31" fmla="*/ 499 h 1963"/>
                <a:gd name="T32" fmla="*/ 4147 w 5116"/>
                <a:gd name="T33" fmla="*/ 444 h 1963"/>
                <a:gd name="T34" fmla="*/ 4856 w 5116"/>
                <a:gd name="T35" fmla="*/ 1411 h 1963"/>
                <a:gd name="T36" fmla="*/ 5109 w 5116"/>
                <a:gd name="T37" fmla="*/ 1963 h 1963"/>
                <a:gd name="T38" fmla="*/ 5116 w 5116"/>
                <a:gd name="T39" fmla="*/ 1962 h 1963"/>
                <a:gd name="T40" fmla="*/ 4862 w 5116"/>
                <a:gd name="T41" fmla="*/ 1408 h 1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16" h="1963">
                  <a:moveTo>
                    <a:pt x="4862" y="1408"/>
                  </a:moveTo>
                  <a:cubicBezTo>
                    <a:pt x="4708" y="1015"/>
                    <a:pt x="4548" y="609"/>
                    <a:pt x="4150" y="438"/>
                  </a:cubicBezTo>
                  <a:cubicBezTo>
                    <a:pt x="3815" y="295"/>
                    <a:pt x="3422" y="400"/>
                    <a:pt x="3074" y="493"/>
                  </a:cubicBezTo>
                  <a:cubicBezTo>
                    <a:pt x="3051" y="499"/>
                    <a:pt x="3027" y="506"/>
                    <a:pt x="3004" y="512"/>
                  </a:cubicBezTo>
                  <a:cubicBezTo>
                    <a:pt x="2931" y="531"/>
                    <a:pt x="2857" y="552"/>
                    <a:pt x="2779" y="575"/>
                  </a:cubicBezTo>
                  <a:cubicBezTo>
                    <a:pt x="2436" y="674"/>
                    <a:pt x="2082" y="776"/>
                    <a:pt x="1743" y="719"/>
                  </a:cubicBezTo>
                  <a:cubicBezTo>
                    <a:pt x="1499" y="677"/>
                    <a:pt x="1251" y="558"/>
                    <a:pt x="1011" y="442"/>
                  </a:cubicBezTo>
                  <a:cubicBezTo>
                    <a:pt x="913" y="395"/>
                    <a:pt x="821" y="351"/>
                    <a:pt x="729" y="3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727" y="317"/>
                    <a:pt x="727" y="317"/>
                    <a:pt x="727" y="317"/>
                  </a:cubicBezTo>
                  <a:cubicBezTo>
                    <a:pt x="818" y="356"/>
                    <a:pt x="911" y="401"/>
                    <a:pt x="1008" y="448"/>
                  </a:cubicBezTo>
                  <a:cubicBezTo>
                    <a:pt x="1248" y="564"/>
                    <a:pt x="1497" y="683"/>
                    <a:pt x="1742" y="725"/>
                  </a:cubicBezTo>
                  <a:cubicBezTo>
                    <a:pt x="2083" y="783"/>
                    <a:pt x="2437" y="680"/>
                    <a:pt x="2780" y="581"/>
                  </a:cubicBezTo>
                  <a:cubicBezTo>
                    <a:pt x="2858" y="558"/>
                    <a:pt x="2932" y="537"/>
                    <a:pt x="3006" y="518"/>
                  </a:cubicBezTo>
                  <a:cubicBezTo>
                    <a:pt x="3029" y="512"/>
                    <a:pt x="3052" y="505"/>
                    <a:pt x="3076" y="499"/>
                  </a:cubicBezTo>
                  <a:cubicBezTo>
                    <a:pt x="3422" y="406"/>
                    <a:pt x="3815" y="301"/>
                    <a:pt x="4147" y="444"/>
                  </a:cubicBezTo>
                  <a:cubicBezTo>
                    <a:pt x="4544" y="614"/>
                    <a:pt x="4702" y="1019"/>
                    <a:pt x="4856" y="1411"/>
                  </a:cubicBezTo>
                  <a:cubicBezTo>
                    <a:pt x="4930" y="1600"/>
                    <a:pt x="5006" y="1794"/>
                    <a:pt x="5109" y="1963"/>
                  </a:cubicBezTo>
                  <a:cubicBezTo>
                    <a:pt x="5116" y="1962"/>
                    <a:pt x="5116" y="1962"/>
                    <a:pt x="5116" y="1962"/>
                  </a:cubicBezTo>
                  <a:cubicBezTo>
                    <a:pt x="5012" y="1793"/>
                    <a:pt x="4936" y="1599"/>
                    <a:pt x="4862" y="1408"/>
                  </a:cubicBezTo>
                  <a:close/>
                </a:path>
              </a:pathLst>
            </a:custGeom>
            <a:solidFill>
              <a:srgbClr val="CCCE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7" name="Freeform 56"/>
            <p:cNvSpPr>
              <a:spLocks/>
            </p:cNvSpPr>
            <p:nvPr userDrawn="1"/>
          </p:nvSpPr>
          <p:spPr bwMode="auto">
            <a:xfrm>
              <a:off x="-792" y="1630683"/>
              <a:ext cx="7949782" cy="3169972"/>
            </a:xfrm>
            <a:custGeom>
              <a:avLst/>
              <a:gdLst>
                <a:gd name="T0" fmla="*/ 4880 w 5213"/>
                <a:gd name="T1" fmla="*/ 1433 h 2077"/>
                <a:gd name="T2" fmla="*/ 4145 w 5213"/>
                <a:gd name="T3" fmla="*/ 469 h 2077"/>
                <a:gd name="T4" fmla="*/ 3076 w 5213"/>
                <a:gd name="T5" fmla="*/ 523 h 2077"/>
                <a:gd name="T6" fmla="*/ 3022 w 5213"/>
                <a:gd name="T7" fmla="*/ 538 h 2077"/>
                <a:gd name="T8" fmla="*/ 2804 w 5213"/>
                <a:gd name="T9" fmla="*/ 600 h 2077"/>
                <a:gd name="T10" fmla="*/ 1788 w 5213"/>
                <a:gd name="T11" fmla="*/ 740 h 2077"/>
                <a:gd name="T12" fmla="*/ 1062 w 5213"/>
                <a:gd name="T13" fmla="*/ 464 h 2077"/>
                <a:gd name="T14" fmla="*/ 777 w 5213"/>
                <a:gd name="T15" fmla="*/ 332 h 2077"/>
                <a:gd name="T16" fmla="*/ 0 w 5213"/>
                <a:gd name="T17" fmla="*/ 0 h 2077"/>
                <a:gd name="T18" fmla="*/ 0 w 5213"/>
                <a:gd name="T19" fmla="*/ 7 h 2077"/>
                <a:gd name="T20" fmla="*/ 774 w 5213"/>
                <a:gd name="T21" fmla="*/ 338 h 2077"/>
                <a:gd name="T22" fmla="*/ 1059 w 5213"/>
                <a:gd name="T23" fmla="*/ 470 h 2077"/>
                <a:gd name="T24" fmla="*/ 1787 w 5213"/>
                <a:gd name="T25" fmla="*/ 747 h 2077"/>
                <a:gd name="T26" fmla="*/ 2805 w 5213"/>
                <a:gd name="T27" fmla="*/ 606 h 2077"/>
                <a:gd name="T28" fmla="*/ 3024 w 5213"/>
                <a:gd name="T29" fmla="*/ 544 h 2077"/>
                <a:gd name="T30" fmla="*/ 3078 w 5213"/>
                <a:gd name="T31" fmla="*/ 529 h 2077"/>
                <a:gd name="T32" fmla="*/ 4143 w 5213"/>
                <a:gd name="T33" fmla="*/ 475 h 2077"/>
                <a:gd name="T34" fmla="*/ 4874 w 5213"/>
                <a:gd name="T35" fmla="*/ 1436 h 2077"/>
                <a:gd name="T36" fmla="*/ 5206 w 5213"/>
                <a:gd name="T37" fmla="*/ 2077 h 2077"/>
                <a:gd name="T38" fmla="*/ 5213 w 5213"/>
                <a:gd name="T39" fmla="*/ 2076 h 2077"/>
                <a:gd name="T40" fmla="*/ 4880 w 5213"/>
                <a:gd name="T41" fmla="*/ 1433 h 20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213" h="2077">
                  <a:moveTo>
                    <a:pt x="4880" y="1433"/>
                  </a:moveTo>
                  <a:cubicBezTo>
                    <a:pt x="4716" y="1044"/>
                    <a:pt x="4547" y="641"/>
                    <a:pt x="4145" y="469"/>
                  </a:cubicBezTo>
                  <a:cubicBezTo>
                    <a:pt x="3809" y="326"/>
                    <a:pt x="3419" y="431"/>
                    <a:pt x="3076" y="523"/>
                  </a:cubicBezTo>
                  <a:cubicBezTo>
                    <a:pt x="3058" y="528"/>
                    <a:pt x="3040" y="533"/>
                    <a:pt x="3022" y="538"/>
                  </a:cubicBezTo>
                  <a:cubicBezTo>
                    <a:pt x="2951" y="557"/>
                    <a:pt x="2879" y="578"/>
                    <a:pt x="2804" y="600"/>
                  </a:cubicBezTo>
                  <a:cubicBezTo>
                    <a:pt x="2468" y="698"/>
                    <a:pt x="2120" y="800"/>
                    <a:pt x="1788" y="740"/>
                  </a:cubicBezTo>
                  <a:cubicBezTo>
                    <a:pt x="1545" y="697"/>
                    <a:pt x="1299" y="578"/>
                    <a:pt x="1062" y="464"/>
                  </a:cubicBezTo>
                  <a:cubicBezTo>
                    <a:pt x="963" y="416"/>
                    <a:pt x="869" y="371"/>
                    <a:pt x="777" y="3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774" y="338"/>
                    <a:pt x="774" y="338"/>
                    <a:pt x="774" y="338"/>
                  </a:cubicBezTo>
                  <a:cubicBezTo>
                    <a:pt x="867" y="377"/>
                    <a:pt x="960" y="422"/>
                    <a:pt x="1059" y="470"/>
                  </a:cubicBezTo>
                  <a:cubicBezTo>
                    <a:pt x="1297" y="584"/>
                    <a:pt x="1543" y="703"/>
                    <a:pt x="1787" y="747"/>
                  </a:cubicBezTo>
                  <a:cubicBezTo>
                    <a:pt x="2120" y="807"/>
                    <a:pt x="2469" y="705"/>
                    <a:pt x="2805" y="606"/>
                  </a:cubicBezTo>
                  <a:cubicBezTo>
                    <a:pt x="2881" y="584"/>
                    <a:pt x="2952" y="563"/>
                    <a:pt x="3024" y="544"/>
                  </a:cubicBezTo>
                  <a:cubicBezTo>
                    <a:pt x="3041" y="539"/>
                    <a:pt x="3060" y="534"/>
                    <a:pt x="3078" y="529"/>
                  </a:cubicBezTo>
                  <a:cubicBezTo>
                    <a:pt x="3420" y="437"/>
                    <a:pt x="3808" y="332"/>
                    <a:pt x="4143" y="475"/>
                  </a:cubicBezTo>
                  <a:cubicBezTo>
                    <a:pt x="4542" y="646"/>
                    <a:pt x="4711" y="1047"/>
                    <a:pt x="4874" y="1436"/>
                  </a:cubicBezTo>
                  <a:cubicBezTo>
                    <a:pt x="4968" y="1660"/>
                    <a:pt x="5065" y="1889"/>
                    <a:pt x="5206" y="2077"/>
                  </a:cubicBezTo>
                  <a:cubicBezTo>
                    <a:pt x="5213" y="2076"/>
                    <a:pt x="5213" y="2076"/>
                    <a:pt x="5213" y="2076"/>
                  </a:cubicBezTo>
                  <a:cubicBezTo>
                    <a:pt x="5071" y="1888"/>
                    <a:pt x="4975" y="1658"/>
                    <a:pt x="4880" y="1433"/>
                  </a:cubicBezTo>
                  <a:close/>
                </a:path>
              </a:pathLst>
            </a:custGeom>
            <a:solidFill>
              <a:srgbClr val="CBCD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8" name="Freeform 57"/>
            <p:cNvSpPr>
              <a:spLocks/>
            </p:cNvSpPr>
            <p:nvPr userDrawn="1"/>
          </p:nvSpPr>
          <p:spPr bwMode="auto">
            <a:xfrm>
              <a:off x="-792" y="1431859"/>
              <a:ext cx="8122952" cy="3338331"/>
            </a:xfrm>
            <a:custGeom>
              <a:avLst/>
              <a:gdLst>
                <a:gd name="T0" fmla="*/ 4902 w 5327"/>
                <a:gd name="T1" fmla="*/ 1456 h 2188"/>
                <a:gd name="T2" fmla="*/ 4146 w 5327"/>
                <a:gd name="T3" fmla="*/ 496 h 2188"/>
                <a:gd name="T4" fmla="*/ 2889 w 5327"/>
                <a:gd name="T5" fmla="*/ 597 h 2188"/>
                <a:gd name="T6" fmla="*/ 1833 w 5327"/>
                <a:gd name="T7" fmla="*/ 762 h 2188"/>
                <a:gd name="T8" fmla="*/ 1112 w 5327"/>
                <a:gd name="T9" fmla="*/ 485 h 2188"/>
                <a:gd name="T10" fmla="*/ 824 w 5327"/>
                <a:gd name="T11" fmla="*/ 352 h 2188"/>
                <a:gd name="T12" fmla="*/ 0 w 5327"/>
                <a:gd name="T13" fmla="*/ 0 h 2188"/>
                <a:gd name="T14" fmla="*/ 0 w 5327"/>
                <a:gd name="T15" fmla="*/ 7 h 2188"/>
                <a:gd name="T16" fmla="*/ 821 w 5327"/>
                <a:gd name="T17" fmla="*/ 358 h 2188"/>
                <a:gd name="T18" fmla="*/ 1109 w 5327"/>
                <a:gd name="T19" fmla="*/ 491 h 2188"/>
                <a:gd name="T20" fmla="*/ 1832 w 5327"/>
                <a:gd name="T21" fmla="*/ 768 h 2188"/>
                <a:gd name="T22" fmla="*/ 2891 w 5327"/>
                <a:gd name="T23" fmla="*/ 603 h 2188"/>
                <a:gd name="T24" fmla="*/ 4143 w 5327"/>
                <a:gd name="T25" fmla="*/ 502 h 2188"/>
                <a:gd name="T26" fmla="*/ 4896 w 5327"/>
                <a:gd name="T27" fmla="*/ 1459 h 2188"/>
                <a:gd name="T28" fmla="*/ 5319 w 5327"/>
                <a:gd name="T29" fmla="*/ 2188 h 2188"/>
                <a:gd name="T30" fmla="*/ 5327 w 5327"/>
                <a:gd name="T31" fmla="*/ 2187 h 2188"/>
                <a:gd name="T32" fmla="*/ 4902 w 5327"/>
                <a:gd name="T33" fmla="*/ 1456 h 2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27" h="2188">
                  <a:moveTo>
                    <a:pt x="4902" y="1456"/>
                  </a:moveTo>
                  <a:cubicBezTo>
                    <a:pt x="4729" y="1069"/>
                    <a:pt x="4550" y="668"/>
                    <a:pt x="4146" y="496"/>
                  </a:cubicBezTo>
                  <a:cubicBezTo>
                    <a:pt x="3736" y="321"/>
                    <a:pt x="3306" y="461"/>
                    <a:pt x="2889" y="597"/>
                  </a:cubicBezTo>
                  <a:cubicBezTo>
                    <a:pt x="2541" y="710"/>
                    <a:pt x="2181" y="827"/>
                    <a:pt x="1833" y="762"/>
                  </a:cubicBezTo>
                  <a:cubicBezTo>
                    <a:pt x="1592" y="717"/>
                    <a:pt x="1348" y="599"/>
                    <a:pt x="1112" y="485"/>
                  </a:cubicBezTo>
                  <a:cubicBezTo>
                    <a:pt x="1012" y="437"/>
                    <a:pt x="918" y="392"/>
                    <a:pt x="824" y="35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821" y="358"/>
                    <a:pt x="821" y="358"/>
                    <a:pt x="821" y="358"/>
                  </a:cubicBezTo>
                  <a:cubicBezTo>
                    <a:pt x="915" y="398"/>
                    <a:pt x="1009" y="443"/>
                    <a:pt x="1109" y="491"/>
                  </a:cubicBezTo>
                  <a:cubicBezTo>
                    <a:pt x="1345" y="605"/>
                    <a:pt x="1590" y="723"/>
                    <a:pt x="1832" y="768"/>
                  </a:cubicBezTo>
                  <a:cubicBezTo>
                    <a:pt x="2182" y="834"/>
                    <a:pt x="2542" y="717"/>
                    <a:pt x="2891" y="603"/>
                  </a:cubicBezTo>
                  <a:cubicBezTo>
                    <a:pt x="3306" y="468"/>
                    <a:pt x="3736" y="328"/>
                    <a:pt x="4143" y="502"/>
                  </a:cubicBezTo>
                  <a:cubicBezTo>
                    <a:pt x="4545" y="674"/>
                    <a:pt x="4723" y="1073"/>
                    <a:pt x="4896" y="1459"/>
                  </a:cubicBezTo>
                  <a:cubicBezTo>
                    <a:pt x="5012" y="1720"/>
                    <a:pt x="5131" y="1987"/>
                    <a:pt x="5319" y="2188"/>
                  </a:cubicBezTo>
                  <a:cubicBezTo>
                    <a:pt x="5327" y="2187"/>
                    <a:pt x="5327" y="2187"/>
                    <a:pt x="5327" y="2187"/>
                  </a:cubicBezTo>
                  <a:cubicBezTo>
                    <a:pt x="5138" y="1986"/>
                    <a:pt x="5018" y="1718"/>
                    <a:pt x="4902" y="1456"/>
                  </a:cubicBezTo>
                  <a:close/>
                </a:path>
              </a:pathLst>
            </a:custGeom>
            <a:solidFill>
              <a:srgbClr val="CBCD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9" name="Freeform 58"/>
            <p:cNvSpPr>
              <a:spLocks/>
            </p:cNvSpPr>
            <p:nvPr userDrawn="1"/>
          </p:nvSpPr>
          <p:spPr bwMode="auto">
            <a:xfrm>
              <a:off x="-792" y="1231431"/>
              <a:ext cx="8329794" cy="3501881"/>
            </a:xfrm>
            <a:custGeom>
              <a:avLst/>
              <a:gdLst>
                <a:gd name="T0" fmla="*/ 4928 w 5463"/>
                <a:gd name="T1" fmla="*/ 1476 h 2295"/>
                <a:gd name="T2" fmla="*/ 4153 w 5463"/>
                <a:gd name="T3" fmla="*/ 516 h 2295"/>
                <a:gd name="T4" fmla="*/ 2920 w 5463"/>
                <a:gd name="T5" fmla="*/ 618 h 2295"/>
                <a:gd name="T6" fmla="*/ 1879 w 5463"/>
                <a:gd name="T7" fmla="*/ 783 h 2295"/>
                <a:gd name="T8" fmla="*/ 1161 w 5463"/>
                <a:gd name="T9" fmla="*/ 506 h 2295"/>
                <a:gd name="T10" fmla="*/ 871 w 5463"/>
                <a:gd name="T11" fmla="*/ 372 h 2295"/>
                <a:gd name="T12" fmla="*/ 0 w 5463"/>
                <a:gd name="T13" fmla="*/ 0 h 2295"/>
                <a:gd name="T14" fmla="*/ 0 w 5463"/>
                <a:gd name="T15" fmla="*/ 7 h 2295"/>
                <a:gd name="T16" fmla="*/ 869 w 5463"/>
                <a:gd name="T17" fmla="*/ 378 h 2295"/>
                <a:gd name="T18" fmla="*/ 1158 w 5463"/>
                <a:gd name="T19" fmla="*/ 512 h 2295"/>
                <a:gd name="T20" fmla="*/ 1878 w 5463"/>
                <a:gd name="T21" fmla="*/ 789 h 2295"/>
                <a:gd name="T22" fmla="*/ 2922 w 5463"/>
                <a:gd name="T23" fmla="*/ 625 h 2295"/>
                <a:gd name="T24" fmla="*/ 4150 w 5463"/>
                <a:gd name="T25" fmla="*/ 523 h 2295"/>
                <a:gd name="T26" fmla="*/ 4921 w 5463"/>
                <a:gd name="T27" fmla="*/ 1479 h 2295"/>
                <a:gd name="T28" fmla="*/ 5454 w 5463"/>
                <a:gd name="T29" fmla="*/ 2295 h 2295"/>
                <a:gd name="T30" fmla="*/ 5463 w 5463"/>
                <a:gd name="T31" fmla="*/ 2294 h 2295"/>
                <a:gd name="T32" fmla="*/ 4928 w 5463"/>
                <a:gd name="T33" fmla="*/ 1476 h 2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463" h="2295">
                  <a:moveTo>
                    <a:pt x="4928" y="1476"/>
                  </a:moveTo>
                  <a:cubicBezTo>
                    <a:pt x="4747" y="1090"/>
                    <a:pt x="4561" y="690"/>
                    <a:pt x="4153" y="516"/>
                  </a:cubicBezTo>
                  <a:cubicBezTo>
                    <a:pt x="3748" y="344"/>
                    <a:pt x="3327" y="483"/>
                    <a:pt x="2920" y="618"/>
                  </a:cubicBezTo>
                  <a:cubicBezTo>
                    <a:pt x="2578" y="732"/>
                    <a:pt x="2224" y="849"/>
                    <a:pt x="1879" y="783"/>
                  </a:cubicBezTo>
                  <a:cubicBezTo>
                    <a:pt x="1639" y="737"/>
                    <a:pt x="1396" y="619"/>
                    <a:pt x="1161" y="506"/>
                  </a:cubicBezTo>
                  <a:cubicBezTo>
                    <a:pt x="1060" y="458"/>
                    <a:pt x="966" y="412"/>
                    <a:pt x="871" y="37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869" y="378"/>
                    <a:pt x="869" y="378"/>
                    <a:pt x="869" y="378"/>
                  </a:cubicBezTo>
                  <a:cubicBezTo>
                    <a:pt x="963" y="418"/>
                    <a:pt x="1057" y="464"/>
                    <a:pt x="1158" y="512"/>
                  </a:cubicBezTo>
                  <a:cubicBezTo>
                    <a:pt x="1393" y="626"/>
                    <a:pt x="1637" y="743"/>
                    <a:pt x="1878" y="789"/>
                  </a:cubicBezTo>
                  <a:cubicBezTo>
                    <a:pt x="2224" y="856"/>
                    <a:pt x="2579" y="738"/>
                    <a:pt x="2922" y="625"/>
                  </a:cubicBezTo>
                  <a:cubicBezTo>
                    <a:pt x="3328" y="490"/>
                    <a:pt x="3748" y="351"/>
                    <a:pt x="4150" y="523"/>
                  </a:cubicBezTo>
                  <a:cubicBezTo>
                    <a:pt x="4555" y="695"/>
                    <a:pt x="4741" y="1094"/>
                    <a:pt x="4921" y="1479"/>
                  </a:cubicBezTo>
                  <a:cubicBezTo>
                    <a:pt x="5062" y="1780"/>
                    <a:pt x="5206" y="2089"/>
                    <a:pt x="5454" y="2295"/>
                  </a:cubicBezTo>
                  <a:cubicBezTo>
                    <a:pt x="5463" y="2294"/>
                    <a:pt x="5463" y="2294"/>
                    <a:pt x="5463" y="2294"/>
                  </a:cubicBezTo>
                  <a:cubicBezTo>
                    <a:pt x="5213" y="2088"/>
                    <a:pt x="5068" y="1778"/>
                    <a:pt x="4928" y="1476"/>
                  </a:cubicBezTo>
                  <a:close/>
                </a:path>
              </a:pathLst>
            </a:custGeom>
            <a:solidFill>
              <a:srgbClr val="CBCC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0" name="Freeform 59"/>
            <p:cNvSpPr>
              <a:spLocks/>
            </p:cNvSpPr>
            <p:nvPr userDrawn="1"/>
          </p:nvSpPr>
          <p:spPr bwMode="auto">
            <a:xfrm>
              <a:off x="-792" y="1029400"/>
              <a:ext cx="8578325" cy="3662224"/>
            </a:xfrm>
            <a:custGeom>
              <a:avLst/>
              <a:gdLst>
                <a:gd name="T0" fmla="*/ 5621 w 5625"/>
                <a:gd name="T1" fmla="*/ 2395 h 2399"/>
                <a:gd name="T2" fmla="*/ 4960 w 5625"/>
                <a:gd name="T3" fmla="*/ 1494 h 2399"/>
                <a:gd name="T4" fmla="*/ 4169 w 5625"/>
                <a:gd name="T5" fmla="*/ 529 h 2399"/>
                <a:gd name="T6" fmla="*/ 2953 w 5625"/>
                <a:gd name="T7" fmla="*/ 636 h 2399"/>
                <a:gd name="T8" fmla="*/ 1925 w 5625"/>
                <a:gd name="T9" fmla="*/ 804 h 2399"/>
                <a:gd name="T10" fmla="*/ 1208 w 5625"/>
                <a:gd name="T11" fmla="*/ 527 h 2399"/>
                <a:gd name="T12" fmla="*/ 919 w 5625"/>
                <a:gd name="T13" fmla="*/ 393 h 2399"/>
                <a:gd name="T14" fmla="*/ 0 w 5625"/>
                <a:gd name="T15" fmla="*/ 0 h 2399"/>
                <a:gd name="T16" fmla="*/ 0 w 5625"/>
                <a:gd name="T17" fmla="*/ 8 h 2399"/>
                <a:gd name="T18" fmla="*/ 916 w 5625"/>
                <a:gd name="T19" fmla="*/ 399 h 2399"/>
                <a:gd name="T20" fmla="*/ 1205 w 5625"/>
                <a:gd name="T21" fmla="*/ 534 h 2399"/>
                <a:gd name="T22" fmla="*/ 1924 w 5625"/>
                <a:gd name="T23" fmla="*/ 811 h 2399"/>
                <a:gd name="T24" fmla="*/ 2956 w 5625"/>
                <a:gd name="T25" fmla="*/ 643 h 2399"/>
                <a:gd name="T26" fmla="*/ 4166 w 5625"/>
                <a:gd name="T27" fmla="*/ 536 h 2399"/>
                <a:gd name="T28" fmla="*/ 4953 w 5625"/>
                <a:gd name="T29" fmla="*/ 1497 h 2399"/>
                <a:gd name="T30" fmla="*/ 5614 w 5625"/>
                <a:gd name="T31" fmla="*/ 2399 h 2399"/>
                <a:gd name="T32" fmla="*/ 5625 w 5625"/>
                <a:gd name="T33" fmla="*/ 2397 h 2399"/>
                <a:gd name="T34" fmla="*/ 5621 w 5625"/>
                <a:gd name="T35" fmla="*/ 2395 h 2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625" h="2399">
                  <a:moveTo>
                    <a:pt x="5621" y="2395"/>
                  </a:moveTo>
                  <a:cubicBezTo>
                    <a:pt x="5297" y="2195"/>
                    <a:pt x="5125" y="1839"/>
                    <a:pt x="4960" y="1494"/>
                  </a:cubicBezTo>
                  <a:cubicBezTo>
                    <a:pt x="4773" y="1106"/>
                    <a:pt x="4580" y="704"/>
                    <a:pt x="4169" y="529"/>
                  </a:cubicBezTo>
                  <a:cubicBezTo>
                    <a:pt x="3768" y="359"/>
                    <a:pt x="3354" y="500"/>
                    <a:pt x="2953" y="636"/>
                  </a:cubicBezTo>
                  <a:cubicBezTo>
                    <a:pt x="2616" y="751"/>
                    <a:pt x="2267" y="869"/>
                    <a:pt x="1925" y="804"/>
                  </a:cubicBezTo>
                  <a:cubicBezTo>
                    <a:pt x="1686" y="758"/>
                    <a:pt x="1443" y="641"/>
                    <a:pt x="1208" y="527"/>
                  </a:cubicBezTo>
                  <a:cubicBezTo>
                    <a:pt x="1108" y="479"/>
                    <a:pt x="1013" y="433"/>
                    <a:pt x="919" y="39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16" y="399"/>
                    <a:pt x="916" y="399"/>
                    <a:pt x="916" y="399"/>
                  </a:cubicBezTo>
                  <a:cubicBezTo>
                    <a:pt x="1010" y="440"/>
                    <a:pt x="1105" y="485"/>
                    <a:pt x="1205" y="534"/>
                  </a:cubicBezTo>
                  <a:cubicBezTo>
                    <a:pt x="1440" y="647"/>
                    <a:pt x="1684" y="764"/>
                    <a:pt x="1924" y="811"/>
                  </a:cubicBezTo>
                  <a:cubicBezTo>
                    <a:pt x="2268" y="877"/>
                    <a:pt x="2617" y="758"/>
                    <a:pt x="2956" y="643"/>
                  </a:cubicBezTo>
                  <a:cubicBezTo>
                    <a:pt x="3355" y="507"/>
                    <a:pt x="3768" y="366"/>
                    <a:pt x="4166" y="536"/>
                  </a:cubicBezTo>
                  <a:cubicBezTo>
                    <a:pt x="4575" y="709"/>
                    <a:pt x="4767" y="1110"/>
                    <a:pt x="4953" y="1497"/>
                  </a:cubicBezTo>
                  <a:cubicBezTo>
                    <a:pt x="5119" y="1842"/>
                    <a:pt x="5291" y="2198"/>
                    <a:pt x="5614" y="2399"/>
                  </a:cubicBezTo>
                  <a:cubicBezTo>
                    <a:pt x="5625" y="2397"/>
                    <a:pt x="5625" y="2397"/>
                    <a:pt x="5625" y="2397"/>
                  </a:cubicBezTo>
                  <a:cubicBezTo>
                    <a:pt x="5623" y="2396"/>
                    <a:pt x="5622" y="2396"/>
                    <a:pt x="5621" y="2395"/>
                  </a:cubicBezTo>
                  <a:close/>
                </a:path>
              </a:pathLst>
            </a:custGeom>
            <a:solidFill>
              <a:srgbClr val="CACC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1" name="Freeform 60"/>
            <p:cNvSpPr>
              <a:spLocks/>
            </p:cNvSpPr>
            <p:nvPr userDrawn="1"/>
          </p:nvSpPr>
          <p:spPr bwMode="auto">
            <a:xfrm>
              <a:off x="-792" y="830575"/>
              <a:ext cx="8862131" cy="3809739"/>
            </a:xfrm>
            <a:custGeom>
              <a:avLst/>
              <a:gdLst>
                <a:gd name="T0" fmla="*/ 5668 w 5812"/>
                <a:gd name="T1" fmla="*/ 2414 h 2497"/>
                <a:gd name="T2" fmla="*/ 4999 w 5812"/>
                <a:gd name="T3" fmla="*/ 1506 h 2497"/>
                <a:gd name="T4" fmla="*/ 4196 w 5812"/>
                <a:gd name="T5" fmla="*/ 531 h 2497"/>
                <a:gd name="T6" fmla="*/ 2990 w 5812"/>
                <a:gd name="T7" fmla="*/ 647 h 2497"/>
                <a:gd name="T8" fmla="*/ 1973 w 5812"/>
                <a:gd name="T9" fmla="*/ 823 h 2497"/>
                <a:gd name="T10" fmla="*/ 1254 w 5812"/>
                <a:gd name="T11" fmla="*/ 547 h 2497"/>
                <a:gd name="T12" fmla="*/ 966 w 5812"/>
                <a:gd name="T13" fmla="*/ 413 h 2497"/>
                <a:gd name="T14" fmla="*/ 0 w 5812"/>
                <a:gd name="T15" fmla="*/ 0 h 2497"/>
                <a:gd name="T16" fmla="*/ 0 w 5812"/>
                <a:gd name="T17" fmla="*/ 8 h 2497"/>
                <a:gd name="T18" fmla="*/ 963 w 5812"/>
                <a:gd name="T19" fmla="*/ 420 h 2497"/>
                <a:gd name="T20" fmla="*/ 1251 w 5812"/>
                <a:gd name="T21" fmla="*/ 554 h 2497"/>
                <a:gd name="T22" fmla="*/ 1971 w 5812"/>
                <a:gd name="T23" fmla="*/ 830 h 2497"/>
                <a:gd name="T24" fmla="*/ 2993 w 5812"/>
                <a:gd name="T25" fmla="*/ 653 h 2497"/>
                <a:gd name="T26" fmla="*/ 4193 w 5812"/>
                <a:gd name="T27" fmla="*/ 538 h 2497"/>
                <a:gd name="T28" fmla="*/ 4993 w 5812"/>
                <a:gd name="T29" fmla="*/ 1509 h 2497"/>
                <a:gd name="T30" fmla="*/ 5664 w 5812"/>
                <a:gd name="T31" fmla="*/ 2420 h 2497"/>
                <a:gd name="T32" fmla="*/ 5801 w 5812"/>
                <a:gd name="T33" fmla="*/ 2497 h 2497"/>
                <a:gd name="T34" fmla="*/ 5812 w 5812"/>
                <a:gd name="T35" fmla="*/ 2495 h 2497"/>
                <a:gd name="T36" fmla="*/ 5668 w 5812"/>
                <a:gd name="T37" fmla="*/ 2414 h 2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12" h="2497">
                  <a:moveTo>
                    <a:pt x="5668" y="2414"/>
                  </a:moveTo>
                  <a:cubicBezTo>
                    <a:pt x="5344" y="2212"/>
                    <a:pt x="5168" y="1853"/>
                    <a:pt x="4999" y="1506"/>
                  </a:cubicBezTo>
                  <a:cubicBezTo>
                    <a:pt x="4808" y="1113"/>
                    <a:pt x="4610" y="707"/>
                    <a:pt x="4196" y="531"/>
                  </a:cubicBezTo>
                  <a:cubicBezTo>
                    <a:pt x="3797" y="362"/>
                    <a:pt x="3387" y="506"/>
                    <a:pt x="2990" y="647"/>
                  </a:cubicBezTo>
                  <a:cubicBezTo>
                    <a:pt x="2657" y="764"/>
                    <a:pt x="2312" y="886"/>
                    <a:pt x="1973" y="823"/>
                  </a:cubicBezTo>
                  <a:cubicBezTo>
                    <a:pt x="1733" y="778"/>
                    <a:pt x="1490" y="661"/>
                    <a:pt x="1254" y="547"/>
                  </a:cubicBezTo>
                  <a:cubicBezTo>
                    <a:pt x="1154" y="499"/>
                    <a:pt x="1060" y="453"/>
                    <a:pt x="966" y="4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63" y="420"/>
                    <a:pt x="963" y="420"/>
                    <a:pt x="963" y="420"/>
                  </a:cubicBezTo>
                  <a:cubicBezTo>
                    <a:pt x="1057" y="460"/>
                    <a:pt x="1151" y="505"/>
                    <a:pt x="1251" y="554"/>
                  </a:cubicBezTo>
                  <a:cubicBezTo>
                    <a:pt x="1487" y="667"/>
                    <a:pt x="1731" y="785"/>
                    <a:pt x="1971" y="830"/>
                  </a:cubicBezTo>
                  <a:cubicBezTo>
                    <a:pt x="2312" y="894"/>
                    <a:pt x="2658" y="771"/>
                    <a:pt x="2993" y="653"/>
                  </a:cubicBezTo>
                  <a:cubicBezTo>
                    <a:pt x="3388" y="514"/>
                    <a:pt x="3797" y="369"/>
                    <a:pt x="4193" y="538"/>
                  </a:cubicBezTo>
                  <a:cubicBezTo>
                    <a:pt x="4605" y="713"/>
                    <a:pt x="4802" y="1117"/>
                    <a:pt x="4993" y="1509"/>
                  </a:cubicBezTo>
                  <a:cubicBezTo>
                    <a:pt x="5162" y="1857"/>
                    <a:pt x="5338" y="2217"/>
                    <a:pt x="5664" y="2420"/>
                  </a:cubicBezTo>
                  <a:cubicBezTo>
                    <a:pt x="5708" y="2447"/>
                    <a:pt x="5754" y="2473"/>
                    <a:pt x="5801" y="2497"/>
                  </a:cubicBezTo>
                  <a:cubicBezTo>
                    <a:pt x="5812" y="2495"/>
                    <a:pt x="5812" y="2495"/>
                    <a:pt x="5812" y="2495"/>
                  </a:cubicBezTo>
                  <a:cubicBezTo>
                    <a:pt x="5763" y="2470"/>
                    <a:pt x="5714" y="2443"/>
                    <a:pt x="5668" y="2414"/>
                  </a:cubicBezTo>
                  <a:close/>
                </a:path>
              </a:pathLst>
            </a:custGeom>
            <a:solidFill>
              <a:srgbClr val="CACB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2" name="Freeform 61"/>
            <p:cNvSpPr>
              <a:spLocks/>
            </p:cNvSpPr>
            <p:nvPr userDrawn="1"/>
          </p:nvSpPr>
          <p:spPr bwMode="auto">
            <a:xfrm>
              <a:off x="-792" y="630146"/>
              <a:ext cx="9171592" cy="3957254"/>
            </a:xfrm>
            <a:custGeom>
              <a:avLst/>
              <a:gdLst>
                <a:gd name="T0" fmla="*/ 5717 w 6015"/>
                <a:gd name="T1" fmla="*/ 2433 h 2593"/>
                <a:gd name="T2" fmla="*/ 5048 w 6015"/>
                <a:gd name="T3" fmla="*/ 1512 h 2593"/>
                <a:gd name="T4" fmla="*/ 4236 w 6015"/>
                <a:gd name="T5" fmla="*/ 521 h 2593"/>
                <a:gd name="T6" fmla="*/ 3031 w 6015"/>
                <a:gd name="T7" fmla="*/ 650 h 2593"/>
                <a:gd name="T8" fmla="*/ 2021 w 6015"/>
                <a:gd name="T9" fmla="*/ 841 h 2593"/>
                <a:gd name="T10" fmla="*/ 1299 w 6015"/>
                <a:gd name="T11" fmla="*/ 566 h 2593"/>
                <a:gd name="T12" fmla="*/ 1014 w 6015"/>
                <a:gd name="T13" fmla="*/ 433 h 2593"/>
                <a:gd name="T14" fmla="*/ 0 w 6015"/>
                <a:gd name="T15" fmla="*/ 0 h 2593"/>
                <a:gd name="T16" fmla="*/ 0 w 6015"/>
                <a:gd name="T17" fmla="*/ 8 h 2593"/>
                <a:gd name="T18" fmla="*/ 1011 w 6015"/>
                <a:gd name="T19" fmla="*/ 440 h 2593"/>
                <a:gd name="T20" fmla="*/ 1296 w 6015"/>
                <a:gd name="T21" fmla="*/ 573 h 2593"/>
                <a:gd name="T22" fmla="*/ 2020 w 6015"/>
                <a:gd name="T23" fmla="*/ 848 h 2593"/>
                <a:gd name="T24" fmla="*/ 3034 w 6015"/>
                <a:gd name="T25" fmla="*/ 657 h 2593"/>
                <a:gd name="T26" fmla="*/ 4233 w 6015"/>
                <a:gd name="T27" fmla="*/ 528 h 2593"/>
                <a:gd name="T28" fmla="*/ 5041 w 6015"/>
                <a:gd name="T29" fmla="*/ 1515 h 2593"/>
                <a:gd name="T30" fmla="*/ 5713 w 6015"/>
                <a:gd name="T31" fmla="*/ 2439 h 2593"/>
                <a:gd name="T32" fmla="*/ 6002 w 6015"/>
                <a:gd name="T33" fmla="*/ 2593 h 2593"/>
                <a:gd name="T34" fmla="*/ 6015 w 6015"/>
                <a:gd name="T35" fmla="*/ 2590 h 2593"/>
                <a:gd name="T36" fmla="*/ 5717 w 6015"/>
                <a:gd name="T37" fmla="*/ 2433 h 25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015" h="2593">
                  <a:moveTo>
                    <a:pt x="5717" y="2433"/>
                  </a:moveTo>
                  <a:cubicBezTo>
                    <a:pt x="5394" y="2227"/>
                    <a:pt x="5218" y="1864"/>
                    <a:pt x="5048" y="1512"/>
                  </a:cubicBezTo>
                  <a:cubicBezTo>
                    <a:pt x="4854" y="1112"/>
                    <a:pt x="4654" y="698"/>
                    <a:pt x="4236" y="521"/>
                  </a:cubicBezTo>
                  <a:cubicBezTo>
                    <a:pt x="3838" y="352"/>
                    <a:pt x="3428" y="503"/>
                    <a:pt x="3031" y="650"/>
                  </a:cubicBezTo>
                  <a:cubicBezTo>
                    <a:pt x="2700" y="773"/>
                    <a:pt x="2358" y="900"/>
                    <a:pt x="2021" y="841"/>
                  </a:cubicBezTo>
                  <a:cubicBezTo>
                    <a:pt x="1781" y="799"/>
                    <a:pt x="1536" y="681"/>
                    <a:pt x="1299" y="566"/>
                  </a:cubicBezTo>
                  <a:cubicBezTo>
                    <a:pt x="1200" y="518"/>
                    <a:pt x="1106" y="473"/>
                    <a:pt x="1014" y="43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011" y="440"/>
                    <a:pt x="1011" y="440"/>
                    <a:pt x="1011" y="440"/>
                  </a:cubicBezTo>
                  <a:cubicBezTo>
                    <a:pt x="1103" y="479"/>
                    <a:pt x="1197" y="525"/>
                    <a:pt x="1296" y="573"/>
                  </a:cubicBezTo>
                  <a:cubicBezTo>
                    <a:pt x="1533" y="687"/>
                    <a:pt x="1778" y="806"/>
                    <a:pt x="2020" y="848"/>
                  </a:cubicBezTo>
                  <a:cubicBezTo>
                    <a:pt x="2358" y="907"/>
                    <a:pt x="2702" y="780"/>
                    <a:pt x="3034" y="657"/>
                  </a:cubicBezTo>
                  <a:cubicBezTo>
                    <a:pt x="3429" y="511"/>
                    <a:pt x="3838" y="359"/>
                    <a:pt x="4233" y="528"/>
                  </a:cubicBezTo>
                  <a:cubicBezTo>
                    <a:pt x="4648" y="704"/>
                    <a:pt x="4848" y="1117"/>
                    <a:pt x="5041" y="1515"/>
                  </a:cubicBezTo>
                  <a:cubicBezTo>
                    <a:pt x="5212" y="1868"/>
                    <a:pt x="5388" y="2232"/>
                    <a:pt x="5713" y="2439"/>
                  </a:cubicBezTo>
                  <a:cubicBezTo>
                    <a:pt x="5803" y="2497"/>
                    <a:pt x="5900" y="2547"/>
                    <a:pt x="6002" y="2593"/>
                  </a:cubicBezTo>
                  <a:cubicBezTo>
                    <a:pt x="6015" y="2590"/>
                    <a:pt x="6015" y="2590"/>
                    <a:pt x="6015" y="2590"/>
                  </a:cubicBezTo>
                  <a:cubicBezTo>
                    <a:pt x="5910" y="2543"/>
                    <a:pt x="5809" y="2492"/>
                    <a:pt x="5717" y="2433"/>
                  </a:cubicBezTo>
                  <a:close/>
                </a:path>
              </a:pathLst>
            </a:custGeom>
            <a:solidFill>
              <a:srgbClr val="C9CB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3" name="Freeform 62"/>
            <p:cNvSpPr>
              <a:spLocks/>
            </p:cNvSpPr>
            <p:nvPr userDrawn="1"/>
          </p:nvSpPr>
          <p:spPr bwMode="auto">
            <a:xfrm>
              <a:off x="-792" y="429718"/>
              <a:ext cx="9501898" cy="4099958"/>
            </a:xfrm>
            <a:custGeom>
              <a:avLst/>
              <a:gdLst>
                <a:gd name="T0" fmla="*/ 5766 w 6231"/>
                <a:gd name="T1" fmla="*/ 2451 h 2686"/>
                <a:gd name="T2" fmla="*/ 5137 w 6231"/>
                <a:gd name="T3" fmla="*/ 1595 h 2686"/>
                <a:gd name="T4" fmla="*/ 5049 w 6231"/>
                <a:gd name="T5" fmla="*/ 1426 h 2686"/>
                <a:gd name="T6" fmla="*/ 5007 w 6231"/>
                <a:gd name="T7" fmla="*/ 1347 h 2686"/>
                <a:gd name="T8" fmla="*/ 4291 w 6231"/>
                <a:gd name="T9" fmla="*/ 497 h 2686"/>
                <a:gd name="T10" fmla="*/ 3257 w 6231"/>
                <a:gd name="T11" fmla="*/ 595 h 2686"/>
                <a:gd name="T12" fmla="*/ 3225 w 6231"/>
                <a:gd name="T13" fmla="*/ 606 h 2686"/>
                <a:gd name="T14" fmla="*/ 3032 w 6231"/>
                <a:gd name="T15" fmla="*/ 674 h 2686"/>
                <a:gd name="T16" fmla="*/ 2071 w 6231"/>
                <a:gd name="T17" fmla="*/ 858 h 2686"/>
                <a:gd name="T18" fmla="*/ 1341 w 6231"/>
                <a:gd name="T19" fmla="*/ 584 h 2686"/>
                <a:gd name="T20" fmla="*/ 1061 w 6231"/>
                <a:gd name="T21" fmla="*/ 453 h 2686"/>
                <a:gd name="T22" fmla="*/ 0 w 6231"/>
                <a:gd name="T23" fmla="*/ 0 h 2686"/>
                <a:gd name="T24" fmla="*/ 0 w 6231"/>
                <a:gd name="T25" fmla="*/ 8 h 2686"/>
                <a:gd name="T26" fmla="*/ 1058 w 6231"/>
                <a:gd name="T27" fmla="*/ 460 h 2686"/>
                <a:gd name="T28" fmla="*/ 1338 w 6231"/>
                <a:gd name="T29" fmla="*/ 591 h 2686"/>
                <a:gd name="T30" fmla="*/ 2070 w 6231"/>
                <a:gd name="T31" fmla="*/ 865 h 2686"/>
                <a:gd name="T32" fmla="*/ 3035 w 6231"/>
                <a:gd name="T33" fmla="*/ 681 h 2686"/>
                <a:gd name="T34" fmla="*/ 3228 w 6231"/>
                <a:gd name="T35" fmla="*/ 613 h 2686"/>
                <a:gd name="T36" fmla="*/ 3259 w 6231"/>
                <a:gd name="T37" fmla="*/ 602 h 2686"/>
                <a:gd name="T38" fmla="*/ 4288 w 6231"/>
                <a:gd name="T39" fmla="*/ 504 h 2686"/>
                <a:gd name="T40" fmla="*/ 5000 w 6231"/>
                <a:gd name="T41" fmla="*/ 1350 h 2686"/>
                <a:gd name="T42" fmla="*/ 5042 w 6231"/>
                <a:gd name="T43" fmla="*/ 1430 h 2686"/>
                <a:gd name="T44" fmla="*/ 5130 w 6231"/>
                <a:gd name="T45" fmla="*/ 1598 h 2686"/>
                <a:gd name="T46" fmla="*/ 5762 w 6231"/>
                <a:gd name="T47" fmla="*/ 2457 h 2686"/>
                <a:gd name="T48" fmla="*/ 6217 w 6231"/>
                <a:gd name="T49" fmla="*/ 2686 h 2686"/>
                <a:gd name="T50" fmla="*/ 6231 w 6231"/>
                <a:gd name="T51" fmla="*/ 2683 h 2686"/>
                <a:gd name="T52" fmla="*/ 5766 w 6231"/>
                <a:gd name="T53" fmla="*/ 2451 h 2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231" h="2686">
                  <a:moveTo>
                    <a:pt x="5766" y="2451"/>
                  </a:moveTo>
                  <a:cubicBezTo>
                    <a:pt x="5475" y="2257"/>
                    <a:pt x="5295" y="1905"/>
                    <a:pt x="5137" y="1595"/>
                  </a:cubicBezTo>
                  <a:cubicBezTo>
                    <a:pt x="5106" y="1536"/>
                    <a:pt x="5078" y="1481"/>
                    <a:pt x="5049" y="1426"/>
                  </a:cubicBezTo>
                  <a:cubicBezTo>
                    <a:pt x="5035" y="1400"/>
                    <a:pt x="5021" y="1374"/>
                    <a:pt x="5007" y="1347"/>
                  </a:cubicBezTo>
                  <a:cubicBezTo>
                    <a:pt x="4833" y="1017"/>
                    <a:pt x="4636" y="643"/>
                    <a:pt x="4291" y="497"/>
                  </a:cubicBezTo>
                  <a:cubicBezTo>
                    <a:pt x="3960" y="356"/>
                    <a:pt x="3587" y="483"/>
                    <a:pt x="3257" y="595"/>
                  </a:cubicBezTo>
                  <a:cubicBezTo>
                    <a:pt x="3225" y="606"/>
                    <a:pt x="3225" y="606"/>
                    <a:pt x="3225" y="606"/>
                  </a:cubicBezTo>
                  <a:cubicBezTo>
                    <a:pt x="3162" y="627"/>
                    <a:pt x="3099" y="650"/>
                    <a:pt x="3032" y="674"/>
                  </a:cubicBezTo>
                  <a:cubicBezTo>
                    <a:pt x="2717" y="789"/>
                    <a:pt x="2391" y="907"/>
                    <a:pt x="2071" y="858"/>
                  </a:cubicBezTo>
                  <a:cubicBezTo>
                    <a:pt x="1829" y="821"/>
                    <a:pt x="1581" y="700"/>
                    <a:pt x="1341" y="584"/>
                  </a:cubicBezTo>
                  <a:cubicBezTo>
                    <a:pt x="1244" y="537"/>
                    <a:pt x="1152" y="492"/>
                    <a:pt x="1061" y="45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058" y="460"/>
                    <a:pt x="1058" y="460"/>
                    <a:pt x="1058" y="460"/>
                  </a:cubicBezTo>
                  <a:cubicBezTo>
                    <a:pt x="1149" y="499"/>
                    <a:pt x="1241" y="544"/>
                    <a:pt x="1338" y="591"/>
                  </a:cubicBezTo>
                  <a:cubicBezTo>
                    <a:pt x="1578" y="707"/>
                    <a:pt x="1826" y="828"/>
                    <a:pt x="2070" y="865"/>
                  </a:cubicBezTo>
                  <a:cubicBezTo>
                    <a:pt x="2392" y="915"/>
                    <a:pt x="2719" y="796"/>
                    <a:pt x="3035" y="681"/>
                  </a:cubicBezTo>
                  <a:cubicBezTo>
                    <a:pt x="3102" y="657"/>
                    <a:pt x="3165" y="634"/>
                    <a:pt x="3228" y="613"/>
                  </a:cubicBezTo>
                  <a:cubicBezTo>
                    <a:pt x="3259" y="602"/>
                    <a:pt x="3259" y="602"/>
                    <a:pt x="3259" y="602"/>
                  </a:cubicBezTo>
                  <a:cubicBezTo>
                    <a:pt x="3588" y="490"/>
                    <a:pt x="3960" y="364"/>
                    <a:pt x="4288" y="504"/>
                  </a:cubicBezTo>
                  <a:cubicBezTo>
                    <a:pt x="4631" y="649"/>
                    <a:pt x="4827" y="1022"/>
                    <a:pt x="5000" y="1350"/>
                  </a:cubicBezTo>
                  <a:cubicBezTo>
                    <a:pt x="5015" y="1377"/>
                    <a:pt x="5029" y="1404"/>
                    <a:pt x="5042" y="1430"/>
                  </a:cubicBezTo>
                  <a:cubicBezTo>
                    <a:pt x="5071" y="1484"/>
                    <a:pt x="5100" y="1540"/>
                    <a:pt x="5130" y="1598"/>
                  </a:cubicBezTo>
                  <a:cubicBezTo>
                    <a:pt x="5289" y="1909"/>
                    <a:pt x="5470" y="2262"/>
                    <a:pt x="5762" y="2457"/>
                  </a:cubicBezTo>
                  <a:cubicBezTo>
                    <a:pt x="5899" y="2548"/>
                    <a:pt x="6056" y="2620"/>
                    <a:pt x="6217" y="2686"/>
                  </a:cubicBezTo>
                  <a:cubicBezTo>
                    <a:pt x="6231" y="2683"/>
                    <a:pt x="6231" y="2683"/>
                    <a:pt x="6231" y="2683"/>
                  </a:cubicBezTo>
                  <a:cubicBezTo>
                    <a:pt x="6066" y="2617"/>
                    <a:pt x="5905" y="2544"/>
                    <a:pt x="5766" y="2451"/>
                  </a:cubicBezTo>
                  <a:close/>
                </a:path>
              </a:pathLst>
            </a:custGeom>
            <a:solidFill>
              <a:srgbClr val="C9CA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4" name="Freeform 63"/>
            <p:cNvSpPr>
              <a:spLocks/>
            </p:cNvSpPr>
            <p:nvPr userDrawn="1"/>
          </p:nvSpPr>
          <p:spPr bwMode="auto">
            <a:xfrm>
              <a:off x="-792" y="230893"/>
              <a:ext cx="9849841" cy="4237854"/>
            </a:xfrm>
            <a:custGeom>
              <a:avLst/>
              <a:gdLst>
                <a:gd name="T0" fmla="*/ 5815 w 6459"/>
                <a:gd name="T1" fmla="*/ 2469 h 2777"/>
                <a:gd name="T2" fmla="*/ 5184 w 6459"/>
                <a:gd name="T3" fmla="*/ 1614 h 2777"/>
                <a:gd name="T4" fmla="*/ 5096 w 6459"/>
                <a:gd name="T5" fmla="*/ 1447 h 2777"/>
                <a:gd name="T6" fmla="*/ 5050 w 6459"/>
                <a:gd name="T7" fmla="*/ 1361 h 2777"/>
                <a:gd name="T8" fmla="*/ 4338 w 6459"/>
                <a:gd name="T9" fmla="*/ 518 h 2777"/>
                <a:gd name="T10" fmla="*/ 3311 w 6459"/>
                <a:gd name="T11" fmla="*/ 614 h 2777"/>
                <a:gd name="T12" fmla="*/ 3272 w 6459"/>
                <a:gd name="T13" fmla="*/ 627 h 2777"/>
                <a:gd name="T14" fmla="*/ 3080 w 6459"/>
                <a:gd name="T15" fmla="*/ 694 h 2777"/>
                <a:gd name="T16" fmla="*/ 2120 w 6459"/>
                <a:gd name="T17" fmla="*/ 876 h 2777"/>
                <a:gd name="T18" fmla="*/ 1385 w 6459"/>
                <a:gd name="T19" fmla="*/ 603 h 2777"/>
                <a:gd name="T20" fmla="*/ 1108 w 6459"/>
                <a:gd name="T21" fmla="*/ 473 h 2777"/>
                <a:gd name="T22" fmla="*/ 0 w 6459"/>
                <a:gd name="T23" fmla="*/ 0 h 2777"/>
                <a:gd name="T24" fmla="*/ 0 w 6459"/>
                <a:gd name="T25" fmla="*/ 8 h 2777"/>
                <a:gd name="T26" fmla="*/ 1105 w 6459"/>
                <a:gd name="T27" fmla="*/ 480 h 2777"/>
                <a:gd name="T28" fmla="*/ 1382 w 6459"/>
                <a:gd name="T29" fmla="*/ 610 h 2777"/>
                <a:gd name="T30" fmla="*/ 2119 w 6459"/>
                <a:gd name="T31" fmla="*/ 883 h 2777"/>
                <a:gd name="T32" fmla="*/ 3082 w 6459"/>
                <a:gd name="T33" fmla="*/ 701 h 2777"/>
                <a:gd name="T34" fmla="*/ 3274 w 6459"/>
                <a:gd name="T35" fmla="*/ 634 h 2777"/>
                <a:gd name="T36" fmla="*/ 3313 w 6459"/>
                <a:gd name="T37" fmla="*/ 621 h 2777"/>
                <a:gd name="T38" fmla="*/ 4335 w 6459"/>
                <a:gd name="T39" fmla="*/ 525 h 2777"/>
                <a:gd name="T40" fmla="*/ 5043 w 6459"/>
                <a:gd name="T41" fmla="*/ 1365 h 2777"/>
                <a:gd name="T42" fmla="*/ 5089 w 6459"/>
                <a:gd name="T43" fmla="*/ 1451 h 2777"/>
                <a:gd name="T44" fmla="*/ 5177 w 6459"/>
                <a:gd name="T45" fmla="*/ 1618 h 2777"/>
                <a:gd name="T46" fmla="*/ 5810 w 6459"/>
                <a:gd name="T47" fmla="*/ 2475 h 2777"/>
                <a:gd name="T48" fmla="*/ 6445 w 6459"/>
                <a:gd name="T49" fmla="*/ 2777 h 2777"/>
                <a:gd name="T50" fmla="*/ 6459 w 6459"/>
                <a:gd name="T51" fmla="*/ 2774 h 2777"/>
                <a:gd name="T52" fmla="*/ 5815 w 6459"/>
                <a:gd name="T53" fmla="*/ 2469 h 2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459" h="2777">
                  <a:moveTo>
                    <a:pt x="5815" y="2469"/>
                  </a:moveTo>
                  <a:cubicBezTo>
                    <a:pt x="5526" y="2272"/>
                    <a:pt x="5344" y="1923"/>
                    <a:pt x="5184" y="1614"/>
                  </a:cubicBezTo>
                  <a:cubicBezTo>
                    <a:pt x="5154" y="1556"/>
                    <a:pt x="5125" y="1501"/>
                    <a:pt x="5096" y="1447"/>
                  </a:cubicBezTo>
                  <a:cubicBezTo>
                    <a:pt x="5081" y="1419"/>
                    <a:pt x="5066" y="1390"/>
                    <a:pt x="5050" y="1361"/>
                  </a:cubicBezTo>
                  <a:cubicBezTo>
                    <a:pt x="4884" y="1050"/>
                    <a:pt x="4677" y="662"/>
                    <a:pt x="4338" y="518"/>
                  </a:cubicBezTo>
                  <a:cubicBezTo>
                    <a:pt x="4013" y="379"/>
                    <a:pt x="3623" y="509"/>
                    <a:pt x="3311" y="614"/>
                  </a:cubicBezTo>
                  <a:cubicBezTo>
                    <a:pt x="3272" y="627"/>
                    <a:pt x="3272" y="627"/>
                    <a:pt x="3272" y="627"/>
                  </a:cubicBezTo>
                  <a:cubicBezTo>
                    <a:pt x="3209" y="648"/>
                    <a:pt x="3146" y="670"/>
                    <a:pt x="3080" y="694"/>
                  </a:cubicBezTo>
                  <a:cubicBezTo>
                    <a:pt x="2765" y="806"/>
                    <a:pt x="2440" y="922"/>
                    <a:pt x="2120" y="876"/>
                  </a:cubicBezTo>
                  <a:cubicBezTo>
                    <a:pt x="1876" y="841"/>
                    <a:pt x="1626" y="720"/>
                    <a:pt x="1385" y="603"/>
                  </a:cubicBezTo>
                  <a:cubicBezTo>
                    <a:pt x="1289" y="556"/>
                    <a:pt x="1198" y="512"/>
                    <a:pt x="1108" y="47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105" y="480"/>
                    <a:pt x="1105" y="480"/>
                    <a:pt x="1105" y="480"/>
                  </a:cubicBezTo>
                  <a:cubicBezTo>
                    <a:pt x="1195" y="519"/>
                    <a:pt x="1286" y="563"/>
                    <a:pt x="1382" y="610"/>
                  </a:cubicBezTo>
                  <a:cubicBezTo>
                    <a:pt x="1624" y="727"/>
                    <a:pt x="1873" y="848"/>
                    <a:pt x="2119" y="883"/>
                  </a:cubicBezTo>
                  <a:cubicBezTo>
                    <a:pt x="2441" y="930"/>
                    <a:pt x="2767" y="813"/>
                    <a:pt x="3082" y="701"/>
                  </a:cubicBezTo>
                  <a:cubicBezTo>
                    <a:pt x="3149" y="677"/>
                    <a:pt x="3212" y="655"/>
                    <a:pt x="3274" y="634"/>
                  </a:cubicBezTo>
                  <a:cubicBezTo>
                    <a:pt x="3313" y="621"/>
                    <a:pt x="3313" y="621"/>
                    <a:pt x="3313" y="621"/>
                  </a:cubicBezTo>
                  <a:cubicBezTo>
                    <a:pt x="3625" y="517"/>
                    <a:pt x="4012" y="388"/>
                    <a:pt x="4335" y="525"/>
                  </a:cubicBezTo>
                  <a:cubicBezTo>
                    <a:pt x="4672" y="668"/>
                    <a:pt x="4878" y="1054"/>
                    <a:pt x="5043" y="1365"/>
                  </a:cubicBezTo>
                  <a:cubicBezTo>
                    <a:pt x="5059" y="1394"/>
                    <a:pt x="5074" y="1423"/>
                    <a:pt x="5089" y="1451"/>
                  </a:cubicBezTo>
                  <a:cubicBezTo>
                    <a:pt x="5119" y="1505"/>
                    <a:pt x="5147" y="1560"/>
                    <a:pt x="5177" y="1618"/>
                  </a:cubicBezTo>
                  <a:cubicBezTo>
                    <a:pt x="5338" y="1927"/>
                    <a:pt x="5520" y="2277"/>
                    <a:pt x="5810" y="2475"/>
                  </a:cubicBezTo>
                  <a:cubicBezTo>
                    <a:pt x="5996" y="2602"/>
                    <a:pt x="6221" y="2692"/>
                    <a:pt x="6445" y="2777"/>
                  </a:cubicBezTo>
                  <a:cubicBezTo>
                    <a:pt x="6459" y="2774"/>
                    <a:pt x="6459" y="2774"/>
                    <a:pt x="6459" y="2774"/>
                  </a:cubicBezTo>
                  <a:cubicBezTo>
                    <a:pt x="6233" y="2688"/>
                    <a:pt x="6002" y="2597"/>
                    <a:pt x="5815" y="2469"/>
                  </a:cubicBezTo>
                  <a:close/>
                </a:path>
              </a:pathLst>
            </a:custGeom>
            <a:solidFill>
              <a:srgbClr val="C8CA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4079776" y="0"/>
            <a:ext cx="8112224" cy="6861600"/>
          </a:xfrm>
          <a:custGeom>
            <a:avLst/>
            <a:gdLst>
              <a:gd name="connsiteX0" fmla="*/ 0 w 6120000"/>
              <a:gd name="connsiteY0" fmla="*/ 6855351 h 6861600"/>
              <a:gd name="connsiteX1" fmla="*/ 6120000 w 6120000"/>
              <a:gd name="connsiteY1" fmla="*/ 6856413 h 6861600"/>
              <a:gd name="connsiteX2" fmla="*/ 6120000 w 6120000"/>
              <a:gd name="connsiteY2" fmla="*/ 6861600 h 6861600"/>
              <a:gd name="connsiteX3" fmla="*/ 0 w 6120000"/>
              <a:gd name="connsiteY3" fmla="*/ 6861600 h 6861600"/>
              <a:gd name="connsiteX4" fmla="*/ 0 w 6120000"/>
              <a:gd name="connsiteY4" fmla="*/ 0 h 6861600"/>
              <a:gd name="connsiteX5" fmla="*/ 6120000 w 6120000"/>
              <a:gd name="connsiteY5" fmla="*/ 0 h 6861600"/>
              <a:gd name="connsiteX6" fmla="*/ 6120000 w 6120000"/>
              <a:gd name="connsiteY6" fmla="*/ 6856413 h 6861600"/>
              <a:gd name="connsiteX7" fmla="*/ 30350 w 6120000"/>
              <a:gd name="connsiteY7" fmla="*/ 5778500 h 6861600"/>
              <a:gd name="connsiteX8" fmla="*/ 0 w 6120000"/>
              <a:gd name="connsiteY8" fmla="*/ 5783848 h 6861600"/>
              <a:gd name="connsiteX0" fmla="*/ 0 w 6120000"/>
              <a:gd name="connsiteY0" fmla="*/ 6855351 h 6861600"/>
              <a:gd name="connsiteX1" fmla="*/ 6120000 w 6120000"/>
              <a:gd name="connsiteY1" fmla="*/ 6856413 h 6861600"/>
              <a:gd name="connsiteX2" fmla="*/ 6120000 w 6120000"/>
              <a:gd name="connsiteY2" fmla="*/ 6861600 h 6861600"/>
              <a:gd name="connsiteX3" fmla="*/ 0 w 6120000"/>
              <a:gd name="connsiteY3" fmla="*/ 6861600 h 6861600"/>
              <a:gd name="connsiteX4" fmla="*/ 0 w 6120000"/>
              <a:gd name="connsiteY4" fmla="*/ 6855351 h 6861600"/>
              <a:gd name="connsiteX5" fmla="*/ 0 w 6120000"/>
              <a:gd name="connsiteY5" fmla="*/ 0 h 6861600"/>
              <a:gd name="connsiteX6" fmla="*/ 6120000 w 6120000"/>
              <a:gd name="connsiteY6" fmla="*/ 0 h 6861600"/>
              <a:gd name="connsiteX7" fmla="*/ 6120000 w 6120000"/>
              <a:gd name="connsiteY7" fmla="*/ 6856413 h 6861600"/>
              <a:gd name="connsiteX8" fmla="*/ 30350 w 6120000"/>
              <a:gd name="connsiteY8" fmla="*/ 5778500 h 6861600"/>
              <a:gd name="connsiteX9" fmla="*/ 0 w 6120000"/>
              <a:gd name="connsiteY9" fmla="*/ 5461580 h 6861600"/>
              <a:gd name="connsiteX10" fmla="*/ 0 w 6120000"/>
              <a:gd name="connsiteY10" fmla="*/ 0 h 6861600"/>
              <a:gd name="connsiteX0" fmla="*/ 0 w 6120000"/>
              <a:gd name="connsiteY0" fmla="*/ 6855351 h 6861600"/>
              <a:gd name="connsiteX1" fmla="*/ 6120000 w 6120000"/>
              <a:gd name="connsiteY1" fmla="*/ 6856413 h 6861600"/>
              <a:gd name="connsiteX2" fmla="*/ 6120000 w 6120000"/>
              <a:gd name="connsiteY2" fmla="*/ 6861600 h 6861600"/>
              <a:gd name="connsiteX3" fmla="*/ 0 w 6120000"/>
              <a:gd name="connsiteY3" fmla="*/ 6861600 h 6861600"/>
              <a:gd name="connsiteX4" fmla="*/ 0 w 6120000"/>
              <a:gd name="connsiteY4" fmla="*/ 6855351 h 6861600"/>
              <a:gd name="connsiteX5" fmla="*/ 0 w 6120000"/>
              <a:gd name="connsiteY5" fmla="*/ 0 h 6861600"/>
              <a:gd name="connsiteX6" fmla="*/ 6120000 w 6120000"/>
              <a:gd name="connsiteY6" fmla="*/ 0 h 6861600"/>
              <a:gd name="connsiteX7" fmla="*/ 6120000 w 6120000"/>
              <a:gd name="connsiteY7" fmla="*/ 6856413 h 6861600"/>
              <a:gd name="connsiteX8" fmla="*/ 0 w 6120000"/>
              <a:gd name="connsiteY8" fmla="*/ 5461580 h 6861600"/>
              <a:gd name="connsiteX9" fmla="*/ 0 w 6120000"/>
              <a:gd name="connsiteY9" fmla="*/ 0 h 6861600"/>
              <a:gd name="connsiteX0" fmla="*/ 0 w 6120000"/>
              <a:gd name="connsiteY0" fmla="*/ 6861600 h 6861600"/>
              <a:gd name="connsiteX1" fmla="*/ 6120000 w 6120000"/>
              <a:gd name="connsiteY1" fmla="*/ 6856413 h 6861600"/>
              <a:gd name="connsiteX2" fmla="*/ 6120000 w 6120000"/>
              <a:gd name="connsiteY2" fmla="*/ 6861600 h 6861600"/>
              <a:gd name="connsiteX3" fmla="*/ 0 w 6120000"/>
              <a:gd name="connsiteY3" fmla="*/ 6861600 h 6861600"/>
              <a:gd name="connsiteX4" fmla="*/ 0 w 6120000"/>
              <a:gd name="connsiteY4" fmla="*/ 0 h 6861600"/>
              <a:gd name="connsiteX5" fmla="*/ 6120000 w 6120000"/>
              <a:gd name="connsiteY5" fmla="*/ 0 h 6861600"/>
              <a:gd name="connsiteX6" fmla="*/ 6120000 w 6120000"/>
              <a:gd name="connsiteY6" fmla="*/ 6856413 h 6861600"/>
              <a:gd name="connsiteX7" fmla="*/ 0 w 6120000"/>
              <a:gd name="connsiteY7" fmla="*/ 5461580 h 6861600"/>
              <a:gd name="connsiteX8" fmla="*/ 0 w 6120000"/>
              <a:gd name="connsiteY8" fmla="*/ 0 h 6861600"/>
              <a:gd name="connsiteX0" fmla="*/ 6120000 w 6120000"/>
              <a:gd name="connsiteY0" fmla="*/ 6861600 h 6861600"/>
              <a:gd name="connsiteX1" fmla="*/ 6120000 w 6120000"/>
              <a:gd name="connsiteY1" fmla="*/ 6856413 h 6861600"/>
              <a:gd name="connsiteX2" fmla="*/ 6120000 w 6120000"/>
              <a:gd name="connsiteY2" fmla="*/ 6861600 h 6861600"/>
              <a:gd name="connsiteX3" fmla="*/ 0 w 6120000"/>
              <a:gd name="connsiteY3" fmla="*/ 0 h 6861600"/>
              <a:gd name="connsiteX4" fmla="*/ 6120000 w 6120000"/>
              <a:gd name="connsiteY4" fmla="*/ 0 h 6861600"/>
              <a:gd name="connsiteX5" fmla="*/ 6120000 w 6120000"/>
              <a:gd name="connsiteY5" fmla="*/ 6856413 h 6861600"/>
              <a:gd name="connsiteX6" fmla="*/ 0 w 6120000"/>
              <a:gd name="connsiteY6" fmla="*/ 5461580 h 6861600"/>
              <a:gd name="connsiteX7" fmla="*/ 0 w 6120000"/>
              <a:gd name="connsiteY7" fmla="*/ 0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120000" h="6861600">
                <a:moveTo>
                  <a:pt x="6120000" y="6861600"/>
                </a:moveTo>
                <a:lnTo>
                  <a:pt x="6120000" y="6856413"/>
                </a:lnTo>
                <a:lnTo>
                  <a:pt x="6120000" y="6861600"/>
                </a:lnTo>
                <a:close/>
                <a:moveTo>
                  <a:pt x="0" y="0"/>
                </a:moveTo>
                <a:lnTo>
                  <a:pt x="6120000" y="0"/>
                </a:lnTo>
                <a:lnTo>
                  <a:pt x="6120000" y="6856413"/>
                </a:lnTo>
                <a:lnTo>
                  <a:pt x="0" y="546158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alpha val="90000"/>
            </a:schemeClr>
          </a:solidFill>
        </p:spPr>
        <p:txBody>
          <a:bodyPr wrap="square" lIns="666000" tIns="2304000" rIns="489600" bIns="2538000" anchor="t" anchorCtr="0">
            <a:noAutofit/>
          </a:bodyPr>
          <a:lstStyle>
            <a:lvl1pPr>
              <a:lnSpc>
                <a:spcPct val="87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Præsentationstitel i maksimum to linjer</a:t>
            </a:r>
            <a:endParaRPr lang="da-DK"/>
          </a:p>
        </p:txBody>
      </p:sp>
      <p:sp>
        <p:nvSpPr>
          <p:cNvPr id="3" name="Undertitel 2"/>
          <p:cNvSpPr>
            <a:spLocks noGrp="1"/>
          </p:cNvSpPr>
          <p:nvPr>
            <p:ph type="subTitle" idx="1" hasCustomPrompt="1"/>
          </p:nvPr>
        </p:nvSpPr>
        <p:spPr>
          <a:xfrm>
            <a:off x="4077409" y="3512868"/>
            <a:ext cx="7441491" cy="498834"/>
          </a:xfrm>
        </p:spPr>
        <p:txBody>
          <a:bodyPr lIns="684000" rIns="511200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Klik, og tilføj undertitel</a:t>
            </a:r>
            <a:endParaRPr lang="da-DK"/>
          </a:p>
        </p:txBody>
      </p:sp>
      <p:sp>
        <p:nvSpPr>
          <p:cNvPr id="6" name="Indsæt TitleName"/>
          <p:cNvSpPr>
            <a:spLocks noGrp="1"/>
          </p:cNvSpPr>
          <p:nvPr>
            <p:ph type="body" sz="quarter" idx="14" hasCustomPrompt="1"/>
          </p:nvPr>
        </p:nvSpPr>
        <p:spPr>
          <a:xfrm>
            <a:off x="4079775" y="1349645"/>
            <a:ext cx="7439125" cy="360040"/>
          </a:xfrm>
        </p:spPr>
        <p:txBody>
          <a:bodyPr lIns="684000" anchor="b" anchorCtr="0"/>
          <a:lstStyle>
            <a:lvl1pPr>
              <a:lnSpc>
                <a:spcPct val="115000"/>
              </a:lnSpc>
              <a:defRPr sz="10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Indsæt titel, navn</a:t>
            </a:r>
            <a:endParaRPr lang="da-DK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445224"/>
            <a:ext cx="12192000" cy="1411191"/>
          </a:xfrm>
          <a:custGeom>
            <a:avLst/>
            <a:gdLst>
              <a:gd name="connsiteX0" fmla="*/ 3054350 w 9144000"/>
              <a:gd name="connsiteY0" fmla="*/ 0 h 1077913"/>
              <a:gd name="connsiteX1" fmla="*/ 9144000 w 9144000"/>
              <a:gd name="connsiteY1" fmla="*/ 1077913 h 1077913"/>
              <a:gd name="connsiteX2" fmla="*/ 0 w 9144000"/>
              <a:gd name="connsiteY2" fmla="*/ 1076326 h 1077913"/>
              <a:gd name="connsiteX3" fmla="*/ 0 w 9144000"/>
              <a:gd name="connsiteY3" fmla="*/ 538163 h 1077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1077913">
                <a:moveTo>
                  <a:pt x="3054350" y="0"/>
                </a:moveTo>
                <a:lnTo>
                  <a:pt x="9144000" y="1077913"/>
                </a:lnTo>
                <a:lnTo>
                  <a:pt x="0" y="1076326"/>
                </a:lnTo>
                <a:lnTo>
                  <a:pt x="0" y="53816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079776" y="4041068"/>
            <a:ext cx="8109858" cy="2823852"/>
          </a:xfrm>
          <a:custGeom>
            <a:avLst/>
            <a:gdLst>
              <a:gd name="connsiteX0" fmla="*/ 6116484 w 6118225"/>
              <a:gd name="connsiteY0" fmla="*/ 0 h 2159720"/>
              <a:gd name="connsiteX1" fmla="*/ 6118225 w 6118225"/>
              <a:gd name="connsiteY1" fmla="*/ 0 h 2159720"/>
              <a:gd name="connsiteX2" fmla="*/ 6118225 w 6118225"/>
              <a:gd name="connsiteY2" fmla="*/ 2159720 h 2159720"/>
              <a:gd name="connsiteX3" fmla="*/ 0 w 6118225"/>
              <a:gd name="connsiteY3" fmla="*/ 1078913 h 2159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18225" h="2159720">
                <a:moveTo>
                  <a:pt x="6116484" y="0"/>
                </a:moveTo>
                <a:lnTo>
                  <a:pt x="6118225" y="0"/>
                </a:lnTo>
                <a:lnTo>
                  <a:pt x="6118225" y="2159720"/>
                </a:lnTo>
                <a:lnTo>
                  <a:pt x="0" y="1078913"/>
                </a:lnTo>
                <a:close/>
              </a:path>
            </a:pathLst>
          </a:custGeom>
          <a:solidFill>
            <a:srgbClr val="EB4430"/>
          </a:solidFill>
        </p:spPr>
        <p:txBody>
          <a:bodyPr wrap="square">
            <a:noAutofit/>
          </a:bodyPr>
          <a:lstStyle>
            <a:lvl1pPr marL="0" indent="0">
              <a:buNone/>
              <a:defRPr sz="100"/>
            </a:lvl1pPr>
            <a:lvl2pPr marL="0" indent="0">
              <a:buNone/>
              <a:defRPr sz="100"/>
            </a:lvl2pPr>
            <a:lvl3pPr marL="216000" indent="0">
              <a:buNone/>
              <a:defRPr sz="100"/>
            </a:lvl3pPr>
            <a:lvl4pPr marL="432000" indent="0">
              <a:buNone/>
              <a:defRPr sz="100"/>
            </a:lvl4pPr>
            <a:lvl5pPr marL="648000" indent="0">
              <a:buNone/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122" name="Text Placeholder 3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4764088" y="345600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3499928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7" name="Pladsholder til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682624" y="2552400"/>
            <a:ext cx="5072063" cy="33038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9" name="Pladsholder til tabel 8"/>
          <p:cNvSpPr>
            <a:spLocks noGrp="1"/>
          </p:cNvSpPr>
          <p:nvPr>
            <p:ph type="tbl" sz="quarter" idx="14" hasCustomPrompt="1"/>
          </p:nvPr>
        </p:nvSpPr>
        <p:spPr>
          <a:xfrm>
            <a:off x="6437313" y="2600324"/>
            <a:ext cx="5067300" cy="3255964"/>
          </a:xfrm>
        </p:spPr>
        <p:txBody>
          <a:bodyPr/>
          <a:lstStyle>
            <a:lvl1pPr algn="ctr">
              <a:defRPr/>
            </a:lvl1pPr>
          </a:lstStyle>
          <a:p>
            <a:r>
              <a:rPr lang="da-DK" dirty="0"/>
              <a:t>Indsæt tabel</a:t>
            </a:r>
            <a:endParaRPr lang="da-DK"/>
          </a:p>
        </p:txBody>
      </p:sp>
      <p:sp>
        <p:nvSpPr>
          <p:cNvPr id="12" name="Pladsholder til tekst 11"/>
          <p:cNvSpPr>
            <a:spLocks noGrp="1"/>
          </p:cNvSpPr>
          <p:nvPr>
            <p:ph type="body" sz="quarter" idx="15" hasCustomPrompt="1"/>
          </p:nvPr>
        </p:nvSpPr>
        <p:spPr>
          <a:xfrm>
            <a:off x="6437313" y="5975575"/>
            <a:ext cx="5067300" cy="269582"/>
          </a:xfrm>
        </p:spPr>
        <p:txBody>
          <a:bodyPr/>
          <a:lstStyle>
            <a:lvl1pPr algn="r">
              <a:lnSpc>
                <a:spcPct val="110000"/>
              </a:lnSpc>
              <a:buNone/>
              <a:defRPr sz="700"/>
            </a:lvl1pPr>
            <a:lvl2pPr marL="0" indent="0" algn="r">
              <a:lnSpc>
                <a:spcPct val="110000"/>
              </a:lnSpc>
              <a:buNone/>
              <a:defRPr sz="700"/>
            </a:lvl2pPr>
            <a:lvl3pPr marL="216000" indent="0" algn="r">
              <a:lnSpc>
                <a:spcPct val="110000"/>
              </a:lnSpc>
              <a:buNone/>
              <a:defRPr sz="700"/>
            </a:lvl3pPr>
            <a:lvl4pPr marL="432000" indent="0" algn="r">
              <a:lnSpc>
                <a:spcPct val="110000"/>
              </a:lnSpc>
              <a:buNone/>
              <a:defRPr sz="700"/>
            </a:lvl4pPr>
            <a:lvl5pPr marL="648000" indent="0" algn="r">
              <a:lnSpc>
                <a:spcPct val="110000"/>
              </a:lnSpc>
              <a:buNone/>
              <a:defRPr sz="700"/>
            </a:lvl5pPr>
          </a:lstStyle>
          <a:p>
            <a:pPr lvl="0"/>
            <a:r>
              <a:rPr lang="da-DK" dirty="0"/>
              <a:t>Klik her for at tilføje kildetekst</a:t>
            </a:r>
            <a:endParaRPr lang="da-DK"/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/>
              <a:t>22. januar 2020</a:t>
            </a:r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25641649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75630" y="1324212"/>
            <a:ext cx="5079057" cy="900000"/>
          </a:xfrm>
        </p:spPr>
        <p:txBody>
          <a:bodyPr/>
          <a:lstStyle/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7" name="Pladsholder til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682624" y="2552400"/>
            <a:ext cx="5072063" cy="33038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12" name="Pladsholder til tekst 11"/>
          <p:cNvSpPr>
            <a:spLocks noGrp="1"/>
          </p:cNvSpPr>
          <p:nvPr>
            <p:ph type="body" sz="quarter" idx="15" hasCustomPrompt="1"/>
          </p:nvPr>
        </p:nvSpPr>
        <p:spPr>
          <a:xfrm>
            <a:off x="6437313" y="5975575"/>
            <a:ext cx="5067300" cy="269582"/>
          </a:xfrm>
        </p:spPr>
        <p:txBody>
          <a:bodyPr/>
          <a:lstStyle>
            <a:lvl1pPr algn="r">
              <a:lnSpc>
                <a:spcPct val="110000"/>
              </a:lnSpc>
              <a:buNone/>
              <a:defRPr sz="700"/>
            </a:lvl1pPr>
            <a:lvl2pPr marL="0" indent="0" algn="r">
              <a:lnSpc>
                <a:spcPct val="110000"/>
              </a:lnSpc>
              <a:buNone/>
              <a:defRPr sz="700"/>
            </a:lvl2pPr>
            <a:lvl3pPr marL="216000" indent="0" algn="r">
              <a:lnSpc>
                <a:spcPct val="110000"/>
              </a:lnSpc>
              <a:buNone/>
              <a:defRPr sz="700"/>
            </a:lvl3pPr>
            <a:lvl4pPr marL="432000" indent="0" algn="r">
              <a:lnSpc>
                <a:spcPct val="110000"/>
              </a:lnSpc>
              <a:buNone/>
              <a:defRPr sz="700"/>
            </a:lvl4pPr>
            <a:lvl5pPr marL="648000" indent="0" algn="r">
              <a:lnSpc>
                <a:spcPct val="110000"/>
              </a:lnSpc>
              <a:buNone/>
              <a:defRPr sz="700"/>
            </a:lvl5pPr>
          </a:lstStyle>
          <a:p>
            <a:pPr lvl="0"/>
            <a:r>
              <a:rPr lang="da-DK" dirty="0"/>
              <a:t>Klik her for at tilføje kildetekst</a:t>
            </a:r>
            <a:endParaRPr lang="da-DK"/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7" hasCustomPrompt="1"/>
          </p:nvPr>
        </p:nvSpPr>
        <p:spPr>
          <a:xfrm>
            <a:off x="6437313" y="1431925"/>
            <a:ext cx="5067300" cy="473075"/>
          </a:xfrm>
        </p:spPr>
        <p:txBody>
          <a:bodyPr anchor="b" anchorCtr="0"/>
          <a:lstStyle>
            <a:lvl1pPr>
              <a:lnSpc>
                <a:spcPct val="100000"/>
              </a:lnSpc>
              <a:defRPr sz="1200" b="1" baseline="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da-DK" dirty="0"/>
              <a:t>Klik her for at tilføje diagram titel</a:t>
            </a:r>
            <a:endParaRPr lang="da-DK"/>
          </a:p>
        </p:txBody>
      </p:sp>
      <p:sp>
        <p:nvSpPr>
          <p:cNvPr id="15" name="Pladsholder til tekst 14"/>
          <p:cNvSpPr>
            <a:spLocks noGrp="1"/>
          </p:cNvSpPr>
          <p:nvPr>
            <p:ph type="body" sz="quarter" idx="18" hasCustomPrompt="1"/>
          </p:nvPr>
        </p:nvSpPr>
        <p:spPr>
          <a:xfrm>
            <a:off x="6437313" y="1914525"/>
            <a:ext cx="5067300" cy="309687"/>
          </a:xfrm>
        </p:spPr>
        <p:txBody>
          <a:bodyPr/>
          <a:lstStyle>
            <a:lvl1pPr>
              <a:defRPr sz="1200" baseline="0"/>
            </a:lvl1pPr>
            <a:lvl2pPr marL="0" indent="0">
              <a:buNone/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a-DK" dirty="0"/>
              <a:t>Klik her for at tilføje diagram undertitel</a:t>
            </a:r>
            <a:endParaRPr lang="da-DK"/>
          </a:p>
        </p:txBody>
      </p:sp>
      <p:sp>
        <p:nvSpPr>
          <p:cNvPr id="8" name="Pladsholder til diagram 7"/>
          <p:cNvSpPr>
            <a:spLocks noGrp="1"/>
          </p:cNvSpPr>
          <p:nvPr>
            <p:ph type="chart" sz="quarter" idx="16" hasCustomPrompt="1"/>
          </p:nvPr>
        </p:nvSpPr>
        <p:spPr>
          <a:xfrm>
            <a:off x="6437313" y="2600324"/>
            <a:ext cx="5067300" cy="3255963"/>
          </a:xfrm>
        </p:spPr>
        <p:txBody>
          <a:bodyPr/>
          <a:lstStyle>
            <a:lvl1pPr algn="ctr">
              <a:defRPr/>
            </a:lvl1pPr>
          </a:lstStyle>
          <a:p>
            <a:r>
              <a:rPr lang="da-DK" dirty="0"/>
              <a:t>Indsæt graf</a:t>
            </a:r>
            <a:endParaRPr lang="da-DK"/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/>
              <a:t>22. januar 2020</a:t>
            </a:r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12495164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dirty="0"/>
              <a:t>Klik, og tilføj overskrift i maksimum to linjer</a:t>
            </a:r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/>
              <a:t>22. januar 2020</a:t>
            </a:r>
            <a:endParaRPr lang="da-DK" dirty="0"/>
          </a:p>
        </p:txBody>
      </p:sp>
      <p:sp>
        <p:nvSpPr>
          <p:cNvPr id="4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8213419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ogo, dato og sidenum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/>
              <a:t>22. januar 2020</a:t>
            </a:r>
            <a:endParaRPr lang="da-DK" dirty="0"/>
          </a:p>
        </p:txBody>
      </p:sp>
      <p:sp>
        <p:nvSpPr>
          <p:cNvPr id="3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43898907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lska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ladsholder til billede 32"/>
          <p:cNvSpPr>
            <a:spLocks noGrp="1"/>
          </p:cNvSpPr>
          <p:nvPr>
            <p:ph type="pic" sz="quarter" idx="13"/>
          </p:nvPr>
        </p:nvSpPr>
        <p:spPr>
          <a:xfrm>
            <a:off x="3049587" y="2455200"/>
            <a:ext cx="6091200" cy="3668038"/>
          </a:xfrm>
          <a:custGeom>
            <a:avLst/>
            <a:gdLst>
              <a:gd name="connsiteX0" fmla="*/ 0 w 6091200"/>
              <a:gd name="connsiteY0" fmla="*/ 0 h 3668038"/>
              <a:gd name="connsiteX1" fmla="*/ 6091200 w 6091200"/>
              <a:gd name="connsiteY1" fmla="*/ 0 h 3668038"/>
              <a:gd name="connsiteX2" fmla="*/ 6091200 w 6091200"/>
              <a:gd name="connsiteY2" fmla="*/ 3668038 h 3668038"/>
              <a:gd name="connsiteX3" fmla="*/ 3047613 w 6091200"/>
              <a:gd name="connsiteY3" fmla="*/ 3668038 h 3668038"/>
              <a:gd name="connsiteX4" fmla="*/ 3047613 w 6091200"/>
              <a:gd name="connsiteY4" fmla="*/ 2199600 h 3668038"/>
              <a:gd name="connsiteX5" fmla="*/ 0 w 6091200"/>
              <a:gd name="connsiteY5" fmla="*/ 2199600 h 3668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1200" h="3668038">
                <a:moveTo>
                  <a:pt x="0" y="0"/>
                </a:moveTo>
                <a:lnTo>
                  <a:pt x="6091200" y="0"/>
                </a:lnTo>
                <a:lnTo>
                  <a:pt x="6091200" y="3668038"/>
                </a:lnTo>
                <a:lnTo>
                  <a:pt x="3047613" y="3668038"/>
                </a:lnTo>
                <a:lnTo>
                  <a:pt x="3047613" y="2199600"/>
                </a:lnTo>
                <a:lnTo>
                  <a:pt x="0" y="21996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612000" anchor="ctr" anchorCtr="0">
            <a:noAutofit/>
          </a:bodyPr>
          <a:lstStyle>
            <a:lvl1pPr algn="ctr">
              <a:defRPr/>
            </a:lvl1pPr>
          </a:lstStyle>
          <a:p>
            <a:endParaRPr lang="da-DK" dirty="0"/>
          </a:p>
        </p:txBody>
      </p:sp>
      <p:sp>
        <p:nvSpPr>
          <p:cNvPr id="25" name="Grå kasse (1)"/>
          <p:cNvSpPr>
            <a:spLocks noChangeArrowheads="1"/>
          </p:cNvSpPr>
          <p:nvPr userDrawn="1"/>
        </p:nvSpPr>
        <p:spPr bwMode="auto">
          <a:xfrm>
            <a:off x="-1" y="1720849"/>
            <a:ext cx="3049200" cy="1468800"/>
          </a:xfrm>
          <a:prstGeom prst="rect">
            <a:avLst/>
          </a:prstGeom>
          <a:solidFill>
            <a:srgbClr val="DDDDDE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pic>
        <p:nvPicPr>
          <p:cNvPr id="28" name="Enemærke &amp; Petersen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762" y="2155827"/>
            <a:ext cx="1557675" cy="595308"/>
          </a:xfrm>
          <a:prstGeom prst="rect">
            <a:avLst/>
          </a:prstGeom>
        </p:spPr>
      </p:pic>
      <p:sp>
        <p:nvSpPr>
          <p:cNvPr id="22" name="Grøn kasse (1)"/>
          <p:cNvSpPr>
            <a:spLocks noChangeArrowheads="1"/>
          </p:cNvSpPr>
          <p:nvPr userDrawn="1"/>
        </p:nvSpPr>
        <p:spPr bwMode="auto">
          <a:xfrm>
            <a:off x="-1" y="3186113"/>
            <a:ext cx="3049200" cy="1468438"/>
          </a:xfrm>
          <a:prstGeom prst="rect">
            <a:avLst/>
          </a:prstGeom>
          <a:solidFill>
            <a:srgbClr val="009E8E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pic>
        <p:nvPicPr>
          <p:cNvPr id="27" name="ajo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807" y="3670558"/>
            <a:ext cx="1063125" cy="499548"/>
          </a:xfrm>
          <a:prstGeom prst="rect">
            <a:avLst/>
          </a:prstGeom>
        </p:spPr>
      </p:pic>
      <p:sp>
        <p:nvSpPr>
          <p:cNvPr id="18" name="Sort kasse (1)"/>
          <p:cNvSpPr>
            <a:spLocks noChangeArrowheads="1"/>
          </p:cNvSpPr>
          <p:nvPr userDrawn="1"/>
        </p:nvSpPr>
        <p:spPr bwMode="auto">
          <a:xfrm>
            <a:off x="-1" y="5387975"/>
            <a:ext cx="3049200" cy="1468438"/>
          </a:xfrm>
          <a:prstGeom prst="rect">
            <a:avLst/>
          </a:prstGeom>
          <a:solidFill>
            <a:srgbClr val="37333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pic>
        <p:nvPicPr>
          <p:cNvPr id="30" name="Lindpro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312" y="5935462"/>
            <a:ext cx="1198575" cy="373464"/>
          </a:xfrm>
          <a:prstGeom prst="rect">
            <a:avLst/>
          </a:prstGeom>
        </p:spPr>
      </p:pic>
      <p:sp>
        <p:nvSpPr>
          <p:cNvPr id="34" name="Grå kasse (2)"/>
          <p:cNvSpPr>
            <a:spLocks noChangeArrowheads="1"/>
          </p:cNvSpPr>
          <p:nvPr userDrawn="1"/>
        </p:nvSpPr>
        <p:spPr bwMode="auto">
          <a:xfrm>
            <a:off x="3049200" y="4654800"/>
            <a:ext cx="3048000" cy="1468438"/>
          </a:xfrm>
          <a:prstGeom prst="rect">
            <a:avLst/>
          </a:prstGeom>
          <a:solidFill>
            <a:srgbClr val="DDDDDE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pic>
        <p:nvPicPr>
          <p:cNvPr id="31" name="Scandiby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2638" y="5236601"/>
            <a:ext cx="1441125" cy="304836"/>
          </a:xfrm>
          <a:prstGeom prst="rect">
            <a:avLst/>
          </a:prstGeom>
        </p:spPr>
      </p:pic>
      <p:sp>
        <p:nvSpPr>
          <p:cNvPr id="20" name="Grøn kasse (3)"/>
          <p:cNvSpPr>
            <a:spLocks noChangeArrowheads="1"/>
          </p:cNvSpPr>
          <p:nvPr userDrawn="1"/>
        </p:nvSpPr>
        <p:spPr bwMode="auto">
          <a:xfrm>
            <a:off x="6094413" y="1720800"/>
            <a:ext cx="3046413" cy="1468438"/>
          </a:xfrm>
          <a:prstGeom prst="rect">
            <a:avLst/>
          </a:prstGeom>
          <a:solidFill>
            <a:srgbClr val="009E8E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dirty="0"/>
          </a:p>
        </p:txBody>
      </p:sp>
      <p:sp>
        <p:nvSpPr>
          <p:cNvPr id="40" name="Grøn kasse (3) plh"/>
          <p:cNvSpPr>
            <a:spLocks noGrp="1"/>
          </p:cNvSpPr>
          <p:nvPr>
            <p:ph type="body" sz="quarter" idx="14" hasCustomPrompt="1"/>
          </p:nvPr>
        </p:nvSpPr>
        <p:spPr>
          <a:xfrm>
            <a:off x="6093618" y="1720800"/>
            <a:ext cx="3045600" cy="1468800"/>
          </a:xfrm>
          <a:solidFill>
            <a:srgbClr val="009E8E">
              <a:alpha val="80000"/>
            </a:srgbClr>
          </a:solidFill>
        </p:spPr>
        <p:txBody>
          <a:bodyPr/>
          <a:lstStyle>
            <a:lvl1pPr>
              <a:buFontTx/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42" name="MTHøjgaard"/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6568307" y="2253681"/>
            <a:ext cx="2086489" cy="381600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23" name="Sort kasse (4)"/>
          <p:cNvSpPr>
            <a:spLocks noChangeArrowheads="1"/>
          </p:cNvSpPr>
          <p:nvPr userDrawn="1"/>
        </p:nvSpPr>
        <p:spPr bwMode="auto">
          <a:xfrm>
            <a:off x="9140400" y="3186113"/>
            <a:ext cx="3052800" cy="1468438"/>
          </a:xfrm>
          <a:prstGeom prst="rect">
            <a:avLst/>
          </a:prstGeom>
          <a:solidFill>
            <a:srgbClr val="37333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pic>
        <p:nvPicPr>
          <p:cNvPr id="29" name="Greenland Contractors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9858" y="3613792"/>
            <a:ext cx="2049085" cy="613080"/>
          </a:xfrm>
          <a:prstGeom prst="rect">
            <a:avLst/>
          </a:prstGeom>
        </p:spPr>
      </p:pic>
      <p:sp>
        <p:nvSpPr>
          <p:cNvPr id="24" name="Grøn kasse (4)"/>
          <p:cNvSpPr>
            <a:spLocks noChangeArrowheads="1"/>
          </p:cNvSpPr>
          <p:nvPr userDrawn="1"/>
        </p:nvSpPr>
        <p:spPr bwMode="auto">
          <a:xfrm>
            <a:off x="9140400" y="5387975"/>
            <a:ext cx="3052800" cy="1468438"/>
          </a:xfrm>
          <a:prstGeom prst="rect">
            <a:avLst/>
          </a:prstGeom>
          <a:solidFill>
            <a:srgbClr val="009A8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dirty="0"/>
          </a:p>
        </p:txBody>
      </p:sp>
      <p:pic>
        <p:nvPicPr>
          <p:cNvPr id="32" name="Seth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25" y="5880400"/>
            <a:ext cx="1360800" cy="483588"/>
          </a:xfrm>
          <a:prstGeom prst="rect">
            <a:avLst/>
          </a:prstGeom>
        </p:spPr>
      </p:pic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/>
              <a:t>22. januar 2020</a:t>
            </a:r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174255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5"/>
          <p:cNvSpPr>
            <a:spLocks/>
          </p:cNvSpPr>
          <p:nvPr userDrawn="1"/>
        </p:nvSpPr>
        <p:spPr bwMode="auto">
          <a:xfrm>
            <a:off x="8112224" y="6314401"/>
            <a:ext cx="4079776" cy="542565"/>
          </a:xfrm>
          <a:custGeom>
            <a:avLst/>
            <a:gdLst>
              <a:gd name="T0" fmla="*/ 5758 w 5758"/>
              <a:gd name="T1" fmla="*/ 0 h 1021"/>
              <a:gd name="T2" fmla="*/ 5757 w 5758"/>
              <a:gd name="T3" fmla="*/ 0 h 1021"/>
              <a:gd name="T4" fmla="*/ 0 w 5758"/>
              <a:gd name="T5" fmla="*/ 1019 h 1021"/>
              <a:gd name="T6" fmla="*/ 5758 w 5758"/>
              <a:gd name="T7" fmla="*/ 1021 h 1021"/>
              <a:gd name="T8" fmla="*/ 5758 w 5758"/>
              <a:gd name="T9" fmla="*/ 0 h 10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58" h="1021">
                <a:moveTo>
                  <a:pt x="5758" y="0"/>
                </a:moveTo>
                <a:lnTo>
                  <a:pt x="5757" y="0"/>
                </a:lnTo>
                <a:lnTo>
                  <a:pt x="0" y="1019"/>
                </a:lnTo>
                <a:lnTo>
                  <a:pt x="5758" y="1021"/>
                </a:lnTo>
                <a:lnTo>
                  <a:pt x="5758" y="0"/>
                </a:lnTo>
                <a:close/>
              </a:path>
            </a:pathLst>
          </a:custGeom>
          <a:solidFill>
            <a:srgbClr val="F5F5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sz="180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72002" y="1285200"/>
            <a:ext cx="8781561" cy="954000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672001" y="2565400"/>
            <a:ext cx="8781562" cy="3240088"/>
          </a:xfrm>
        </p:spPr>
        <p:txBody>
          <a:bodyPr rIns="0"/>
          <a:lstStyle/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styles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8" name="Pladsholder til diasnumm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a-DK"/>
              <a:t>29. august 2019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7806135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/ figur, 2 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672003" y="1285404"/>
            <a:ext cx="10832672" cy="955464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 hasCustomPrompt="1"/>
          </p:nvPr>
        </p:nvSpPr>
        <p:spPr>
          <a:xfrm>
            <a:off x="672003" y="2565400"/>
            <a:ext cx="5087448" cy="3240088"/>
          </a:xfr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styles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 hasCustomPrompt="1"/>
          </p:nvPr>
        </p:nvSpPr>
        <p:spPr>
          <a:xfrm>
            <a:off x="6432551" y="2565400"/>
            <a:ext cx="5086351" cy="3240088"/>
          </a:xfr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styles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6435724" y="5877272"/>
            <a:ext cx="5083175" cy="396044"/>
          </a:xfrm>
        </p:spPr>
        <p:txBody>
          <a:bodyPr/>
          <a:lstStyle>
            <a:lvl1pPr>
              <a:buNone/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</a:lstStyle>
          <a:p>
            <a:pPr lvl="0"/>
            <a:r>
              <a:rPr lang="da-DK" dirty="0"/>
              <a:t>Indsæt eventuelt note til graf / tabel</a:t>
            </a:r>
            <a:endParaRPr lang="da-DK"/>
          </a:p>
        </p:txBody>
      </p:sp>
      <p:sp>
        <p:nvSpPr>
          <p:cNvPr id="8" name="Pladsholder til diasnumm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6" name="Date_DateCustomA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a-DK"/>
              <a:t>29. august 2019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0480658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+ billede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rey"/>
          <p:cNvSpPr>
            <a:spLocks/>
          </p:cNvSpPr>
          <p:nvPr userDrawn="1"/>
        </p:nvSpPr>
        <p:spPr bwMode="auto">
          <a:xfrm>
            <a:off x="670984" y="5805488"/>
            <a:ext cx="11521016" cy="1057228"/>
          </a:xfrm>
          <a:custGeom>
            <a:avLst/>
            <a:gdLst>
              <a:gd name="T0" fmla="*/ 0 w 5443"/>
              <a:gd name="T1" fmla="*/ 481 h 481"/>
              <a:gd name="T2" fmla="*/ 5443 w 5443"/>
              <a:gd name="T3" fmla="*/ 481 h 481"/>
              <a:gd name="T4" fmla="*/ 2721 w 5443"/>
              <a:gd name="T5" fmla="*/ 0 h 481"/>
              <a:gd name="T6" fmla="*/ 0 w 5443"/>
              <a:gd name="T7" fmla="*/ 481 h 4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443" h="481">
                <a:moveTo>
                  <a:pt x="0" y="481"/>
                </a:moveTo>
                <a:lnTo>
                  <a:pt x="5443" y="481"/>
                </a:lnTo>
                <a:lnTo>
                  <a:pt x="2721" y="0"/>
                </a:lnTo>
                <a:lnTo>
                  <a:pt x="0" y="48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sz="1800" dirty="0"/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672002" y="1285200"/>
            <a:ext cx="5087449" cy="954000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7"/>
          </p:nvPr>
        </p:nvSpPr>
        <p:spPr>
          <a:xfrm>
            <a:off x="672000" y="2565400"/>
            <a:ext cx="5087451" cy="3240088"/>
          </a:xfrm>
        </p:spPr>
        <p:txBody>
          <a:bodyPr/>
          <a:lstStyle/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styles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40" name="Picture"/>
          <p:cNvSpPr>
            <a:spLocks noGrp="1"/>
          </p:cNvSpPr>
          <p:nvPr>
            <p:ph type="pic" sz="quarter" idx="14" hasCustomPrompt="1"/>
          </p:nvPr>
        </p:nvSpPr>
        <p:spPr>
          <a:xfrm>
            <a:off x="6434722" y="728700"/>
            <a:ext cx="5759941" cy="6135910"/>
          </a:xfrm>
          <a:custGeom>
            <a:avLst/>
            <a:gdLst>
              <a:gd name="connsiteX0" fmla="*/ 4314189 w 4320925"/>
              <a:gd name="connsiteY0" fmla="*/ 0 h 5569200"/>
              <a:gd name="connsiteX1" fmla="*/ 4320925 w 4320925"/>
              <a:gd name="connsiteY1" fmla="*/ 0 h 5569200"/>
              <a:gd name="connsiteX2" fmla="*/ 4320925 w 4320925"/>
              <a:gd name="connsiteY2" fmla="*/ 5569200 h 5569200"/>
              <a:gd name="connsiteX3" fmla="*/ 4298957 w 4320925"/>
              <a:gd name="connsiteY3" fmla="*/ 5569200 h 5569200"/>
              <a:gd name="connsiteX4" fmla="*/ 4319335 w 4320925"/>
              <a:gd name="connsiteY4" fmla="*/ 5565601 h 5569200"/>
              <a:gd name="connsiteX5" fmla="*/ 0 w 4320925"/>
              <a:gd name="connsiteY5" fmla="*/ 4802767 h 5569200"/>
              <a:gd name="connsiteX6" fmla="*/ 0 w 4320925"/>
              <a:gd name="connsiteY6" fmla="*/ 761434 h 5569200"/>
              <a:gd name="connsiteX0" fmla="*/ 4314189 w 4320925"/>
              <a:gd name="connsiteY0" fmla="*/ 0 h 5569200"/>
              <a:gd name="connsiteX1" fmla="*/ 4320925 w 4320925"/>
              <a:gd name="connsiteY1" fmla="*/ 0 h 5569200"/>
              <a:gd name="connsiteX2" fmla="*/ 4320925 w 4320925"/>
              <a:gd name="connsiteY2" fmla="*/ 5569200 h 5569200"/>
              <a:gd name="connsiteX3" fmla="*/ 4298957 w 4320925"/>
              <a:gd name="connsiteY3" fmla="*/ 5569200 h 5569200"/>
              <a:gd name="connsiteX4" fmla="*/ 4319335 w 4320925"/>
              <a:gd name="connsiteY4" fmla="*/ 5565601 h 5569200"/>
              <a:gd name="connsiteX5" fmla="*/ 8363 w 4320925"/>
              <a:gd name="connsiteY5" fmla="*/ 4610254 h 5569200"/>
              <a:gd name="connsiteX6" fmla="*/ 0 w 4320925"/>
              <a:gd name="connsiteY6" fmla="*/ 761434 h 5569200"/>
              <a:gd name="connsiteX7" fmla="*/ 4314189 w 4320925"/>
              <a:gd name="connsiteY7" fmla="*/ 0 h 5569200"/>
              <a:gd name="connsiteX0" fmla="*/ 4306631 w 4313367"/>
              <a:gd name="connsiteY0" fmla="*/ 0 h 5569200"/>
              <a:gd name="connsiteX1" fmla="*/ 4313367 w 4313367"/>
              <a:gd name="connsiteY1" fmla="*/ 0 h 5569200"/>
              <a:gd name="connsiteX2" fmla="*/ 4313367 w 4313367"/>
              <a:gd name="connsiteY2" fmla="*/ 5569200 h 5569200"/>
              <a:gd name="connsiteX3" fmla="*/ 4291399 w 4313367"/>
              <a:gd name="connsiteY3" fmla="*/ 5569200 h 5569200"/>
              <a:gd name="connsiteX4" fmla="*/ 4311777 w 4313367"/>
              <a:gd name="connsiteY4" fmla="*/ 5565601 h 5569200"/>
              <a:gd name="connsiteX5" fmla="*/ 805 w 4313367"/>
              <a:gd name="connsiteY5" fmla="*/ 4610254 h 5569200"/>
              <a:gd name="connsiteX6" fmla="*/ 805 w 4313367"/>
              <a:gd name="connsiteY6" fmla="*/ 913417 h 5569200"/>
              <a:gd name="connsiteX7" fmla="*/ 4306631 w 4313367"/>
              <a:gd name="connsiteY7" fmla="*/ 0 h 5569200"/>
              <a:gd name="connsiteX0" fmla="*/ 4313321 w 4320057"/>
              <a:gd name="connsiteY0" fmla="*/ 0 h 5569200"/>
              <a:gd name="connsiteX1" fmla="*/ 4320057 w 4320057"/>
              <a:gd name="connsiteY1" fmla="*/ 0 h 5569200"/>
              <a:gd name="connsiteX2" fmla="*/ 4320057 w 4320057"/>
              <a:gd name="connsiteY2" fmla="*/ 5569200 h 5569200"/>
              <a:gd name="connsiteX3" fmla="*/ 4298089 w 4320057"/>
              <a:gd name="connsiteY3" fmla="*/ 5569200 h 5569200"/>
              <a:gd name="connsiteX4" fmla="*/ 4318467 w 4320057"/>
              <a:gd name="connsiteY4" fmla="*/ 5565601 h 5569200"/>
              <a:gd name="connsiteX5" fmla="*/ 7495 w 4320057"/>
              <a:gd name="connsiteY5" fmla="*/ 4610254 h 5569200"/>
              <a:gd name="connsiteX6" fmla="*/ 0 w 4320057"/>
              <a:gd name="connsiteY6" fmla="*/ 913417 h 5569200"/>
              <a:gd name="connsiteX7" fmla="*/ 4313321 w 4320057"/>
              <a:gd name="connsiteY7" fmla="*/ 0 h 5569200"/>
              <a:gd name="connsiteX0" fmla="*/ 4313321 w 4320057"/>
              <a:gd name="connsiteY0" fmla="*/ 0 h 5569200"/>
              <a:gd name="connsiteX1" fmla="*/ 4320057 w 4320057"/>
              <a:gd name="connsiteY1" fmla="*/ 0 h 5569200"/>
              <a:gd name="connsiteX2" fmla="*/ 4320057 w 4320057"/>
              <a:gd name="connsiteY2" fmla="*/ 5569200 h 5569200"/>
              <a:gd name="connsiteX3" fmla="*/ 4298089 w 4320057"/>
              <a:gd name="connsiteY3" fmla="*/ 5569200 h 5569200"/>
              <a:gd name="connsiteX4" fmla="*/ 4318467 w 4320057"/>
              <a:gd name="connsiteY4" fmla="*/ 5565601 h 5569200"/>
              <a:gd name="connsiteX5" fmla="*/ 7495 w 4320057"/>
              <a:gd name="connsiteY5" fmla="*/ 4610254 h 5569200"/>
              <a:gd name="connsiteX6" fmla="*/ 0 w 4320057"/>
              <a:gd name="connsiteY6" fmla="*/ 917957 h 5569200"/>
              <a:gd name="connsiteX7" fmla="*/ 4313321 w 4320057"/>
              <a:gd name="connsiteY7" fmla="*/ 0 h 5569200"/>
              <a:gd name="connsiteX0" fmla="*/ 4313321 w 4320057"/>
              <a:gd name="connsiteY0" fmla="*/ 0 h 5569200"/>
              <a:gd name="connsiteX1" fmla="*/ 4320057 w 4320057"/>
              <a:gd name="connsiteY1" fmla="*/ 0 h 5569200"/>
              <a:gd name="connsiteX2" fmla="*/ 4320057 w 4320057"/>
              <a:gd name="connsiteY2" fmla="*/ 5569200 h 5569200"/>
              <a:gd name="connsiteX3" fmla="*/ 4298089 w 4320057"/>
              <a:gd name="connsiteY3" fmla="*/ 5569200 h 5569200"/>
              <a:gd name="connsiteX4" fmla="*/ 4318467 w 4320057"/>
              <a:gd name="connsiteY4" fmla="*/ 5565601 h 5569200"/>
              <a:gd name="connsiteX5" fmla="*/ 1874 w 4320057"/>
              <a:gd name="connsiteY5" fmla="*/ 4603444 h 5569200"/>
              <a:gd name="connsiteX6" fmla="*/ 0 w 4320057"/>
              <a:gd name="connsiteY6" fmla="*/ 917957 h 5569200"/>
              <a:gd name="connsiteX7" fmla="*/ 4313321 w 4320057"/>
              <a:gd name="connsiteY7" fmla="*/ 0 h 5569200"/>
              <a:gd name="connsiteX0" fmla="*/ 4313321 w 4320057"/>
              <a:gd name="connsiteY0" fmla="*/ 0 h 5569200"/>
              <a:gd name="connsiteX1" fmla="*/ 4320057 w 4320057"/>
              <a:gd name="connsiteY1" fmla="*/ 0 h 5569200"/>
              <a:gd name="connsiteX2" fmla="*/ 4320057 w 4320057"/>
              <a:gd name="connsiteY2" fmla="*/ 5569200 h 5569200"/>
              <a:gd name="connsiteX3" fmla="*/ 4298089 w 4320057"/>
              <a:gd name="connsiteY3" fmla="*/ 5569200 h 5569200"/>
              <a:gd name="connsiteX4" fmla="*/ 4318467 w 4320057"/>
              <a:gd name="connsiteY4" fmla="*/ 5565601 h 5569200"/>
              <a:gd name="connsiteX5" fmla="*/ 1874 w 4320057"/>
              <a:gd name="connsiteY5" fmla="*/ 4605715 h 5569200"/>
              <a:gd name="connsiteX6" fmla="*/ 0 w 4320057"/>
              <a:gd name="connsiteY6" fmla="*/ 917957 h 5569200"/>
              <a:gd name="connsiteX7" fmla="*/ 4313321 w 4320057"/>
              <a:gd name="connsiteY7" fmla="*/ 0 h 5569200"/>
              <a:gd name="connsiteX0" fmla="*/ 4313321 w 4320057"/>
              <a:gd name="connsiteY0" fmla="*/ 0 h 5580051"/>
              <a:gd name="connsiteX1" fmla="*/ 4320057 w 4320057"/>
              <a:gd name="connsiteY1" fmla="*/ 0 h 5580051"/>
              <a:gd name="connsiteX2" fmla="*/ 4320057 w 4320057"/>
              <a:gd name="connsiteY2" fmla="*/ 5569200 h 5580051"/>
              <a:gd name="connsiteX3" fmla="*/ 4298089 w 4320057"/>
              <a:gd name="connsiteY3" fmla="*/ 5569200 h 5580051"/>
              <a:gd name="connsiteX4" fmla="*/ 4318467 w 4320057"/>
              <a:gd name="connsiteY4" fmla="*/ 5580051 h 5580051"/>
              <a:gd name="connsiteX5" fmla="*/ 1874 w 4320057"/>
              <a:gd name="connsiteY5" fmla="*/ 4605715 h 5580051"/>
              <a:gd name="connsiteX6" fmla="*/ 0 w 4320057"/>
              <a:gd name="connsiteY6" fmla="*/ 917957 h 5580051"/>
              <a:gd name="connsiteX7" fmla="*/ 4313321 w 4320057"/>
              <a:gd name="connsiteY7" fmla="*/ 0 h 5580051"/>
              <a:gd name="connsiteX0" fmla="*/ 4313321 w 4320057"/>
              <a:gd name="connsiteY0" fmla="*/ 0 h 5580051"/>
              <a:gd name="connsiteX1" fmla="*/ 4320057 w 4320057"/>
              <a:gd name="connsiteY1" fmla="*/ 0 h 5580051"/>
              <a:gd name="connsiteX2" fmla="*/ 4320057 w 4320057"/>
              <a:gd name="connsiteY2" fmla="*/ 5569200 h 5580051"/>
              <a:gd name="connsiteX3" fmla="*/ 4298089 w 4320057"/>
              <a:gd name="connsiteY3" fmla="*/ 5559511 h 5580051"/>
              <a:gd name="connsiteX4" fmla="*/ 4318467 w 4320057"/>
              <a:gd name="connsiteY4" fmla="*/ 5580051 h 5580051"/>
              <a:gd name="connsiteX5" fmla="*/ 1874 w 4320057"/>
              <a:gd name="connsiteY5" fmla="*/ 4605715 h 5580051"/>
              <a:gd name="connsiteX6" fmla="*/ 0 w 4320057"/>
              <a:gd name="connsiteY6" fmla="*/ 917957 h 5580051"/>
              <a:gd name="connsiteX7" fmla="*/ 4313321 w 4320057"/>
              <a:gd name="connsiteY7" fmla="*/ 0 h 5580051"/>
              <a:gd name="connsiteX0" fmla="*/ 4313321 w 4320057"/>
              <a:gd name="connsiteY0" fmla="*/ 0 h 5678204"/>
              <a:gd name="connsiteX1" fmla="*/ 4320057 w 4320057"/>
              <a:gd name="connsiteY1" fmla="*/ 0 h 5678204"/>
              <a:gd name="connsiteX2" fmla="*/ 4320057 w 4320057"/>
              <a:gd name="connsiteY2" fmla="*/ 5569200 h 5678204"/>
              <a:gd name="connsiteX3" fmla="*/ 4298089 w 4320057"/>
              <a:gd name="connsiteY3" fmla="*/ 5678204 h 5678204"/>
              <a:gd name="connsiteX4" fmla="*/ 4318467 w 4320057"/>
              <a:gd name="connsiteY4" fmla="*/ 5580051 h 5678204"/>
              <a:gd name="connsiteX5" fmla="*/ 1874 w 4320057"/>
              <a:gd name="connsiteY5" fmla="*/ 4605715 h 5678204"/>
              <a:gd name="connsiteX6" fmla="*/ 0 w 4320057"/>
              <a:gd name="connsiteY6" fmla="*/ 917957 h 5678204"/>
              <a:gd name="connsiteX7" fmla="*/ 4313321 w 4320057"/>
              <a:gd name="connsiteY7" fmla="*/ 0 h 5678204"/>
              <a:gd name="connsiteX0" fmla="*/ 4313321 w 4320057"/>
              <a:gd name="connsiteY0" fmla="*/ 0 h 5580051"/>
              <a:gd name="connsiteX1" fmla="*/ 4320057 w 4320057"/>
              <a:gd name="connsiteY1" fmla="*/ 0 h 5580051"/>
              <a:gd name="connsiteX2" fmla="*/ 4320057 w 4320057"/>
              <a:gd name="connsiteY2" fmla="*/ 5569200 h 5580051"/>
              <a:gd name="connsiteX3" fmla="*/ 4318467 w 4320057"/>
              <a:gd name="connsiteY3" fmla="*/ 5580051 h 5580051"/>
              <a:gd name="connsiteX4" fmla="*/ 1874 w 4320057"/>
              <a:gd name="connsiteY4" fmla="*/ 4605715 h 5580051"/>
              <a:gd name="connsiteX5" fmla="*/ 0 w 4320057"/>
              <a:gd name="connsiteY5" fmla="*/ 917957 h 5580051"/>
              <a:gd name="connsiteX6" fmla="*/ 4313321 w 4320057"/>
              <a:gd name="connsiteY6" fmla="*/ 0 h 5580051"/>
              <a:gd name="connsiteX0" fmla="*/ 4313321 w 4320464"/>
              <a:gd name="connsiteY0" fmla="*/ 0 h 5575206"/>
              <a:gd name="connsiteX1" fmla="*/ 4320057 w 4320464"/>
              <a:gd name="connsiteY1" fmla="*/ 0 h 5575206"/>
              <a:gd name="connsiteX2" fmla="*/ 4320057 w 4320464"/>
              <a:gd name="connsiteY2" fmla="*/ 5569200 h 5575206"/>
              <a:gd name="connsiteX3" fmla="*/ 4320464 w 4320464"/>
              <a:gd name="connsiteY3" fmla="*/ 5575206 h 5575206"/>
              <a:gd name="connsiteX4" fmla="*/ 1874 w 4320464"/>
              <a:gd name="connsiteY4" fmla="*/ 4605715 h 5575206"/>
              <a:gd name="connsiteX5" fmla="*/ 0 w 4320464"/>
              <a:gd name="connsiteY5" fmla="*/ 917957 h 5575206"/>
              <a:gd name="connsiteX6" fmla="*/ 4313321 w 4320464"/>
              <a:gd name="connsiteY6" fmla="*/ 0 h 5575206"/>
              <a:gd name="connsiteX0" fmla="*/ 4313321 w 4320464"/>
              <a:gd name="connsiteY0" fmla="*/ 0 h 5575206"/>
              <a:gd name="connsiteX1" fmla="*/ 4320057 w 4320464"/>
              <a:gd name="connsiteY1" fmla="*/ 0 h 5575206"/>
              <a:gd name="connsiteX2" fmla="*/ 4320057 w 4320464"/>
              <a:gd name="connsiteY2" fmla="*/ 5569200 h 5575206"/>
              <a:gd name="connsiteX3" fmla="*/ 4320464 w 4320464"/>
              <a:gd name="connsiteY3" fmla="*/ 5575206 h 5575206"/>
              <a:gd name="connsiteX4" fmla="*/ 3689 w 4320464"/>
              <a:gd name="connsiteY4" fmla="*/ 4610112 h 5575206"/>
              <a:gd name="connsiteX5" fmla="*/ 0 w 4320464"/>
              <a:gd name="connsiteY5" fmla="*/ 917957 h 5575206"/>
              <a:gd name="connsiteX6" fmla="*/ 4313321 w 4320464"/>
              <a:gd name="connsiteY6" fmla="*/ 0 h 5575206"/>
              <a:gd name="connsiteX0" fmla="*/ 4313321 w 4320464"/>
              <a:gd name="connsiteY0" fmla="*/ 0 h 5575206"/>
              <a:gd name="connsiteX1" fmla="*/ 4320057 w 4320464"/>
              <a:gd name="connsiteY1" fmla="*/ 0 h 5575206"/>
              <a:gd name="connsiteX2" fmla="*/ 4320057 w 4320464"/>
              <a:gd name="connsiteY2" fmla="*/ 5569200 h 5575206"/>
              <a:gd name="connsiteX3" fmla="*/ 4320464 w 4320464"/>
              <a:gd name="connsiteY3" fmla="*/ 5575206 h 5575206"/>
              <a:gd name="connsiteX4" fmla="*/ 1874 w 4320464"/>
              <a:gd name="connsiteY4" fmla="*/ 4610112 h 5575206"/>
              <a:gd name="connsiteX5" fmla="*/ 0 w 4320464"/>
              <a:gd name="connsiteY5" fmla="*/ 917957 h 5575206"/>
              <a:gd name="connsiteX6" fmla="*/ 4313321 w 4320464"/>
              <a:gd name="connsiteY6" fmla="*/ 0 h 5575206"/>
              <a:gd name="connsiteX0" fmla="*/ 4313321 w 4320464"/>
              <a:gd name="connsiteY0" fmla="*/ 0 h 5575206"/>
              <a:gd name="connsiteX1" fmla="*/ 4320057 w 4320464"/>
              <a:gd name="connsiteY1" fmla="*/ 0 h 5575206"/>
              <a:gd name="connsiteX2" fmla="*/ 4320057 w 4320464"/>
              <a:gd name="connsiteY2" fmla="*/ 5569200 h 5575206"/>
              <a:gd name="connsiteX3" fmla="*/ 4320464 w 4320464"/>
              <a:gd name="connsiteY3" fmla="*/ 5575206 h 5575206"/>
              <a:gd name="connsiteX4" fmla="*/ 1874 w 4320464"/>
              <a:gd name="connsiteY4" fmla="*/ 4616706 h 5575206"/>
              <a:gd name="connsiteX5" fmla="*/ 0 w 4320464"/>
              <a:gd name="connsiteY5" fmla="*/ 917957 h 5575206"/>
              <a:gd name="connsiteX6" fmla="*/ 4313321 w 4320464"/>
              <a:gd name="connsiteY6" fmla="*/ 0 h 5575206"/>
              <a:gd name="connsiteX0" fmla="*/ 4314073 w 4321216"/>
              <a:gd name="connsiteY0" fmla="*/ 0 h 5575206"/>
              <a:gd name="connsiteX1" fmla="*/ 4320809 w 4321216"/>
              <a:gd name="connsiteY1" fmla="*/ 0 h 5575206"/>
              <a:gd name="connsiteX2" fmla="*/ 4320809 w 4321216"/>
              <a:gd name="connsiteY2" fmla="*/ 5569200 h 5575206"/>
              <a:gd name="connsiteX3" fmla="*/ 4321216 w 4321216"/>
              <a:gd name="connsiteY3" fmla="*/ 5575206 h 5575206"/>
              <a:gd name="connsiteX4" fmla="*/ 811 w 4321216"/>
              <a:gd name="connsiteY4" fmla="*/ 4612310 h 5575206"/>
              <a:gd name="connsiteX5" fmla="*/ 752 w 4321216"/>
              <a:gd name="connsiteY5" fmla="*/ 917957 h 5575206"/>
              <a:gd name="connsiteX6" fmla="*/ 4314073 w 4321216"/>
              <a:gd name="connsiteY6" fmla="*/ 0 h 5575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21216" h="5575206">
                <a:moveTo>
                  <a:pt x="4314073" y="0"/>
                </a:moveTo>
                <a:lnTo>
                  <a:pt x="4320809" y="0"/>
                </a:lnTo>
                <a:lnTo>
                  <a:pt x="4320809" y="5569200"/>
                </a:lnTo>
                <a:cubicBezTo>
                  <a:pt x="4320945" y="5571202"/>
                  <a:pt x="4321080" y="5573204"/>
                  <a:pt x="4321216" y="5575206"/>
                </a:cubicBezTo>
                <a:lnTo>
                  <a:pt x="811" y="4612310"/>
                </a:lnTo>
                <a:cubicBezTo>
                  <a:pt x="-1977" y="3329370"/>
                  <a:pt x="3540" y="2200897"/>
                  <a:pt x="752" y="917957"/>
                </a:cubicBezTo>
                <a:lnTo>
                  <a:pt x="4314073" y="0"/>
                </a:lnTo>
                <a:close/>
              </a:path>
            </a:pathLst>
          </a:custGeom>
          <a:solidFill>
            <a:schemeClr val="bg2">
              <a:alpha val="54000"/>
            </a:schemeClr>
          </a:solidFill>
        </p:spPr>
        <p:txBody>
          <a:bodyPr wrap="square" tIns="0" bIns="9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da-DK" dirty="0"/>
              <a:t>Vælg billedpladsholderen </a:t>
            </a:r>
            <a:br>
              <a:rPr lang="da-DK" dirty="0"/>
            </a:br>
            <a:r>
              <a:rPr lang="da-DK" dirty="0"/>
              <a:t>og indsæt billede via </a:t>
            </a:r>
            <a:br>
              <a:rPr lang="da-DK" dirty="0"/>
            </a:b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41" name="Blue"/>
          <p:cNvSpPr>
            <a:spLocks noGrp="1"/>
          </p:cNvSpPr>
          <p:nvPr>
            <p:ph type="body" sz="quarter" idx="20" hasCustomPrompt="1"/>
          </p:nvPr>
        </p:nvSpPr>
        <p:spPr>
          <a:xfrm>
            <a:off x="6428035" y="4749243"/>
            <a:ext cx="5761565" cy="2113473"/>
          </a:xfrm>
          <a:custGeom>
            <a:avLst/>
            <a:gdLst>
              <a:gd name="connsiteX0" fmla="*/ 4321174 w 4321174"/>
              <a:gd name="connsiteY0" fmla="*/ 0 h 1526318"/>
              <a:gd name="connsiteX1" fmla="*/ 4321174 w 4321174"/>
              <a:gd name="connsiteY1" fmla="*/ 1526318 h 1526318"/>
              <a:gd name="connsiteX2" fmla="*/ 0 w 4321174"/>
              <a:gd name="connsiteY2" fmla="*/ 763159 h 1526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21174" h="1526318">
                <a:moveTo>
                  <a:pt x="4321174" y="0"/>
                </a:moveTo>
                <a:lnTo>
                  <a:pt x="4321174" y="1526318"/>
                </a:lnTo>
                <a:lnTo>
                  <a:pt x="0" y="763159"/>
                </a:lnTo>
                <a:close/>
              </a:path>
            </a:pathLst>
          </a:custGeom>
          <a:solidFill>
            <a:schemeClr val="accent1">
              <a:alpha val="9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pic>
        <p:nvPicPr>
          <p:cNvPr id="11" name="Logo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749" y="346665"/>
            <a:ext cx="1404000" cy="256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29918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+ billede (A)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rey"/>
          <p:cNvSpPr>
            <a:spLocks/>
          </p:cNvSpPr>
          <p:nvPr userDrawn="1"/>
        </p:nvSpPr>
        <p:spPr bwMode="auto">
          <a:xfrm>
            <a:off x="670984" y="5805488"/>
            <a:ext cx="11521016" cy="1057228"/>
          </a:xfrm>
          <a:custGeom>
            <a:avLst/>
            <a:gdLst>
              <a:gd name="T0" fmla="*/ 0 w 5443"/>
              <a:gd name="T1" fmla="*/ 481 h 481"/>
              <a:gd name="T2" fmla="*/ 5443 w 5443"/>
              <a:gd name="T3" fmla="*/ 481 h 481"/>
              <a:gd name="T4" fmla="*/ 2721 w 5443"/>
              <a:gd name="T5" fmla="*/ 0 h 481"/>
              <a:gd name="T6" fmla="*/ 0 w 5443"/>
              <a:gd name="T7" fmla="*/ 481 h 4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443" h="481">
                <a:moveTo>
                  <a:pt x="0" y="481"/>
                </a:moveTo>
                <a:lnTo>
                  <a:pt x="5443" y="481"/>
                </a:lnTo>
                <a:lnTo>
                  <a:pt x="2721" y="0"/>
                </a:lnTo>
                <a:lnTo>
                  <a:pt x="0" y="48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sz="1800" dirty="0"/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672002" y="1285200"/>
            <a:ext cx="5087449" cy="954000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7"/>
          </p:nvPr>
        </p:nvSpPr>
        <p:spPr>
          <a:xfrm>
            <a:off x="672000" y="2565400"/>
            <a:ext cx="5087451" cy="3240088"/>
          </a:xfrm>
        </p:spPr>
        <p:txBody>
          <a:bodyPr/>
          <a:lstStyle/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styles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40" name="Picture"/>
          <p:cNvSpPr>
            <a:spLocks noGrp="1"/>
          </p:cNvSpPr>
          <p:nvPr>
            <p:ph type="pic" sz="quarter" idx="14" hasCustomPrompt="1"/>
          </p:nvPr>
        </p:nvSpPr>
        <p:spPr>
          <a:xfrm>
            <a:off x="6434722" y="728700"/>
            <a:ext cx="5759941" cy="6135910"/>
          </a:xfrm>
          <a:custGeom>
            <a:avLst/>
            <a:gdLst>
              <a:gd name="connsiteX0" fmla="*/ 4314189 w 4320925"/>
              <a:gd name="connsiteY0" fmla="*/ 0 h 5569200"/>
              <a:gd name="connsiteX1" fmla="*/ 4320925 w 4320925"/>
              <a:gd name="connsiteY1" fmla="*/ 0 h 5569200"/>
              <a:gd name="connsiteX2" fmla="*/ 4320925 w 4320925"/>
              <a:gd name="connsiteY2" fmla="*/ 5569200 h 5569200"/>
              <a:gd name="connsiteX3" fmla="*/ 4298957 w 4320925"/>
              <a:gd name="connsiteY3" fmla="*/ 5569200 h 5569200"/>
              <a:gd name="connsiteX4" fmla="*/ 4319335 w 4320925"/>
              <a:gd name="connsiteY4" fmla="*/ 5565601 h 5569200"/>
              <a:gd name="connsiteX5" fmla="*/ 0 w 4320925"/>
              <a:gd name="connsiteY5" fmla="*/ 4802767 h 5569200"/>
              <a:gd name="connsiteX6" fmla="*/ 0 w 4320925"/>
              <a:gd name="connsiteY6" fmla="*/ 761434 h 5569200"/>
              <a:gd name="connsiteX0" fmla="*/ 4314189 w 4320925"/>
              <a:gd name="connsiteY0" fmla="*/ 0 h 5569200"/>
              <a:gd name="connsiteX1" fmla="*/ 4320925 w 4320925"/>
              <a:gd name="connsiteY1" fmla="*/ 0 h 5569200"/>
              <a:gd name="connsiteX2" fmla="*/ 4320925 w 4320925"/>
              <a:gd name="connsiteY2" fmla="*/ 5569200 h 5569200"/>
              <a:gd name="connsiteX3" fmla="*/ 4298957 w 4320925"/>
              <a:gd name="connsiteY3" fmla="*/ 5569200 h 5569200"/>
              <a:gd name="connsiteX4" fmla="*/ 4319335 w 4320925"/>
              <a:gd name="connsiteY4" fmla="*/ 5565601 h 5569200"/>
              <a:gd name="connsiteX5" fmla="*/ 8363 w 4320925"/>
              <a:gd name="connsiteY5" fmla="*/ 4610254 h 5569200"/>
              <a:gd name="connsiteX6" fmla="*/ 0 w 4320925"/>
              <a:gd name="connsiteY6" fmla="*/ 761434 h 5569200"/>
              <a:gd name="connsiteX7" fmla="*/ 4314189 w 4320925"/>
              <a:gd name="connsiteY7" fmla="*/ 0 h 5569200"/>
              <a:gd name="connsiteX0" fmla="*/ 4306631 w 4313367"/>
              <a:gd name="connsiteY0" fmla="*/ 0 h 5569200"/>
              <a:gd name="connsiteX1" fmla="*/ 4313367 w 4313367"/>
              <a:gd name="connsiteY1" fmla="*/ 0 h 5569200"/>
              <a:gd name="connsiteX2" fmla="*/ 4313367 w 4313367"/>
              <a:gd name="connsiteY2" fmla="*/ 5569200 h 5569200"/>
              <a:gd name="connsiteX3" fmla="*/ 4291399 w 4313367"/>
              <a:gd name="connsiteY3" fmla="*/ 5569200 h 5569200"/>
              <a:gd name="connsiteX4" fmla="*/ 4311777 w 4313367"/>
              <a:gd name="connsiteY4" fmla="*/ 5565601 h 5569200"/>
              <a:gd name="connsiteX5" fmla="*/ 805 w 4313367"/>
              <a:gd name="connsiteY5" fmla="*/ 4610254 h 5569200"/>
              <a:gd name="connsiteX6" fmla="*/ 805 w 4313367"/>
              <a:gd name="connsiteY6" fmla="*/ 913417 h 5569200"/>
              <a:gd name="connsiteX7" fmla="*/ 4306631 w 4313367"/>
              <a:gd name="connsiteY7" fmla="*/ 0 h 5569200"/>
              <a:gd name="connsiteX0" fmla="*/ 4313321 w 4320057"/>
              <a:gd name="connsiteY0" fmla="*/ 0 h 5569200"/>
              <a:gd name="connsiteX1" fmla="*/ 4320057 w 4320057"/>
              <a:gd name="connsiteY1" fmla="*/ 0 h 5569200"/>
              <a:gd name="connsiteX2" fmla="*/ 4320057 w 4320057"/>
              <a:gd name="connsiteY2" fmla="*/ 5569200 h 5569200"/>
              <a:gd name="connsiteX3" fmla="*/ 4298089 w 4320057"/>
              <a:gd name="connsiteY3" fmla="*/ 5569200 h 5569200"/>
              <a:gd name="connsiteX4" fmla="*/ 4318467 w 4320057"/>
              <a:gd name="connsiteY4" fmla="*/ 5565601 h 5569200"/>
              <a:gd name="connsiteX5" fmla="*/ 7495 w 4320057"/>
              <a:gd name="connsiteY5" fmla="*/ 4610254 h 5569200"/>
              <a:gd name="connsiteX6" fmla="*/ 0 w 4320057"/>
              <a:gd name="connsiteY6" fmla="*/ 913417 h 5569200"/>
              <a:gd name="connsiteX7" fmla="*/ 4313321 w 4320057"/>
              <a:gd name="connsiteY7" fmla="*/ 0 h 5569200"/>
              <a:gd name="connsiteX0" fmla="*/ 4313321 w 4320057"/>
              <a:gd name="connsiteY0" fmla="*/ 0 h 5569200"/>
              <a:gd name="connsiteX1" fmla="*/ 4320057 w 4320057"/>
              <a:gd name="connsiteY1" fmla="*/ 0 h 5569200"/>
              <a:gd name="connsiteX2" fmla="*/ 4320057 w 4320057"/>
              <a:gd name="connsiteY2" fmla="*/ 5569200 h 5569200"/>
              <a:gd name="connsiteX3" fmla="*/ 4298089 w 4320057"/>
              <a:gd name="connsiteY3" fmla="*/ 5569200 h 5569200"/>
              <a:gd name="connsiteX4" fmla="*/ 4318467 w 4320057"/>
              <a:gd name="connsiteY4" fmla="*/ 5565601 h 5569200"/>
              <a:gd name="connsiteX5" fmla="*/ 7495 w 4320057"/>
              <a:gd name="connsiteY5" fmla="*/ 4610254 h 5569200"/>
              <a:gd name="connsiteX6" fmla="*/ 0 w 4320057"/>
              <a:gd name="connsiteY6" fmla="*/ 917957 h 5569200"/>
              <a:gd name="connsiteX7" fmla="*/ 4313321 w 4320057"/>
              <a:gd name="connsiteY7" fmla="*/ 0 h 5569200"/>
              <a:gd name="connsiteX0" fmla="*/ 4313321 w 4320057"/>
              <a:gd name="connsiteY0" fmla="*/ 0 h 5569200"/>
              <a:gd name="connsiteX1" fmla="*/ 4320057 w 4320057"/>
              <a:gd name="connsiteY1" fmla="*/ 0 h 5569200"/>
              <a:gd name="connsiteX2" fmla="*/ 4320057 w 4320057"/>
              <a:gd name="connsiteY2" fmla="*/ 5569200 h 5569200"/>
              <a:gd name="connsiteX3" fmla="*/ 4298089 w 4320057"/>
              <a:gd name="connsiteY3" fmla="*/ 5569200 h 5569200"/>
              <a:gd name="connsiteX4" fmla="*/ 4318467 w 4320057"/>
              <a:gd name="connsiteY4" fmla="*/ 5565601 h 5569200"/>
              <a:gd name="connsiteX5" fmla="*/ 1874 w 4320057"/>
              <a:gd name="connsiteY5" fmla="*/ 4603444 h 5569200"/>
              <a:gd name="connsiteX6" fmla="*/ 0 w 4320057"/>
              <a:gd name="connsiteY6" fmla="*/ 917957 h 5569200"/>
              <a:gd name="connsiteX7" fmla="*/ 4313321 w 4320057"/>
              <a:gd name="connsiteY7" fmla="*/ 0 h 5569200"/>
              <a:gd name="connsiteX0" fmla="*/ 4313321 w 4320057"/>
              <a:gd name="connsiteY0" fmla="*/ 0 h 5569200"/>
              <a:gd name="connsiteX1" fmla="*/ 4320057 w 4320057"/>
              <a:gd name="connsiteY1" fmla="*/ 0 h 5569200"/>
              <a:gd name="connsiteX2" fmla="*/ 4320057 w 4320057"/>
              <a:gd name="connsiteY2" fmla="*/ 5569200 h 5569200"/>
              <a:gd name="connsiteX3" fmla="*/ 4298089 w 4320057"/>
              <a:gd name="connsiteY3" fmla="*/ 5569200 h 5569200"/>
              <a:gd name="connsiteX4" fmla="*/ 4318467 w 4320057"/>
              <a:gd name="connsiteY4" fmla="*/ 5565601 h 5569200"/>
              <a:gd name="connsiteX5" fmla="*/ 1874 w 4320057"/>
              <a:gd name="connsiteY5" fmla="*/ 4605715 h 5569200"/>
              <a:gd name="connsiteX6" fmla="*/ 0 w 4320057"/>
              <a:gd name="connsiteY6" fmla="*/ 917957 h 5569200"/>
              <a:gd name="connsiteX7" fmla="*/ 4313321 w 4320057"/>
              <a:gd name="connsiteY7" fmla="*/ 0 h 5569200"/>
              <a:gd name="connsiteX0" fmla="*/ 4313321 w 4320057"/>
              <a:gd name="connsiteY0" fmla="*/ 0 h 5580051"/>
              <a:gd name="connsiteX1" fmla="*/ 4320057 w 4320057"/>
              <a:gd name="connsiteY1" fmla="*/ 0 h 5580051"/>
              <a:gd name="connsiteX2" fmla="*/ 4320057 w 4320057"/>
              <a:gd name="connsiteY2" fmla="*/ 5569200 h 5580051"/>
              <a:gd name="connsiteX3" fmla="*/ 4298089 w 4320057"/>
              <a:gd name="connsiteY3" fmla="*/ 5569200 h 5580051"/>
              <a:gd name="connsiteX4" fmla="*/ 4318467 w 4320057"/>
              <a:gd name="connsiteY4" fmla="*/ 5580051 h 5580051"/>
              <a:gd name="connsiteX5" fmla="*/ 1874 w 4320057"/>
              <a:gd name="connsiteY5" fmla="*/ 4605715 h 5580051"/>
              <a:gd name="connsiteX6" fmla="*/ 0 w 4320057"/>
              <a:gd name="connsiteY6" fmla="*/ 917957 h 5580051"/>
              <a:gd name="connsiteX7" fmla="*/ 4313321 w 4320057"/>
              <a:gd name="connsiteY7" fmla="*/ 0 h 5580051"/>
              <a:gd name="connsiteX0" fmla="*/ 4313321 w 4320057"/>
              <a:gd name="connsiteY0" fmla="*/ 0 h 5580051"/>
              <a:gd name="connsiteX1" fmla="*/ 4320057 w 4320057"/>
              <a:gd name="connsiteY1" fmla="*/ 0 h 5580051"/>
              <a:gd name="connsiteX2" fmla="*/ 4320057 w 4320057"/>
              <a:gd name="connsiteY2" fmla="*/ 5569200 h 5580051"/>
              <a:gd name="connsiteX3" fmla="*/ 4298089 w 4320057"/>
              <a:gd name="connsiteY3" fmla="*/ 5559511 h 5580051"/>
              <a:gd name="connsiteX4" fmla="*/ 4318467 w 4320057"/>
              <a:gd name="connsiteY4" fmla="*/ 5580051 h 5580051"/>
              <a:gd name="connsiteX5" fmla="*/ 1874 w 4320057"/>
              <a:gd name="connsiteY5" fmla="*/ 4605715 h 5580051"/>
              <a:gd name="connsiteX6" fmla="*/ 0 w 4320057"/>
              <a:gd name="connsiteY6" fmla="*/ 917957 h 5580051"/>
              <a:gd name="connsiteX7" fmla="*/ 4313321 w 4320057"/>
              <a:gd name="connsiteY7" fmla="*/ 0 h 5580051"/>
              <a:gd name="connsiteX0" fmla="*/ 4313321 w 4320057"/>
              <a:gd name="connsiteY0" fmla="*/ 0 h 5678204"/>
              <a:gd name="connsiteX1" fmla="*/ 4320057 w 4320057"/>
              <a:gd name="connsiteY1" fmla="*/ 0 h 5678204"/>
              <a:gd name="connsiteX2" fmla="*/ 4320057 w 4320057"/>
              <a:gd name="connsiteY2" fmla="*/ 5569200 h 5678204"/>
              <a:gd name="connsiteX3" fmla="*/ 4298089 w 4320057"/>
              <a:gd name="connsiteY3" fmla="*/ 5678204 h 5678204"/>
              <a:gd name="connsiteX4" fmla="*/ 4318467 w 4320057"/>
              <a:gd name="connsiteY4" fmla="*/ 5580051 h 5678204"/>
              <a:gd name="connsiteX5" fmla="*/ 1874 w 4320057"/>
              <a:gd name="connsiteY5" fmla="*/ 4605715 h 5678204"/>
              <a:gd name="connsiteX6" fmla="*/ 0 w 4320057"/>
              <a:gd name="connsiteY6" fmla="*/ 917957 h 5678204"/>
              <a:gd name="connsiteX7" fmla="*/ 4313321 w 4320057"/>
              <a:gd name="connsiteY7" fmla="*/ 0 h 5678204"/>
              <a:gd name="connsiteX0" fmla="*/ 4313321 w 4320057"/>
              <a:gd name="connsiteY0" fmla="*/ 0 h 5580051"/>
              <a:gd name="connsiteX1" fmla="*/ 4320057 w 4320057"/>
              <a:gd name="connsiteY1" fmla="*/ 0 h 5580051"/>
              <a:gd name="connsiteX2" fmla="*/ 4320057 w 4320057"/>
              <a:gd name="connsiteY2" fmla="*/ 5569200 h 5580051"/>
              <a:gd name="connsiteX3" fmla="*/ 4318467 w 4320057"/>
              <a:gd name="connsiteY3" fmla="*/ 5580051 h 5580051"/>
              <a:gd name="connsiteX4" fmla="*/ 1874 w 4320057"/>
              <a:gd name="connsiteY4" fmla="*/ 4605715 h 5580051"/>
              <a:gd name="connsiteX5" fmla="*/ 0 w 4320057"/>
              <a:gd name="connsiteY5" fmla="*/ 917957 h 5580051"/>
              <a:gd name="connsiteX6" fmla="*/ 4313321 w 4320057"/>
              <a:gd name="connsiteY6" fmla="*/ 0 h 5580051"/>
              <a:gd name="connsiteX0" fmla="*/ 4313321 w 4320464"/>
              <a:gd name="connsiteY0" fmla="*/ 0 h 5575206"/>
              <a:gd name="connsiteX1" fmla="*/ 4320057 w 4320464"/>
              <a:gd name="connsiteY1" fmla="*/ 0 h 5575206"/>
              <a:gd name="connsiteX2" fmla="*/ 4320057 w 4320464"/>
              <a:gd name="connsiteY2" fmla="*/ 5569200 h 5575206"/>
              <a:gd name="connsiteX3" fmla="*/ 4320464 w 4320464"/>
              <a:gd name="connsiteY3" fmla="*/ 5575206 h 5575206"/>
              <a:gd name="connsiteX4" fmla="*/ 1874 w 4320464"/>
              <a:gd name="connsiteY4" fmla="*/ 4605715 h 5575206"/>
              <a:gd name="connsiteX5" fmla="*/ 0 w 4320464"/>
              <a:gd name="connsiteY5" fmla="*/ 917957 h 5575206"/>
              <a:gd name="connsiteX6" fmla="*/ 4313321 w 4320464"/>
              <a:gd name="connsiteY6" fmla="*/ 0 h 5575206"/>
              <a:gd name="connsiteX0" fmla="*/ 4313321 w 4320464"/>
              <a:gd name="connsiteY0" fmla="*/ 0 h 5575206"/>
              <a:gd name="connsiteX1" fmla="*/ 4320057 w 4320464"/>
              <a:gd name="connsiteY1" fmla="*/ 0 h 5575206"/>
              <a:gd name="connsiteX2" fmla="*/ 4320057 w 4320464"/>
              <a:gd name="connsiteY2" fmla="*/ 5569200 h 5575206"/>
              <a:gd name="connsiteX3" fmla="*/ 4320464 w 4320464"/>
              <a:gd name="connsiteY3" fmla="*/ 5575206 h 5575206"/>
              <a:gd name="connsiteX4" fmla="*/ 3689 w 4320464"/>
              <a:gd name="connsiteY4" fmla="*/ 4610112 h 5575206"/>
              <a:gd name="connsiteX5" fmla="*/ 0 w 4320464"/>
              <a:gd name="connsiteY5" fmla="*/ 917957 h 5575206"/>
              <a:gd name="connsiteX6" fmla="*/ 4313321 w 4320464"/>
              <a:gd name="connsiteY6" fmla="*/ 0 h 5575206"/>
              <a:gd name="connsiteX0" fmla="*/ 4313321 w 4320464"/>
              <a:gd name="connsiteY0" fmla="*/ 0 h 5575206"/>
              <a:gd name="connsiteX1" fmla="*/ 4320057 w 4320464"/>
              <a:gd name="connsiteY1" fmla="*/ 0 h 5575206"/>
              <a:gd name="connsiteX2" fmla="*/ 4320057 w 4320464"/>
              <a:gd name="connsiteY2" fmla="*/ 5569200 h 5575206"/>
              <a:gd name="connsiteX3" fmla="*/ 4320464 w 4320464"/>
              <a:gd name="connsiteY3" fmla="*/ 5575206 h 5575206"/>
              <a:gd name="connsiteX4" fmla="*/ 1874 w 4320464"/>
              <a:gd name="connsiteY4" fmla="*/ 4610112 h 5575206"/>
              <a:gd name="connsiteX5" fmla="*/ 0 w 4320464"/>
              <a:gd name="connsiteY5" fmla="*/ 917957 h 5575206"/>
              <a:gd name="connsiteX6" fmla="*/ 4313321 w 4320464"/>
              <a:gd name="connsiteY6" fmla="*/ 0 h 5575206"/>
              <a:gd name="connsiteX0" fmla="*/ 4313321 w 4320464"/>
              <a:gd name="connsiteY0" fmla="*/ 0 h 5575206"/>
              <a:gd name="connsiteX1" fmla="*/ 4320057 w 4320464"/>
              <a:gd name="connsiteY1" fmla="*/ 0 h 5575206"/>
              <a:gd name="connsiteX2" fmla="*/ 4320057 w 4320464"/>
              <a:gd name="connsiteY2" fmla="*/ 5569200 h 5575206"/>
              <a:gd name="connsiteX3" fmla="*/ 4320464 w 4320464"/>
              <a:gd name="connsiteY3" fmla="*/ 5575206 h 5575206"/>
              <a:gd name="connsiteX4" fmla="*/ 1874 w 4320464"/>
              <a:gd name="connsiteY4" fmla="*/ 4616706 h 5575206"/>
              <a:gd name="connsiteX5" fmla="*/ 0 w 4320464"/>
              <a:gd name="connsiteY5" fmla="*/ 917957 h 5575206"/>
              <a:gd name="connsiteX6" fmla="*/ 4313321 w 4320464"/>
              <a:gd name="connsiteY6" fmla="*/ 0 h 5575206"/>
              <a:gd name="connsiteX0" fmla="*/ 4314073 w 4321216"/>
              <a:gd name="connsiteY0" fmla="*/ 0 h 5575206"/>
              <a:gd name="connsiteX1" fmla="*/ 4320809 w 4321216"/>
              <a:gd name="connsiteY1" fmla="*/ 0 h 5575206"/>
              <a:gd name="connsiteX2" fmla="*/ 4320809 w 4321216"/>
              <a:gd name="connsiteY2" fmla="*/ 5569200 h 5575206"/>
              <a:gd name="connsiteX3" fmla="*/ 4321216 w 4321216"/>
              <a:gd name="connsiteY3" fmla="*/ 5575206 h 5575206"/>
              <a:gd name="connsiteX4" fmla="*/ 811 w 4321216"/>
              <a:gd name="connsiteY4" fmla="*/ 4612310 h 5575206"/>
              <a:gd name="connsiteX5" fmla="*/ 752 w 4321216"/>
              <a:gd name="connsiteY5" fmla="*/ 917957 h 5575206"/>
              <a:gd name="connsiteX6" fmla="*/ 4314073 w 4321216"/>
              <a:gd name="connsiteY6" fmla="*/ 0 h 5575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21216" h="5575206">
                <a:moveTo>
                  <a:pt x="4314073" y="0"/>
                </a:moveTo>
                <a:lnTo>
                  <a:pt x="4320809" y="0"/>
                </a:lnTo>
                <a:lnTo>
                  <a:pt x="4320809" y="5569200"/>
                </a:lnTo>
                <a:cubicBezTo>
                  <a:pt x="4320945" y="5571202"/>
                  <a:pt x="4321080" y="5573204"/>
                  <a:pt x="4321216" y="5575206"/>
                </a:cubicBezTo>
                <a:lnTo>
                  <a:pt x="811" y="4612310"/>
                </a:lnTo>
                <a:cubicBezTo>
                  <a:pt x="-1977" y="3329370"/>
                  <a:pt x="3540" y="2200897"/>
                  <a:pt x="752" y="917957"/>
                </a:cubicBezTo>
                <a:lnTo>
                  <a:pt x="4314073" y="0"/>
                </a:lnTo>
                <a:close/>
              </a:path>
            </a:pathLst>
          </a:custGeom>
          <a:solidFill>
            <a:schemeClr val="bg2">
              <a:alpha val="54000"/>
            </a:schemeClr>
          </a:solidFill>
        </p:spPr>
        <p:txBody>
          <a:bodyPr wrap="square" tIns="0" bIns="9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da-DK" dirty="0"/>
              <a:t>Vælg billedpladsholderen </a:t>
            </a:r>
            <a:br>
              <a:rPr lang="da-DK" dirty="0"/>
            </a:br>
            <a:r>
              <a:rPr lang="da-DK" dirty="0"/>
              <a:t>og indsæt billede via </a:t>
            </a:r>
            <a:br>
              <a:rPr lang="da-DK" dirty="0"/>
            </a:b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41" name="Blue"/>
          <p:cNvSpPr>
            <a:spLocks noGrp="1"/>
          </p:cNvSpPr>
          <p:nvPr>
            <p:ph type="body" sz="quarter" idx="20" hasCustomPrompt="1"/>
          </p:nvPr>
        </p:nvSpPr>
        <p:spPr>
          <a:xfrm>
            <a:off x="6428035" y="4749243"/>
            <a:ext cx="5761565" cy="2113473"/>
          </a:xfrm>
          <a:custGeom>
            <a:avLst/>
            <a:gdLst>
              <a:gd name="connsiteX0" fmla="*/ 4321174 w 4321174"/>
              <a:gd name="connsiteY0" fmla="*/ 0 h 1526318"/>
              <a:gd name="connsiteX1" fmla="*/ 4321174 w 4321174"/>
              <a:gd name="connsiteY1" fmla="*/ 1526318 h 1526318"/>
              <a:gd name="connsiteX2" fmla="*/ 0 w 4321174"/>
              <a:gd name="connsiteY2" fmla="*/ 763159 h 1526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21174" h="1526318">
                <a:moveTo>
                  <a:pt x="4321174" y="0"/>
                </a:moveTo>
                <a:lnTo>
                  <a:pt x="4321174" y="1526318"/>
                </a:lnTo>
                <a:lnTo>
                  <a:pt x="0" y="763159"/>
                </a:lnTo>
                <a:close/>
              </a:path>
            </a:pathLst>
          </a:custGeom>
          <a:solidFill>
            <a:schemeClr val="accent2">
              <a:alpha val="9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pic>
        <p:nvPicPr>
          <p:cNvPr id="11" name="Logo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749" y="346665"/>
            <a:ext cx="1404000" cy="256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37180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+ billede (A)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rey"/>
          <p:cNvSpPr>
            <a:spLocks/>
          </p:cNvSpPr>
          <p:nvPr userDrawn="1"/>
        </p:nvSpPr>
        <p:spPr bwMode="auto">
          <a:xfrm>
            <a:off x="670984" y="5805488"/>
            <a:ext cx="11521016" cy="1057228"/>
          </a:xfrm>
          <a:custGeom>
            <a:avLst/>
            <a:gdLst>
              <a:gd name="T0" fmla="*/ 0 w 5443"/>
              <a:gd name="T1" fmla="*/ 481 h 481"/>
              <a:gd name="T2" fmla="*/ 5443 w 5443"/>
              <a:gd name="T3" fmla="*/ 481 h 481"/>
              <a:gd name="T4" fmla="*/ 2721 w 5443"/>
              <a:gd name="T5" fmla="*/ 0 h 481"/>
              <a:gd name="T6" fmla="*/ 0 w 5443"/>
              <a:gd name="T7" fmla="*/ 481 h 4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443" h="481">
                <a:moveTo>
                  <a:pt x="0" y="481"/>
                </a:moveTo>
                <a:lnTo>
                  <a:pt x="5443" y="481"/>
                </a:lnTo>
                <a:lnTo>
                  <a:pt x="2721" y="0"/>
                </a:lnTo>
                <a:lnTo>
                  <a:pt x="0" y="48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sz="1800" dirty="0"/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672002" y="1285200"/>
            <a:ext cx="5087449" cy="954000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7"/>
          </p:nvPr>
        </p:nvSpPr>
        <p:spPr>
          <a:xfrm>
            <a:off x="672000" y="2565400"/>
            <a:ext cx="5087451" cy="3240088"/>
          </a:xfrm>
        </p:spPr>
        <p:txBody>
          <a:bodyPr/>
          <a:lstStyle/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styles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40" name="Picture"/>
          <p:cNvSpPr>
            <a:spLocks noGrp="1"/>
          </p:cNvSpPr>
          <p:nvPr>
            <p:ph type="pic" sz="quarter" idx="14" hasCustomPrompt="1"/>
          </p:nvPr>
        </p:nvSpPr>
        <p:spPr>
          <a:xfrm>
            <a:off x="6434722" y="728700"/>
            <a:ext cx="5759941" cy="6135910"/>
          </a:xfrm>
          <a:custGeom>
            <a:avLst/>
            <a:gdLst>
              <a:gd name="connsiteX0" fmla="*/ 4314189 w 4320925"/>
              <a:gd name="connsiteY0" fmla="*/ 0 h 5569200"/>
              <a:gd name="connsiteX1" fmla="*/ 4320925 w 4320925"/>
              <a:gd name="connsiteY1" fmla="*/ 0 h 5569200"/>
              <a:gd name="connsiteX2" fmla="*/ 4320925 w 4320925"/>
              <a:gd name="connsiteY2" fmla="*/ 5569200 h 5569200"/>
              <a:gd name="connsiteX3" fmla="*/ 4298957 w 4320925"/>
              <a:gd name="connsiteY3" fmla="*/ 5569200 h 5569200"/>
              <a:gd name="connsiteX4" fmla="*/ 4319335 w 4320925"/>
              <a:gd name="connsiteY4" fmla="*/ 5565601 h 5569200"/>
              <a:gd name="connsiteX5" fmla="*/ 0 w 4320925"/>
              <a:gd name="connsiteY5" fmla="*/ 4802767 h 5569200"/>
              <a:gd name="connsiteX6" fmla="*/ 0 w 4320925"/>
              <a:gd name="connsiteY6" fmla="*/ 761434 h 5569200"/>
              <a:gd name="connsiteX0" fmla="*/ 4314189 w 4320925"/>
              <a:gd name="connsiteY0" fmla="*/ 0 h 5569200"/>
              <a:gd name="connsiteX1" fmla="*/ 4320925 w 4320925"/>
              <a:gd name="connsiteY1" fmla="*/ 0 h 5569200"/>
              <a:gd name="connsiteX2" fmla="*/ 4320925 w 4320925"/>
              <a:gd name="connsiteY2" fmla="*/ 5569200 h 5569200"/>
              <a:gd name="connsiteX3" fmla="*/ 4298957 w 4320925"/>
              <a:gd name="connsiteY3" fmla="*/ 5569200 h 5569200"/>
              <a:gd name="connsiteX4" fmla="*/ 4319335 w 4320925"/>
              <a:gd name="connsiteY4" fmla="*/ 5565601 h 5569200"/>
              <a:gd name="connsiteX5" fmla="*/ 8363 w 4320925"/>
              <a:gd name="connsiteY5" fmla="*/ 4610254 h 5569200"/>
              <a:gd name="connsiteX6" fmla="*/ 0 w 4320925"/>
              <a:gd name="connsiteY6" fmla="*/ 761434 h 5569200"/>
              <a:gd name="connsiteX7" fmla="*/ 4314189 w 4320925"/>
              <a:gd name="connsiteY7" fmla="*/ 0 h 5569200"/>
              <a:gd name="connsiteX0" fmla="*/ 4306631 w 4313367"/>
              <a:gd name="connsiteY0" fmla="*/ 0 h 5569200"/>
              <a:gd name="connsiteX1" fmla="*/ 4313367 w 4313367"/>
              <a:gd name="connsiteY1" fmla="*/ 0 h 5569200"/>
              <a:gd name="connsiteX2" fmla="*/ 4313367 w 4313367"/>
              <a:gd name="connsiteY2" fmla="*/ 5569200 h 5569200"/>
              <a:gd name="connsiteX3" fmla="*/ 4291399 w 4313367"/>
              <a:gd name="connsiteY3" fmla="*/ 5569200 h 5569200"/>
              <a:gd name="connsiteX4" fmla="*/ 4311777 w 4313367"/>
              <a:gd name="connsiteY4" fmla="*/ 5565601 h 5569200"/>
              <a:gd name="connsiteX5" fmla="*/ 805 w 4313367"/>
              <a:gd name="connsiteY5" fmla="*/ 4610254 h 5569200"/>
              <a:gd name="connsiteX6" fmla="*/ 805 w 4313367"/>
              <a:gd name="connsiteY6" fmla="*/ 913417 h 5569200"/>
              <a:gd name="connsiteX7" fmla="*/ 4306631 w 4313367"/>
              <a:gd name="connsiteY7" fmla="*/ 0 h 5569200"/>
              <a:gd name="connsiteX0" fmla="*/ 4313321 w 4320057"/>
              <a:gd name="connsiteY0" fmla="*/ 0 h 5569200"/>
              <a:gd name="connsiteX1" fmla="*/ 4320057 w 4320057"/>
              <a:gd name="connsiteY1" fmla="*/ 0 h 5569200"/>
              <a:gd name="connsiteX2" fmla="*/ 4320057 w 4320057"/>
              <a:gd name="connsiteY2" fmla="*/ 5569200 h 5569200"/>
              <a:gd name="connsiteX3" fmla="*/ 4298089 w 4320057"/>
              <a:gd name="connsiteY3" fmla="*/ 5569200 h 5569200"/>
              <a:gd name="connsiteX4" fmla="*/ 4318467 w 4320057"/>
              <a:gd name="connsiteY4" fmla="*/ 5565601 h 5569200"/>
              <a:gd name="connsiteX5" fmla="*/ 7495 w 4320057"/>
              <a:gd name="connsiteY5" fmla="*/ 4610254 h 5569200"/>
              <a:gd name="connsiteX6" fmla="*/ 0 w 4320057"/>
              <a:gd name="connsiteY6" fmla="*/ 913417 h 5569200"/>
              <a:gd name="connsiteX7" fmla="*/ 4313321 w 4320057"/>
              <a:gd name="connsiteY7" fmla="*/ 0 h 5569200"/>
              <a:gd name="connsiteX0" fmla="*/ 4313321 w 4320057"/>
              <a:gd name="connsiteY0" fmla="*/ 0 h 5569200"/>
              <a:gd name="connsiteX1" fmla="*/ 4320057 w 4320057"/>
              <a:gd name="connsiteY1" fmla="*/ 0 h 5569200"/>
              <a:gd name="connsiteX2" fmla="*/ 4320057 w 4320057"/>
              <a:gd name="connsiteY2" fmla="*/ 5569200 h 5569200"/>
              <a:gd name="connsiteX3" fmla="*/ 4298089 w 4320057"/>
              <a:gd name="connsiteY3" fmla="*/ 5569200 h 5569200"/>
              <a:gd name="connsiteX4" fmla="*/ 4318467 w 4320057"/>
              <a:gd name="connsiteY4" fmla="*/ 5565601 h 5569200"/>
              <a:gd name="connsiteX5" fmla="*/ 7495 w 4320057"/>
              <a:gd name="connsiteY5" fmla="*/ 4610254 h 5569200"/>
              <a:gd name="connsiteX6" fmla="*/ 0 w 4320057"/>
              <a:gd name="connsiteY6" fmla="*/ 917957 h 5569200"/>
              <a:gd name="connsiteX7" fmla="*/ 4313321 w 4320057"/>
              <a:gd name="connsiteY7" fmla="*/ 0 h 5569200"/>
              <a:gd name="connsiteX0" fmla="*/ 4313321 w 4320057"/>
              <a:gd name="connsiteY0" fmla="*/ 0 h 5569200"/>
              <a:gd name="connsiteX1" fmla="*/ 4320057 w 4320057"/>
              <a:gd name="connsiteY1" fmla="*/ 0 h 5569200"/>
              <a:gd name="connsiteX2" fmla="*/ 4320057 w 4320057"/>
              <a:gd name="connsiteY2" fmla="*/ 5569200 h 5569200"/>
              <a:gd name="connsiteX3" fmla="*/ 4298089 w 4320057"/>
              <a:gd name="connsiteY3" fmla="*/ 5569200 h 5569200"/>
              <a:gd name="connsiteX4" fmla="*/ 4318467 w 4320057"/>
              <a:gd name="connsiteY4" fmla="*/ 5565601 h 5569200"/>
              <a:gd name="connsiteX5" fmla="*/ 1874 w 4320057"/>
              <a:gd name="connsiteY5" fmla="*/ 4603444 h 5569200"/>
              <a:gd name="connsiteX6" fmla="*/ 0 w 4320057"/>
              <a:gd name="connsiteY6" fmla="*/ 917957 h 5569200"/>
              <a:gd name="connsiteX7" fmla="*/ 4313321 w 4320057"/>
              <a:gd name="connsiteY7" fmla="*/ 0 h 5569200"/>
              <a:gd name="connsiteX0" fmla="*/ 4313321 w 4320057"/>
              <a:gd name="connsiteY0" fmla="*/ 0 h 5569200"/>
              <a:gd name="connsiteX1" fmla="*/ 4320057 w 4320057"/>
              <a:gd name="connsiteY1" fmla="*/ 0 h 5569200"/>
              <a:gd name="connsiteX2" fmla="*/ 4320057 w 4320057"/>
              <a:gd name="connsiteY2" fmla="*/ 5569200 h 5569200"/>
              <a:gd name="connsiteX3" fmla="*/ 4298089 w 4320057"/>
              <a:gd name="connsiteY3" fmla="*/ 5569200 h 5569200"/>
              <a:gd name="connsiteX4" fmla="*/ 4318467 w 4320057"/>
              <a:gd name="connsiteY4" fmla="*/ 5565601 h 5569200"/>
              <a:gd name="connsiteX5" fmla="*/ 1874 w 4320057"/>
              <a:gd name="connsiteY5" fmla="*/ 4605715 h 5569200"/>
              <a:gd name="connsiteX6" fmla="*/ 0 w 4320057"/>
              <a:gd name="connsiteY6" fmla="*/ 917957 h 5569200"/>
              <a:gd name="connsiteX7" fmla="*/ 4313321 w 4320057"/>
              <a:gd name="connsiteY7" fmla="*/ 0 h 5569200"/>
              <a:gd name="connsiteX0" fmla="*/ 4313321 w 4320057"/>
              <a:gd name="connsiteY0" fmla="*/ 0 h 5580051"/>
              <a:gd name="connsiteX1" fmla="*/ 4320057 w 4320057"/>
              <a:gd name="connsiteY1" fmla="*/ 0 h 5580051"/>
              <a:gd name="connsiteX2" fmla="*/ 4320057 w 4320057"/>
              <a:gd name="connsiteY2" fmla="*/ 5569200 h 5580051"/>
              <a:gd name="connsiteX3" fmla="*/ 4298089 w 4320057"/>
              <a:gd name="connsiteY3" fmla="*/ 5569200 h 5580051"/>
              <a:gd name="connsiteX4" fmla="*/ 4318467 w 4320057"/>
              <a:gd name="connsiteY4" fmla="*/ 5580051 h 5580051"/>
              <a:gd name="connsiteX5" fmla="*/ 1874 w 4320057"/>
              <a:gd name="connsiteY5" fmla="*/ 4605715 h 5580051"/>
              <a:gd name="connsiteX6" fmla="*/ 0 w 4320057"/>
              <a:gd name="connsiteY6" fmla="*/ 917957 h 5580051"/>
              <a:gd name="connsiteX7" fmla="*/ 4313321 w 4320057"/>
              <a:gd name="connsiteY7" fmla="*/ 0 h 5580051"/>
              <a:gd name="connsiteX0" fmla="*/ 4313321 w 4320057"/>
              <a:gd name="connsiteY0" fmla="*/ 0 h 5580051"/>
              <a:gd name="connsiteX1" fmla="*/ 4320057 w 4320057"/>
              <a:gd name="connsiteY1" fmla="*/ 0 h 5580051"/>
              <a:gd name="connsiteX2" fmla="*/ 4320057 w 4320057"/>
              <a:gd name="connsiteY2" fmla="*/ 5569200 h 5580051"/>
              <a:gd name="connsiteX3" fmla="*/ 4298089 w 4320057"/>
              <a:gd name="connsiteY3" fmla="*/ 5559511 h 5580051"/>
              <a:gd name="connsiteX4" fmla="*/ 4318467 w 4320057"/>
              <a:gd name="connsiteY4" fmla="*/ 5580051 h 5580051"/>
              <a:gd name="connsiteX5" fmla="*/ 1874 w 4320057"/>
              <a:gd name="connsiteY5" fmla="*/ 4605715 h 5580051"/>
              <a:gd name="connsiteX6" fmla="*/ 0 w 4320057"/>
              <a:gd name="connsiteY6" fmla="*/ 917957 h 5580051"/>
              <a:gd name="connsiteX7" fmla="*/ 4313321 w 4320057"/>
              <a:gd name="connsiteY7" fmla="*/ 0 h 5580051"/>
              <a:gd name="connsiteX0" fmla="*/ 4313321 w 4320057"/>
              <a:gd name="connsiteY0" fmla="*/ 0 h 5678204"/>
              <a:gd name="connsiteX1" fmla="*/ 4320057 w 4320057"/>
              <a:gd name="connsiteY1" fmla="*/ 0 h 5678204"/>
              <a:gd name="connsiteX2" fmla="*/ 4320057 w 4320057"/>
              <a:gd name="connsiteY2" fmla="*/ 5569200 h 5678204"/>
              <a:gd name="connsiteX3" fmla="*/ 4298089 w 4320057"/>
              <a:gd name="connsiteY3" fmla="*/ 5678204 h 5678204"/>
              <a:gd name="connsiteX4" fmla="*/ 4318467 w 4320057"/>
              <a:gd name="connsiteY4" fmla="*/ 5580051 h 5678204"/>
              <a:gd name="connsiteX5" fmla="*/ 1874 w 4320057"/>
              <a:gd name="connsiteY5" fmla="*/ 4605715 h 5678204"/>
              <a:gd name="connsiteX6" fmla="*/ 0 w 4320057"/>
              <a:gd name="connsiteY6" fmla="*/ 917957 h 5678204"/>
              <a:gd name="connsiteX7" fmla="*/ 4313321 w 4320057"/>
              <a:gd name="connsiteY7" fmla="*/ 0 h 5678204"/>
              <a:gd name="connsiteX0" fmla="*/ 4313321 w 4320057"/>
              <a:gd name="connsiteY0" fmla="*/ 0 h 5580051"/>
              <a:gd name="connsiteX1" fmla="*/ 4320057 w 4320057"/>
              <a:gd name="connsiteY1" fmla="*/ 0 h 5580051"/>
              <a:gd name="connsiteX2" fmla="*/ 4320057 w 4320057"/>
              <a:gd name="connsiteY2" fmla="*/ 5569200 h 5580051"/>
              <a:gd name="connsiteX3" fmla="*/ 4318467 w 4320057"/>
              <a:gd name="connsiteY3" fmla="*/ 5580051 h 5580051"/>
              <a:gd name="connsiteX4" fmla="*/ 1874 w 4320057"/>
              <a:gd name="connsiteY4" fmla="*/ 4605715 h 5580051"/>
              <a:gd name="connsiteX5" fmla="*/ 0 w 4320057"/>
              <a:gd name="connsiteY5" fmla="*/ 917957 h 5580051"/>
              <a:gd name="connsiteX6" fmla="*/ 4313321 w 4320057"/>
              <a:gd name="connsiteY6" fmla="*/ 0 h 5580051"/>
              <a:gd name="connsiteX0" fmla="*/ 4313321 w 4320464"/>
              <a:gd name="connsiteY0" fmla="*/ 0 h 5575206"/>
              <a:gd name="connsiteX1" fmla="*/ 4320057 w 4320464"/>
              <a:gd name="connsiteY1" fmla="*/ 0 h 5575206"/>
              <a:gd name="connsiteX2" fmla="*/ 4320057 w 4320464"/>
              <a:gd name="connsiteY2" fmla="*/ 5569200 h 5575206"/>
              <a:gd name="connsiteX3" fmla="*/ 4320464 w 4320464"/>
              <a:gd name="connsiteY3" fmla="*/ 5575206 h 5575206"/>
              <a:gd name="connsiteX4" fmla="*/ 1874 w 4320464"/>
              <a:gd name="connsiteY4" fmla="*/ 4605715 h 5575206"/>
              <a:gd name="connsiteX5" fmla="*/ 0 w 4320464"/>
              <a:gd name="connsiteY5" fmla="*/ 917957 h 5575206"/>
              <a:gd name="connsiteX6" fmla="*/ 4313321 w 4320464"/>
              <a:gd name="connsiteY6" fmla="*/ 0 h 5575206"/>
              <a:gd name="connsiteX0" fmla="*/ 4313321 w 4320464"/>
              <a:gd name="connsiteY0" fmla="*/ 0 h 5575206"/>
              <a:gd name="connsiteX1" fmla="*/ 4320057 w 4320464"/>
              <a:gd name="connsiteY1" fmla="*/ 0 h 5575206"/>
              <a:gd name="connsiteX2" fmla="*/ 4320057 w 4320464"/>
              <a:gd name="connsiteY2" fmla="*/ 5569200 h 5575206"/>
              <a:gd name="connsiteX3" fmla="*/ 4320464 w 4320464"/>
              <a:gd name="connsiteY3" fmla="*/ 5575206 h 5575206"/>
              <a:gd name="connsiteX4" fmla="*/ 3689 w 4320464"/>
              <a:gd name="connsiteY4" fmla="*/ 4610112 h 5575206"/>
              <a:gd name="connsiteX5" fmla="*/ 0 w 4320464"/>
              <a:gd name="connsiteY5" fmla="*/ 917957 h 5575206"/>
              <a:gd name="connsiteX6" fmla="*/ 4313321 w 4320464"/>
              <a:gd name="connsiteY6" fmla="*/ 0 h 5575206"/>
              <a:gd name="connsiteX0" fmla="*/ 4313321 w 4320464"/>
              <a:gd name="connsiteY0" fmla="*/ 0 h 5575206"/>
              <a:gd name="connsiteX1" fmla="*/ 4320057 w 4320464"/>
              <a:gd name="connsiteY1" fmla="*/ 0 h 5575206"/>
              <a:gd name="connsiteX2" fmla="*/ 4320057 w 4320464"/>
              <a:gd name="connsiteY2" fmla="*/ 5569200 h 5575206"/>
              <a:gd name="connsiteX3" fmla="*/ 4320464 w 4320464"/>
              <a:gd name="connsiteY3" fmla="*/ 5575206 h 5575206"/>
              <a:gd name="connsiteX4" fmla="*/ 1874 w 4320464"/>
              <a:gd name="connsiteY4" fmla="*/ 4610112 h 5575206"/>
              <a:gd name="connsiteX5" fmla="*/ 0 w 4320464"/>
              <a:gd name="connsiteY5" fmla="*/ 917957 h 5575206"/>
              <a:gd name="connsiteX6" fmla="*/ 4313321 w 4320464"/>
              <a:gd name="connsiteY6" fmla="*/ 0 h 5575206"/>
              <a:gd name="connsiteX0" fmla="*/ 4313321 w 4320464"/>
              <a:gd name="connsiteY0" fmla="*/ 0 h 5575206"/>
              <a:gd name="connsiteX1" fmla="*/ 4320057 w 4320464"/>
              <a:gd name="connsiteY1" fmla="*/ 0 h 5575206"/>
              <a:gd name="connsiteX2" fmla="*/ 4320057 w 4320464"/>
              <a:gd name="connsiteY2" fmla="*/ 5569200 h 5575206"/>
              <a:gd name="connsiteX3" fmla="*/ 4320464 w 4320464"/>
              <a:gd name="connsiteY3" fmla="*/ 5575206 h 5575206"/>
              <a:gd name="connsiteX4" fmla="*/ 1874 w 4320464"/>
              <a:gd name="connsiteY4" fmla="*/ 4616706 h 5575206"/>
              <a:gd name="connsiteX5" fmla="*/ 0 w 4320464"/>
              <a:gd name="connsiteY5" fmla="*/ 917957 h 5575206"/>
              <a:gd name="connsiteX6" fmla="*/ 4313321 w 4320464"/>
              <a:gd name="connsiteY6" fmla="*/ 0 h 5575206"/>
              <a:gd name="connsiteX0" fmla="*/ 4314073 w 4321216"/>
              <a:gd name="connsiteY0" fmla="*/ 0 h 5575206"/>
              <a:gd name="connsiteX1" fmla="*/ 4320809 w 4321216"/>
              <a:gd name="connsiteY1" fmla="*/ 0 h 5575206"/>
              <a:gd name="connsiteX2" fmla="*/ 4320809 w 4321216"/>
              <a:gd name="connsiteY2" fmla="*/ 5569200 h 5575206"/>
              <a:gd name="connsiteX3" fmla="*/ 4321216 w 4321216"/>
              <a:gd name="connsiteY3" fmla="*/ 5575206 h 5575206"/>
              <a:gd name="connsiteX4" fmla="*/ 811 w 4321216"/>
              <a:gd name="connsiteY4" fmla="*/ 4612310 h 5575206"/>
              <a:gd name="connsiteX5" fmla="*/ 752 w 4321216"/>
              <a:gd name="connsiteY5" fmla="*/ 917957 h 5575206"/>
              <a:gd name="connsiteX6" fmla="*/ 4314073 w 4321216"/>
              <a:gd name="connsiteY6" fmla="*/ 0 h 5575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21216" h="5575206">
                <a:moveTo>
                  <a:pt x="4314073" y="0"/>
                </a:moveTo>
                <a:lnTo>
                  <a:pt x="4320809" y="0"/>
                </a:lnTo>
                <a:lnTo>
                  <a:pt x="4320809" y="5569200"/>
                </a:lnTo>
                <a:cubicBezTo>
                  <a:pt x="4320945" y="5571202"/>
                  <a:pt x="4321080" y="5573204"/>
                  <a:pt x="4321216" y="5575206"/>
                </a:cubicBezTo>
                <a:lnTo>
                  <a:pt x="811" y="4612310"/>
                </a:lnTo>
                <a:cubicBezTo>
                  <a:pt x="-1977" y="3329370"/>
                  <a:pt x="3540" y="2200897"/>
                  <a:pt x="752" y="917957"/>
                </a:cubicBezTo>
                <a:lnTo>
                  <a:pt x="4314073" y="0"/>
                </a:lnTo>
                <a:close/>
              </a:path>
            </a:pathLst>
          </a:custGeom>
          <a:solidFill>
            <a:schemeClr val="bg2">
              <a:alpha val="54000"/>
            </a:schemeClr>
          </a:solidFill>
        </p:spPr>
        <p:txBody>
          <a:bodyPr wrap="square" tIns="0" bIns="9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da-DK" dirty="0"/>
              <a:t>Vælg billedpladsholderen </a:t>
            </a:r>
            <a:br>
              <a:rPr lang="da-DK" dirty="0"/>
            </a:br>
            <a:r>
              <a:rPr lang="da-DK" dirty="0"/>
              <a:t>og indsæt billede via </a:t>
            </a:r>
            <a:br>
              <a:rPr lang="da-DK" dirty="0"/>
            </a:b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41" name="Blue"/>
          <p:cNvSpPr>
            <a:spLocks noGrp="1"/>
          </p:cNvSpPr>
          <p:nvPr>
            <p:ph type="body" sz="quarter" idx="20" hasCustomPrompt="1"/>
          </p:nvPr>
        </p:nvSpPr>
        <p:spPr>
          <a:xfrm>
            <a:off x="6428035" y="4749243"/>
            <a:ext cx="5761565" cy="2113473"/>
          </a:xfrm>
          <a:custGeom>
            <a:avLst/>
            <a:gdLst>
              <a:gd name="connsiteX0" fmla="*/ 4321174 w 4321174"/>
              <a:gd name="connsiteY0" fmla="*/ 0 h 1526318"/>
              <a:gd name="connsiteX1" fmla="*/ 4321174 w 4321174"/>
              <a:gd name="connsiteY1" fmla="*/ 1526318 h 1526318"/>
              <a:gd name="connsiteX2" fmla="*/ 0 w 4321174"/>
              <a:gd name="connsiteY2" fmla="*/ 763159 h 1526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21174" h="1526318">
                <a:moveTo>
                  <a:pt x="4321174" y="0"/>
                </a:moveTo>
                <a:lnTo>
                  <a:pt x="4321174" y="1526318"/>
                </a:lnTo>
                <a:lnTo>
                  <a:pt x="0" y="763159"/>
                </a:lnTo>
                <a:close/>
              </a:path>
            </a:pathLst>
          </a:custGeom>
          <a:solidFill>
            <a:schemeClr val="accent3">
              <a:alpha val="9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pic>
        <p:nvPicPr>
          <p:cNvPr id="11" name="Logo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749" y="346665"/>
            <a:ext cx="1404000" cy="256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46507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28">
          <p15:clr>
            <a:srgbClr val="00000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+ billede (A) 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rey"/>
          <p:cNvSpPr>
            <a:spLocks/>
          </p:cNvSpPr>
          <p:nvPr userDrawn="1"/>
        </p:nvSpPr>
        <p:spPr bwMode="auto">
          <a:xfrm>
            <a:off x="670984" y="5805488"/>
            <a:ext cx="11521016" cy="1057228"/>
          </a:xfrm>
          <a:custGeom>
            <a:avLst/>
            <a:gdLst>
              <a:gd name="T0" fmla="*/ 0 w 5443"/>
              <a:gd name="T1" fmla="*/ 481 h 481"/>
              <a:gd name="T2" fmla="*/ 5443 w 5443"/>
              <a:gd name="T3" fmla="*/ 481 h 481"/>
              <a:gd name="T4" fmla="*/ 2721 w 5443"/>
              <a:gd name="T5" fmla="*/ 0 h 481"/>
              <a:gd name="T6" fmla="*/ 0 w 5443"/>
              <a:gd name="T7" fmla="*/ 481 h 4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443" h="481">
                <a:moveTo>
                  <a:pt x="0" y="481"/>
                </a:moveTo>
                <a:lnTo>
                  <a:pt x="5443" y="481"/>
                </a:lnTo>
                <a:lnTo>
                  <a:pt x="2721" y="0"/>
                </a:lnTo>
                <a:lnTo>
                  <a:pt x="0" y="48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sz="1800" dirty="0"/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672002" y="1285200"/>
            <a:ext cx="5087449" cy="954000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7"/>
          </p:nvPr>
        </p:nvSpPr>
        <p:spPr>
          <a:xfrm>
            <a:off x="672000" y="2565400"/>
            <a:ext cx="5087451" cy="3240088"/>
          </a:xfrm>
        </p:spPr>
        <p:txBody>
          <a:bodyPr/>
          <a:lstStyle/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styles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40" name="Picture"/>
          <p:cNvSpPr>
            <a:spLocks noGrp="1"/>
          </p:cNvSpPr>
          <p:nvPr>
            <p:ph type="pic" sz="quarter" idx="14" hasCustomPrompt="1"/>
          </p:nvPr>
        </p:nvSpPr>
        <p:spPr>
          <a:xfrm>
            <a:off x="6434722" y="728700"/>
            <a:ext cx="5759941" cy="6135910"/>
          </a:xfrm>
          <a:custGeom>
            <a:avLst/>
            <a:gdLst>
              <a:gd name="connsiteX0" fmla="*/ 4314189 w 4320925"/>
              <a:gd name="connsiteY0" fmla="*/ 0 h 5569200"/>
              <a:gd name="connsiteX1" fmla="*/ 4320925 w 4320925"/>
              <a:gd name="connsiteY1" fmla="*/ 0 h 5569200"/>
              <a:gd name="connsiteX2" fmla="*/ 4320925 w 4320925"/>
              <a:gd name="connsiteY2" fmla="*/ 5569200 h 5569200"/>
              <a:gd name="connsiteX3" fmla="*/ 4298957 w 4320925"/>
              <a:gd name="connsiteY3" fmla="*/ 5569200 h 5569200"/>
              <a:gd name="connsiteX4" fmla="*/ 4319335 w 4320925"/>
              <a:gd name="connsiteY4" fmla="*/ 5565601 h 5569200"/>
              <a:gd name="connsiteX5" fmla="*/ 0 w 4320925"/>
              <a:gd name="connsiteY5" fmla="*/ 4802767 h 5569200"/>
              <a:gd name="connsiteX6" fmla="*/ 0 w 4320925"/>
              <a:gd name="connsiteY6" fmla="*/ 761434 h 5569200"/>
              <a:gd name="connsiteX0" fmla="*/ 4314189 w 4320925"/>
              <a:gd name="connsiteY0" fmla="*/ 0 h 5569200"/>
              <a:gd name="connsiteX1" fmla="*/ 4320925 w 4320925"/>
              <a:gd name="connsiteY1" fmla="*/ 0 h 5569200"/>
              <a:gd name="connsiteX2" fmla="*/ 4320925 w 4320925"/>
              <a:gd name="connsiteY2" fmla="*/ 5569200 h 5569200"/>
              <a:gd name="connsiteX3" fmla="*/ 4298957 w 4320925"/>
              <a:gd name="connsiteY3" fmla="*/ 5569200 h 5569200"/>
              <a:gd name="connsiteX4" fmla="*/ 4319335 w 4320925"/>
              <a:gd name="connsiteY4" fmla="*/ 5565601 h 5569200"/>
              <a:gd name="connsiteX5" fmla="*/ 8363 w 4320925"/>
              <a:gd name="connsiteY5" fmla="*/ 4610254 h 5569200"/>
              <a:gd name="connsiteX6" fmla="*/ 0 w 4320925"/>
              <a:gd name="connsiteY6" fmla="*/ 761434 h 5569200"/>
              <a:gd name="connsiteX7" fmla="*/ 4314189 w 4320925"/>
              <a:gd name="connsiteY7" fmla="*/ 0 h 5569200"/>
              <a:gd name="connsiteX0" fmla="*/ 4306631 w 4313367"/>
              <a:gd name="connsiteY0" fmla="*/ 0 h 5569200"/>
              <a:gd name="connsiteX1" fmla="*/ 4313367 w 4313367"/>
              <a:gd name="connsiteY1" fmla="*/ 0 h 5569200"/>
              <a:gd name="connsiteX2" fmla="*/ 4313367 w 4313367"/>
              <a:gd name="connsiteY2" fmla="*/ 5569200 h 5569200"/>
              <a:gd name="connsiteX3" fmla="*/ 4291399 w 4313367"/>
              <a:gd name="connsiteY3" fmla="*/ 5569200 h 5569200"/>
              <a:gd name="connsiteX4" fmla="*/ 4311777 w 4313367"/>
              <a:gd name="connsiteY4" fmla="*/ 5565601 h 5569200"/>
              <a:gd name="connsiteX5" fmla="*/ 805 w 4313367"/>
              <a:gd name="connsiteY5" fmla="*/ 4610254 h 5569200"/>
              <a:gd name="connsiteX6" fmla="*/ 805 w 4313367"/>
              <a:gd name="connsiteY6" fmla="*/ 913417 h 5569200"/>
              <a:gd name="connsiteX7" fmla="*/ 4306631 w 4313367"/>
              <a:gd name="connsiteY7" fmla="*/ 0 h 5569200"/>
              <a:gd name="connsiteX0" fmla="*/ 4313321 w 4320057"/>
              <a:gd name="connsiteY0" fmla="*/ 0 h 5569200"/>
              <a:gd name="connsiteX1" fmla="*/ 4320057 w 4320057"/>
              <a:gd name="connsiteY1" fmla="*/ 0 h 5569200"/>
              <a:gd name="connsiteX2" fmla="*/ 4320057 w 4320057"/>
              <a:gd name="connsiteY2" fmla="*/ 5569200 h 5569200"/>
              <a:gd name="connsiteX3" fmla="*/ 4298089 w 4320057"/>
              <a:gd name="connsiteY3" fmla="*/ 5569200 h 5569200"/>
              <a:gd name="connsiteX4" fmla="*/ 4318467 w 4320057"/>
              <a:gd name="connsiteY4" fmla="*/ 5565601 h 5569200"/>
              <a:gd name="connsiteX5" fmla="*/ 7495 w 4320057"/>
              <a:gd name="connsiteY5" fmla="*/ 4610254 h 5569200"/>
              <a:gd name="connsiteX6" fmla="*/ 0 w 4320057"/>
              <a:gd name="connsiteY6" fmla="*/ 913417 h 5569200"/>
              <a:gd name="connsiteX7" fmla="*/ 4313321 w 4320057"/>
              <a:gd name="connsiteY7" fmla="*/ 0 h 5569200"/>
              <a:gd name="connsiteX0" fmla="*/ 4313321 w 4320057"/>
              <a:gd name="connsiteY0" fmla="*/ 0 h 5569200"/>
              <a:gd name="connsiteX1" fmla="*/ 4320057 w 4320057"/>
              <a:gd name="connsiteY1" fmla="*/ 0 h 5569200"/>
              <a:gd name="connsiteX2" fmla="*/ 4320057 w 4320057"/>
              <a:gd name="connsiteY2" fmla="*/ 5569200 h 5569200"/>
              <a:gd name="connsiteX3" fmla="*/ 4298089 w 4320057"/>
              <a:gd name="connsiteY3" fmla="*/ 5569200 h 5569200"/>
              <a:gd name="connsiteX4" fmla="*/ 4318467 w 4320057"/>
              <a:gd name="connsiteY4" fmla="*/ 5565601 h 5569200"/>
              <a:gd name="connsiteX5" fmla="*/ 7495 w 4320057"/>
              <a:gd name="connsiteY5" fmla="*/ 4610254 h 5569200"/>
              <a:gd name="connsiteX6" fmla="*/ 0 w 4320057"/>
              <a:gd name="connsiteY6" fmla="*/ 917957 h 5569200"/>
              <a:gd name="connsiteX7" fmla="*/ 4313321 w 4320057"/>
              <a:gd name="connsiteY7" fmla="*/ 0 h 5569200"/>
              <a:gd name="connsiteX0" fmla="*/ 4313321 w 4320057"/>
              <a:gd name="connsiteY0" fmla="*/ 0 h 5569200"/>
              <a:gd name="connsiteX1" fmla="*/ 4320057 w 4320057"/>
              <a:gd name="connsiteY1" fmla="*/ 0 h 5569200"/>
              <a:gd name="connsiteX2" fmla="*/ 4320057 w 4320057"/>
              <a:gd name="connsiteY2" fmla="*/ 5569200 h 5569200"/>
              <a:gd name="connsiteX3" fmla="*/ 4298089 w 4320057"/>
              <a:gd name="connsiteY3" fmla="*/ 5569200 h 5569200"/>
              <a:gd name="connsiteX4" fmla="*/ 4318467 w 4320057"/>
              <a:gd name="connsiteY4" fmla="*/ 5565601 h 5569200"/>
              <a:gd name="connsiteX5" fmla="*/ 1874 w 4320057"/>
              <a:gd name="connsiteY5" fmla="*/ 4603444 h 5569200"/>
              <a:gd name="connsiteX6" fmla="*/ 0 w 4320057"/>
              <a:gd name="connsiteY6" fmla="*/ 917957 h 5569200"/>
              <a:gd name="connsiteX7" fmla="*/ 4313321 w 4320057"/>
              <a:gd name="connsiteY7" fmla="*/ 0 h 5569200"/>
              <a:gd name="connsiteX0" fmla="*/ 4313321 w 4320057"/>
              <a:gd name="connsiteY0" fmla="*/ 0 h 5569200"/>
              <a:gd name="connsiteX1" fmla="*/ 4320057 w 4320057"/>
              <a:gd name="connsiteY1" fmla="*/ 0 h 5569200"/>
              <a:gd name="connsiteX2" fmla="*/ 4320057 w 4320057"/>
              <a:gd name="connsiteY2" fmla="*/ 5569200 h 5569200"/>
              <a:gd name="connsiteX3" fmla="*/ 4298089 w 4320057"/>
              <a:gd name="connsiteY3" fmla="*/ 5569200 h 5569200"/>
              <a:gd name="connsiteX4" fmla="*/ 4318467 w 4320057"/>
              <a:gd name="connsiteY4" fmla="*/ 5565601 h 5569200"/>
              <a:gd name="connsiteX5" fmla="*/ 1874 w 4320057"/>
              <a:gd name="connsiteY5" fmla="*/ 4605715 h 5569200"/>
              <a:gd name="connsiteX6" fmla="*/ 0 w 4320057"/>
              <a:gd name="connsiteY6" fmla="*/ 917957 h 5569200"/>
              <a:gd name="connsiteX7" fmla="*/ 4313321 w 4320057"/>
              <a:gd name="connsiteY7" fmla="*/ 0 h 5569200"/>
              <a:gd name="connsiteX0" fmla="*/ 4313321 w 4320057"/>
              <a:gd name="connsiteY0" fmla="*/ 0 h 5580051"/>
              <a:gd name="connsiteX1" fmla="*/ 4320057 w 4320057"/>
              <a:gd name="connsiteY1" fmla="*/ 0 h 5580051"/>
              <a:gd name="connsiteX2" fmla="*/ 4320057 w 4320057"/>
              <a:gd name="connsiteY2" fmla="*/ 5569200 h 5580051"/>
              <a:gd name="connsiteX3" fmla="*/ 4298089 w 4320057"/>
              <a:gd name="connsiteY3" fmla="*/ 5569200 h 5580051"/>
              <a:gd name="connsiteX4" fmla="*/ 4318467 w 4320057"/>
              <a:gd name="connsiteY4" fmla="*/ 5580051 h 5580051"/>
              <a:gd name="connsiteX5" fmla="*/ 1874 w 4320057"/>
              <a:gd name="connsiteY5" fmla="*/ 4605715 h 5580051"/>
              <a:gd name="connsiteX6" fmla="*/ 0 w 4320057"/>
              <a:gd name="connsiteY6" fmla="*/ 917957 h 5580051"/>
              <a:gd name="connsiteX7" fmla="*/ 4313321 w 4320057"/>
              <a:gd name="connsiteY7" fmla="*/ 0 h 5580051"/>
              <a:gd name="connsiteX0" fmla="*/ 4313321 w 4320057"/>
              <a:gd name="connsiteY0" fmla="*/ 0 h 5580051"/>
              <a:gd name="connsiteX1" fmla="*/ 4320057 w 4320057"/>
              <a:gd name="connsiteY1" fmla="*/ 0 h 5580051"/>
              <a:gd name="connsiteX2" fmla="*/ 4320057 w 4320057"/>
              <a:gd name="connsiteY2" fmla="*/ 5569200 h 5580051"/>
              <a:gd name="connsiteX3" fmla="*/ 4298089 w 4320057"/>
              <a:gd name="connsiteY3" fmla="*/ 5559511 h 5580051"/>
              <a:gd name="connsiteX4" fmla="*/ 4318467 w 4320057"/>
              <a:gd name="connsiteY4" fmla="*/ 5580051 h 5580051"/>
              <a:gd name="connsiteX5" fmla="*/ 1874 w 4320057"/>
              <a:gd name="connsiteY5" fmla="*/ 4605715 h 5580051"/>
              <a:gd name="connsiteX6" fmla="*/ 0 w 4320057"/>
              <a:gd name="connsiteY6" fmla="*/ 917957 h 5580051"/>
              <a:gd name="connsiteX7" fmla="*/ 4313321 w 4320057"/>
              <a:gd name="connsiteY7" fmla="*/ 0 h 5580051"/>
              <a:gd name="connsiteX0" fmla="*/ 4313321 w 4320057"/>
              <a:gd name="connsiteY0" fmla="*/ 0 h 5678204"/>
              <a:gd name="connsiteX1" fmla="*/ 4320057 w 4320057"/>
              <a:gd name="connsiteY1" fmla="*/ 0 h 5678204"/>
              <a:gd name="connsiteX2" fmla="*/ 4320057 w 4320057"/>
              <a:gd name="connsiteY2" fmla="*/ 5569200 h 5678204"/>
              <a:gd name="connsiteX3" fmla="*/ 4298089 w 4320057"/>
              <a:gd name="connsiteY3" fmla="*/ 5678204 h 5678204"/>
              <a:gd name="connsiteX4" fmla="*/ 4318467 w 4320057"/>
              <a:gd name="connsiteY4" fmla="*/ 5580051 h 5678204"/>
              <a:gd name="connsiteX5" fmla="*/ 1874 w 4320057"/>
              <a:gd name="connsiteY5" fmla="*/ 4605715 h 5678204"/>
              <a:gd name="connsiteX6" fmla="*/ 0 w 4320057"/>
              <a:gd name="connsiteY6" fmla="*/ 917957 h 5678204"/>
              <a:gd name="connsiteX7" fmla="*/ 4313321 w 4320057"/>
              <a:gd name="connsiteY7" fmla="*/ 0 h 5678204"/>
              <a:gd name="connsiteX0" fmla="*/ 4313321 w 4320057"/>
              <a:gd name="connsiteY0" fmla="*/ 0 h 5580051"/>
              <a:gd name="connsiteX1" fmla="*/ 4320057 w 4320057"/>
              <a:gd name="connsiteY1" fmla="*/ 0 h 5580051"/>
              <a:gd name="connsiteX2" fmla="*/ 4320057 w 4320057"/>
              <a:gd name="connsiteY2" fmla="*/ 5569200 h 5580051"/>
              <a:gd name="connsiteX3" fmla="*/ 4318467 w 4320057"/>
              <a:gd name="connsiteY3" fmla="*/ 5580051 h 5580051"/>
              <a:gd name="connsiteX4" fmla="*/ 1874 w 4320057"/>
              <a:gd name="connsiteY4" fmla="*/ 4605715 h 5580051"/>
              <a:gd name="connsiteX5" fmla="*/ 0 w 4320057"/>
              <a:gd name="connsiteY5" fmla="*/ 917957 h 5580051"/>
              <a:gd name="connsiteX6" fmla="*/ 4313321 w 4320057"/>
              <a:gd name="connsiteY6" fmla="*/ 0 h 5580051"/>
              <a:gd name="connsiteX0" fmla="*/ 4313321 w 4320464"/>
              <a:gd name="connsiteY0" fmla="*/ 0 h 5575206"/>
              <a:gd name="connsiteX1" fmla="*/ 4320057 w 4320464"/>
              <a:gd name="connsiteY1" fmla="*/ 0 h 5575206"/>
              <a:gd name="connsiteX2" fmla="*/ 4320057 w 4320464"/>
              <a:gd name="connsiteY2" fmla="*/ 5569200 h 5575206"/>
              <a:gd name="connsiteX3" fmla="*/ 4320464 w 4320464"/>
              <a:gd name="connsiteY3" fmla="*/ 5575206 h 5575206"/>
              <a:gd name="connsiteX4" fmla="*/ 1874 w 4320464"/>
              <a:gd name="connsiteY4" fmla="*/ 4605715 h 5575206"/>
              <a:gd name="connsiteX5" fmla="*/ 0 w 4320464"/>
              <a:gd name="connsiteY5" fmla="*/ 917957 h 5575206"/>
              <a:gd name="connsiteX6" fmla="*/ 4313321 w 4320464"/>
              <a:gd name="connsiteY6" fmla="*/ 0 h 5575206"/>
              <a:gd name="connsiteX0" fmla="*/ 4313321 w 4320464"/>
              <a:gd name="connsiteY0" fmla="*/ 0 h 5575206"/>
              <a:gd name="connsiteX1" fmla="*/ 4320057 w 4320464"/>
              <a:gd name="connsiteY1" fmla="*/ 0 h 5575206"/>
              <a:gd name="connsiteX2" fmla="*/ 4320057 w 4320464"/>
              <a:gd name="connsiteY2" fmla="*/ 5569200 h 5575206"/>
              <a:gd name="connsiteX3" fmla="*/ 4320464 w 4320464"/>
              <a:gd name="connsiteY3" fmla="*/ 5575206 h 5575206"/>
              <a:gd name="connsiteX4" fmla="*/ 3689 w 4320464"/>
              <a:gd name="connsiteY4" fmla="*/ 4610112 h 5575206"/>
              <a:gd name="connsiteX5" fmla="*/ 0 w 4320464"/>
              <a:gd name="connsiteY5" fmla="*/ 917957 h 5575206"/>
              <a:gd name="connsiteX6" fmla="*/ 4313321 w 4320464"/>
              <a:gd name="connsiteY6" fmla="*/ 0 h 5575206"/>
              <a:gd name="connsiteX0" fmla="*/ 4313321 w 4320464"/>
              <a:gd name="connsiteY0" fmla="*/ 0 h 5575206"/>
              <a:gd name="connsiteX1" fmla="*/ 4320057 w 4320464"/>
              <a:gd name="connsiteY1" fmla="*/ 0 h 5575206"/>
              <a:gd name="connsiteX2" fmla="*/ 4320057 w 4320464"/>
              <a:gd name="connsiteY2" fmla="*/ 5569200 h 5575206"/>
              <a:gd name="connsiteX3" fmla="*/ 4320464 w 4320464"/>
              <a:gd name="connsiteY3" fmla="*/ 5575206 h 5575206"/>
              <a:gd name="connsiteX4" fmla="*/ 1874 w 4320464"/>
              <a:gd name="connsiteY4" fmla="*/ 4610112 h 5575206"/>
              <a:gd name="connsiteX5" fmla="*/ 0 w 4320464"/>
              <a:gd name="connsiteY5" fmla="*/ 917957 h 5575206"/>
              <a:gd name="connsiteX6" fmla="*/ 4313321 w 4320464"/>
              <a:gd name="connsiteY6" fmla="*/ 0 h 5575206"/>
              <a:gd name="connsiteX0" fmla="*/ 4313321 w 4320464"/>
              <a:gd name="connsiteY0" fmla="*/ 0 h 5575206"/>
              <a:gd name="connsiteX1" fmla="*/ 4320057 w 4320464"/>
              <a:gd name="connsiteY1" fmla="*/ 0 h 5575206"/>
              <a:gd name="connsiteX2" fmla="*/ 4320057 w 4320464"/>
              <a:gd name="connsiteY2" fmla="*/ 5569200 h 5575206"/>
              <a:gd name="connsiteX3" fmla="*/ 4320464 w 4320464"/>
              <a:gd name="connsiteY3" fmla="*/ 5575206 h 5575206"/>
              <a:gd name="connsiteX4" fmla="*/ 1874 w 4320464"/>
              <a:gd name="connsiteY4" fmla="*/ 4616706 h 5575206"/>
              <a:gd name="connsiteX5" fmla="*/ 0 w 4320464"/>
              <a:gd name="connsiteY5" fmla="*/ 917957 h 5575206"/>
              <a:gd name="connsiteX6" fmla="*/ 4313321 w 4320464"/>
              <a:gd name="connsiteY6" fmla="*/ 0 h 5575206"/>
              <a:gd name="connsiteX0" fmla="*/ 4314073 w 4321216"/>
              <a:gd name="connsiteY0" fmla="*/ 0 h 5575206"/>
              <a:gd name="connsiteX1" fmla="*/ 4320809 w 4321216"/>
              <a:gd name="connsiteY1" fmla="*/ 0 h 5575206"/>
              <a:gd name="connsiteX2" fmla="*/ 4320809 w 4321216"/>
              <a:gd name="connsiteY2" fmla="*/ 5569200 h 5575206"/>
              <a:gd name="connsiteX3" fmla="*/ 4321216 w 4321216"/>
              <a:gd name="connsiteY3" fmla="*/ 5575206 h 5575206"/>
              <a:gd name="connsiteX4" fmla="*/ 811 w 4321216"/>
              <a:gd name="connsiteY4" fmla="*/ 4612310 h 5575206"/>
              <a:gd name="connsiteX5" fmla="*/ 752 w 4321216"/>
              <a:gd name="connsiteY5" fmla="*/ 917957 h 5575206"/>
              <a:gd name="connsiteX6" fmla="*/ 4314073 w 4321216"/>
              <a:gd name="connsiteY6" fmla="*/ 0 h 5575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21216" h="5575206">
                <a:moveTo>
                  <a:pt x="4314073" y="0"/>
                </a:moveTo>
                <a:lnTo>
                  <a:pt x="4320809" y="0"/>
                </a:lnTo>
                <a:lnTo>
                  <a:pt x="4320809" y="5569200"/>
                </a:lnTo>
                <a:cubicBezTo>
                  <a:pt x="4320945" y="5571202"/>
                  <a:pt x="4321080" y="5573204"/>
                  <a:pt x="4321216" y="5575206"/>
                </a:cubicBezTo>
                <a:lnTo>
                  <a:pt x="811" y="4612310"/>
                </a:lnTo>
                <a:cubicBezTo>
                  <a:pt x="-1977" y="3329370"/>
                  <a:pt x="3540" y="2200897"/>
                  <a:pt x="752" y="917957"/>
                </a:cubicBezTo>
                <a:lnTo>
                  <a:pt x="4314073" y="0"/>
                </a:lnTo>
                <a:close/>
              </a:path>
            </a:pathLst>
          </a:custGeom>
          <a:solidFill>
            <a:schemeClr val="bg2">
              <a:alpha val="54000"/>
            </a:schemeClr>
          </a:solidFill>
        </p:spPr>
        <p:txBody>
          <a:bodyPr wrap="square" tIns="0" bIns="9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da-DK" dirty="0"/>
              <a:t>Vælg billedpladsholderen </a:t>
            </a:r>
            <a:br>
              <a:rPr lang="da-DK" dirty="0"/>
            </a:br>
            <a:r>
              <a:rPr lang="da-DK" dirty="0"/>
              <a:t>og indsæt billede via </a:t>
            </a:r>
            <a:br>
              <a:rPr lang="da-DK" dirty="0"/>
            </a:b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41" name="Blue"/>
          <p:cNvSpPr>
            <a:spLocks noGrp="1"/>
          </p:cNvSpPr>
          <p:nvPr>
            <p:ph type="body" sz="quarter" idx="20" hasCustomPrompt="1"/>
          </p:nvPr>
        </p:nvSpPr>
        <p:spPr>
          <a:xfrm>
            <a:off x="6428035" y="4749243"/>
            <a:ext cx="5761565" cy="2113473"/>
          </a:xfrm>
          <a:custGeom>
            <a:avLst/>
            <a:gdLst>
              <a:gd name="connsiteX0" fmla="*/ 4321174 w 4321174"/>
              <a:gd name="connsiteY0" fmla="*/ 0 h 1526318"/>
              <a:gd name="connsiteX1" fmla="*/ 4321174 w 4321174"/>
              <a:gd name="connsiteY1" fmla="*/ 1526318 h 1526318"/>
              <a:gd name="connsiteX2" fmla="*/ 0 w 4321174"/>
              <a:gd name="connsiteY2" fmla="*/ 763159 h 1526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21174" h="1526318">
                <a:moveTo>
                  <a:pt x="4321174" y="0"/>
                </a:moveTo>
                <a:lnTo>
                  <a:pt x="4321174" y="1526318"/>
                </a:lnTo>
                <a:lnTo>
                  <a:pt x="0" y="763159"/>
                </a:lnTo>
                <a:close/>
              </a:path>
            </a:pathLst>
          </a:custGeom>
          <a:solidFill>
            <a:schemeClr val="accent4">
              <a:alpha val="9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pic>
        <p:nvPicPr>
          <p:cNvPr id="11" name="Logo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749" y="346665"/>
            <a:ext cx="1404000" cy="256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11570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+ billede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rey"/>
          <p:cNvSpPr>
            <a:spLocks/>
          </p:cNvSpPr>
          <p:nvPr userDrawn="1"/>
        </p:nvSpPr>
        <p:spPr bwMode="auto">
          <a:xfrm>
            <a:off x="670984" y="5805488"/>
            <a:ext cx="11521016" cy="1057228"/>
          </a:xfrm>
          <a:custGeom>
            <a:avLst/>
            <a:gdLst>
              <a:gd name="T0" fmla="*/ 0 w 5443"/>
              <a:gd name="T1" fmla="*/ 481 h 481"/>
              <a:gd name="T2" fmla="*/ 5443 w 5443"/>
              <a:gd name="T3" fmla="*/ 481 h 481"/>
              <a:gd name="T4" fmla="*/ 2721 w 5443"/>
              <a:gd name="T5" fmla="*/ 0 h 481"/>
              <a:gd name="T6" fmla="*/ 0 w 5443"/>
              <a:gd name="T7" fmla="*/ 481 h 4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443" h="481">
                <a:moveTo>
                  <a:pt x="0" y="481"/>
                </a:moveTo>
                <a:lnTo>
                  <a:pt x="5443" y="481"/>
                </a:lnTo>
                <a:lnTo>
                  <a:pt x="2721" y="0"/>
                </a:lnTo>
                <a:lnTo>
                  <a:pt x="0" y="48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sz="1800" dirty="0"/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672002" y="1285200"/>
            <a:ext cx="5087449" cy="889200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7"/>
          </p:nvPr>
        </p:nvSpPr>
        <p:spPr>
          <a:xfrm>
            <a:off x="672000" y="2565400"/>
            <a:ext cx="5087451" cy="3240088"/>
          </a:xfrm>
        </p:spPr>
        <p:txBody>
          <a:bodyPr/>
          <a:lstStyle/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styles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4" hasCustomPrompt="1"/>
          </p:nvPr>
        </p:nvSpPr>
        <p:spPr>
          <a:xfrm>
            <a:off x="6430434" y="0"/>
            <a:ext cx="5763686" cy="6858000"/>
          </a:xfrm>
          <a:custGeom>
            <a:avLst/>
            <a:gdLst>
              <a:gd name="connsiteX0" fmla="*/ 0 w 5753919"/>
              <a:gd name="connsiteY0" fmla="*/ 0 h 6858000"/>
              <a:gd name="connsiteX1" fmla="*/ 5753919 w 5753919"/>
              <a:gd name="connsiteY1" fmla="*/ 0 h 6858000"/>
              <a:gd name="connsiteX2" fmla="*/ 5753919 w 5753919"/>
              <a:gd name="connsiteY2" fmla="*/ 6858000 h 6858000"/>
              <a:gd name="connsiteX3" fmla="*/ 5726099 w 5753919"/>
              <a:gd name="connsiteY3" fmla="*/ 6858000 h 6858000"/>
              <a:gd name="connsiteX4" fmla="*/ 5725806 w 5753919"/>
              <a:gd name="connsiteY4" fmla="*/ 6857946 h 6858000"/>
              <a:gd name="connsiteX5" fmla="*/ 5752852 w 5753919"/>
              <a:gd name="connsiteY5" fmla="*/ 6854359 h 6858000"/>
              <a:gd name="connsiteX6" fmla="*/ 5584781 w 5753919"/>
              <a:gd name="connsiteY6" fmla="*/ 6832069 h 6858000"/>
              <a:gd name="connsiteX7" fmla="*/ 0 w 5753919"/>
              <a:gd name="connsiteY7" fmla="*/ 580728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753919" h="6858000">
                <a:moveTo>
                  <a:pt x="0" y="0"/>
                </a:moveTo>
                <a:lnTo>
                  <a:pt x="5753919" y="0"/>
                </a:lnTo>
                <a:lnTo>
                  <a:pt x="5753919" y="6858000"/>
                </a:lnTo>
                <a:lnTo>
                  <a:pt x="5726099" y="6858000"/>
                </a:lnTo>
                <a:lnTo>
                  <a:pt x="5725806" y="6857946"/>
                </a:lnTo>
                <a:lnTo>
                  <a:pt x="5752852" y="6854359"/>
                </a:lnTo>
                <a:lnTo>
                  <a:pt x="5584781" y="6832069"/>
                </a:lnTo>
                <a:lnTo>
                  <a:pt x="0" y="580728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tIns="0" bIns="9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da-DK" dirty="0"/>
              <a:t>Vælg billedpladsholderen </a:t>
            </a:r>
            <a:br>
              <a:rPr lang="da-DK" dirty="0"/>
            </a:br>
            <a:r>
              <a:rPr lang="da-DK" dirty="0"/>
              <a:t>og indsæt billede via </a:t>
            </a:r>
            <a:br>
              <a:rPr lang="da-DK" dirty="0"/>
            </a:b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41" name="Blue"/>
          <p:cNvSpPr>
            <a:spLocks noGrp="1"/>
          </p:cNvSpPr>
          <p:nvPr>
            <p:ph type="body" sz="quarter" idx="20" hasCustomPrompt="1"/>
          </p:nvPr>
        </p:nvSpPr>
        <p:spPr>
          <a:xfrm>
            <a:off x="6430434" y="4761148"/>
            <a:ext cx="5761565" cy="2094839"/>
          </a:xfrm>
          <a:custGeom>
            <a:avLst/>
            <a:gdLst>
              <a:gd name="connsiteX0" fmla="*/ 4321174 w 4321174"/>
              <a:gd name="connsiteY0" fmla="*/ 0 h 1526318"/>
              <a:gd name="connsiteX1" fmla="*/ 4321174 w 4321174"/>
              <a:gd name="connsiteY1" fmla="*/ 1526318 h 1526318"/>
              <a:gd name="connsiteX2" fmla="*/ 0 w 4321174"/>
              <a:gd name="connsiteY2" fmla="*/ 763159 h 1526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21174" h="1526318">
                <a:moveTo>
                  <a:pt x="4321174" y="0"/>
                </a:moveTo>
                <a:lnTo>
                  <a:pt x="4321174" y="1526318"/>
                </a:lnTo>
                <a:lnTo>
                  <a:pt x="0" y="763159"/>
                </a:lnTo>
                <a:close/>
              </a:path>
            </a:pathLst>
          </a:custGeom>
          <a:solidFill>
            <a:schemeClr val="accent1">
              <a:alpha val="9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pic>
        <p:nvPicPr>
          <p:cNvPr id="12" name="Logo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749" y="346665"/>
            <a:ext cx="1404000" cy="256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90602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51" userDrawn="1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icture Placeholder 38"/>
          <p:cNvSpPr>
            <a:spLocks noGrp="1"/>
          </p:cNvSpPr>
          <p:nvPr>
            <p:ph type="pic" sz="quarter" idx="13" hasCustomPrompt="1"/>
          </p:nvPr>
        </p:nvSpPr>
        <p:spPr>
          <a:xfrm>
            <a:off x="-4800" y="-3600"/>
            <a:ext cx="12206400" cy="6865200"/>
          </a:xfrm>
          <a:prstGeom prst="rect">
            <a:avLst/>
          </a:prstGeom>
          <a:solidFill>
            <a:schemeClr val="bg2"/>
          </a:solidFill>
        </p:spPr>
        <p:txBody>
          <a:bodyPr wrap="square" lIns="108000" tIns="108000" rIns="4824000" bIns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4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6096000" y="0"/>
            <a:ext cx="6105600" cy="6861600"/>
          </a:xfrm>
          <a:custGeom>
            <a:avLst/>
            <a:gdLst>
              <a:gd name="connsiteX0" fmla="*/ 0 w 6105600"/>
              <a:gd name="connsiteY0" fmla="*/ 0 h 6861600"/>
              <a:gd name="connsiteX1" fmla="*/ 6105600 w 6105600"/>
              <a:gd name="connsiteY1" fmla="*/ 0 h 6861600"/>
              <a:gd name="connsiteX2" fmla="*/ 6105600 w 6105600"/>
              <a:gd name="connsiteY2" fmla="*/ 6861600 h 6861600"/>
              <a:gd name="connsiteX3" fmla="*/ 0 w 6105600"/>
              <a:gd name="connsiteY3" fmla="*/ 6861600 h 6861600"/>
              <a:gd name="connsiteX4" fmla="*/ 0 w 6105600"/>
              <a:gd name="connsiteY4" fmla="*/ 6858001 h 6861600"/>
              <a:gd name="connsiteX5" fmla="*/ 6096000 w 6105600"/>
              <a:gd name="connsiteY5" fmla="*/ 6858001 h 6861600"/>
              <a:gd name="connsiteX6" fmla="*/ 6095992 w 6105600"/>
              <a:gd name="connsiteY6" fmla="*/ 6858000 h 6861600"/>
              <a:gd name="connsiteX7" fmla="*/ 6096000 w 6105600"/>
              <a:gd name="connsiteY7" fmla="*/ 6858000 h 6861600"/>
              <a:gd name="connsiteX8" fmla="*/ 0 w 6105600"/>
              <a:gd name="connsiteY8" fmla="*/ 5805851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05600" h="6861600">
                <a:moveTo>
                  <a:pt x="0" y="0"/>
                </a:moveTo>
                <a:lnTo>
                  <a:pt x="6105600" y="0"/>
                </a:lnTo>
                <a:lnTo>
                  <a:pt x="6105600" y="6861600"/>
                </a:lnTo>
                <a:lnTo>
                  <a:pt x="0" y="6861600"/>
                </a:lnTo>
                <a:lnTo>
                  <a:pt x="0" y="6858001"/>
                </a:lnTo>
                <a:lnTo>
                  <a:pt x="6096000" y="6858001"/>
                </a:lnTo>
                <a:lnTo>
                  <a:pt x="6095992" y="6858000"/>
                </a:lnTo>
                <a:lnTo>
                  <a:pt x="6096000" y="6858000"/>
                </a:lnTo>
                <a:lnTo>
                  <a:pt x="0" y="5805851"/>
                </a:lnTo>
                <a:close/>
              </a:path>
            </a:pathLst>
          </a:custGeom>
          <a:solidFill>
            <a:schemeClr val="accent2">
              <a:alpha val="90000"/>
            </a:schemeClr>
          </a:solidFill>
        </p:spPr>
        <p:txBody>
          <a:bodyPr wrap="square" lIns="630000" tIns="3780000" rIns="630000" bIns="4788000" anchor="t" anchorCtr="0">
            <a:noAutofit/>
          </a:bodyPr>
          <a:lstStyle>
            <a:lvl1pPr>
              <a:lnSpc>
                <a:spcPct val="87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Præsentationstitel i </a:t>
            </a:r>
            <a:r>
              <a:rPr lang="da-DK" dirty="0" err="1"/>
              <a:t>maks</a:t>
            </a:r>
            <a:r>
              <a:rPr lang="da-DK" dirty="0"/>
              <a:t> to linjer</a:t>
            </a:r>
            <a:endParaRPr lang="da-DK"/>
          </a:p>
        </p:txBody>
      </p:sp>
      <p:sp>
        <p:nvSpPr>
          <p:cNvPr id="3" name="Undertitel 2"/>
          <p:cNvSpPr>
            <a:spLocks noGrp="1"/>
          </p:cNvSpPr>
          <p:nvPr>
            <p:ph type="subTitle" idx="1" hasCustomPrompt="1"/>
          </p:nvPr>
        </p:nvSpPr>
        <p:spPr>
          <a:xfrm>
            <a:off x="6096001" y="4132800"/>
            <a:ext cx="5422900" cy="498834"/>
          </a:xfrm>
        </p:spPr>
        <p:txBody>
          <a:bodyPr lIns="640800" rIns="511200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Klik, og tilføj undertitel</a:t>
            </a:r>
            <a:endParaRPr lang="da-DK"/>
          </a:p>
        </p:txBody>
      </p:sp>
      <p:sp>
        <p:nvSpPr>
          <p:cNvPr id="6" name="Indsæt TitleName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1" y="1922400"/>
            <a:ext cx="5422900" cy="360040"/>
          </a:xfrm>
        </p:spPr>
        <p:txBody>
          <a:bodyPr lIns="684000" anchor="b" anchorCtr="0"/>
          <a:lstStyle>
            <a:lvl1pPr>
              <a:lnSpc>
                <a:spcPct val="115000"/>
              </a:lnSpc>
              <a:defRPr sz="10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Indsæt titel, navn</a:t>
            </a:r>
            <a:endParaRPr lang="da-DK"/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805489"/>
            <a:ext cx="12192000" cy="1052514"/>
          </a:xfrm>
          <a:custGeom>
            <a:avLst/>
            <a:gdLst>
              <a:gd name="connsiteX0" fmla="*/ 4570413 w 9144000"/>
              <a:gd name="connsiteY0" fmla="*/ 0 h 809625"/>
              <a:gd name="connsiteX1" fmla="*/ 9144000 w 9144000"/>
              <a:gd name="connsiteY1" fmla="*/ 809625 h 809625"/>
              <a:gd name="connsiteX2" fmla="*/ 0 w 9144000"/>
              <a:gd name="connsiteY2" fmla="*/ 809625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144000" h="809625">
                <a:moveTo>
                  <a:pt x="4570413" y="0"/>
                </a:moveTo>
                <a:lnTo>
                  <a:pt x="9144000" y="809625"/>
                </a:lnTo>
                <a:lnTo>
                  <a:pt x="0" y="809625"/>
                </a:lnTo>
                <a:close/>
              </a:path>
            </a:pathLst>
          </a:custGeom>
          <a:solidFill>
            <a:schemeClr val="accent2">
              <a:alpha val="6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16" hasCustomPrompt="1"/>
          </p:nvPr>
        </p:nvSpPr>
        <p:spPr>
          <a:xfrm>
            <a:off x="6095999" y="4761148"/>
            <a:ext cx="6096001" cy="2094419"/>
          </a:xfrm>
          <a:custGeom>
            <a:avLst/>
            <a:gdLst>
              <a:gd name="connsiteX0" fmla="*/ 4572000 w 4572000"/>
              <a:gd name="connsiteY0" fmla="*/ 0 h 1615884"/>
              <a:gd name="connsiteX1" fmla="*/ 4572000 w 4572000"/>
              <a:gd name="connsiteY1" fmla="*/ 1615884 h 1615884"/>
              <a:gd name="connsiteX2" fmla="*/ 0 w 4572000"/>
              <a:gd name="connsiteY2" fmla="*/ 808222 h 1615884"/>
              <a:gd name="connsiteX3" fmla="*/ 0 w 4572000"/>
              <a:gd name="connsiteY3" fmla="*/ 807661 h 1615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72000" h="1615884">
                <a:moveTo>
                  <a:pt x="4572000" y="0"/>
                </a:moveTo>
                <a:lnTo>
                  <a:pt x="4572000" y="1615884"/>
                </a:lnTo>
                <a:lnTo>
                  <a:pt x="0" y="808222"/>
                </a:lnTo>
                <a:lnTo>
                  <a:pt x="0" y="807661"/>
                </a:lnTo>
                <a:close/>
              </a:path>
            </a:pathLst>
          </a:custGeom>
          <a:solidFill>
            <a:srgbClr val="27A1BD"/>
          </a:solidFill>
        </p:spPr>
        <p:txBody>
          <a:bodyPr wrap="square">
            <a:noAutofit/>
          </a:bodyPr>
          <a:lstStyle>
            <a:lvl1pPr marL="0" indent="0">
              <a:buNone/>
              <a:defRPr sz="100"/>
            </a:lvl1pPr>
            <a:lvl2pPr marL="0" indent="0">
              <a:buNone/>
              <a:defRPr sz="100"/>
            </a:lvl2pPr>
            <a:lvl3pPr marL="216000" indent="0">
              <a:buNone/>
              <a:defRPr sz="100"/>
            </a:lvl3pPr>
            <a:lvl4pPr marL="432000" indent="0">
              <a:buNone/>
              <a:defRPr sz="100"/>
            </a:lvl4pPr>
            <a:lvl5pPr marL="648000" indent="0">
              <a:buNone/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10" name="TextBox 9"/>
          <p:cNvSpPr txBox="1"/>
          <p:nvPr userDrawn="1"/>
        </p:nvSpPr>
        <p:spPr>
          <a:xfrm>
            <a:off x="-14179" y="-214438"/>
            <a:ext cx="122064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noProof="0" dirty="0">
                <a:solidFill>
                  <a:schemeClr val="accent1"/>
                </a:solidFill>
              </a:rPr>
              <a:t>Bemærk</a:t>
            </a:r>
            <a:r>
              <a:rPr lang="da-DK" sz="1100" noProof="0" dirty="0">
                <a:solidFill>
                  <a:schemeClr val="accent1"/>
                </a:solidFill>
              </a:rPr>
              <a:t> at billedet ses under boksen som er transparent. Derfor skal billedet fylde hele siden.</a:t>
            </a:r>
            <a:endParaRPr lang="da-DK"/>
          </a:p>
        </p:txBody>
      </p:sp>
      <p:sp>
        <p:nvSpPr>
          <p:cNvPr id="17" name="Text Placeholder 3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6743700" y="345600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836722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+ billede (B)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rey"/>
          <p:cNvSpPr>
            <a:spLocks/>
          </p:cNvSpPr>
          <p:nvPr userDrawn="1"/>
        </p:nvSpPr>
        <p:spPr bwMode="auto">
          <a:xfrm>
            <a:off x="670984" y="5805488"/>
            <a:ext cx="11521016" cy="1057228"/>
          </a:xfrm>
          <a:custGeom>
            <a:avLst/>
            <a:gdLst>
              <a:gd name="T0" fmla="*/ 0 w 5443"/>
              <a:gd name="T1" fmla="*/ 481 h 481"/>
              <a:gd name="T2" fmla="*/ 5443 w 5443"/>
              <a:gd name="T3" fmla="*/ 481 h 481"/>
              <a:gd name="T4" fmla="*/ 2721 w 5443"/>
              <a:gd name="T5" fmla="*/ 0 h 481"/>
              <a:gd name="T6" fmla="*/ 0 w 5443"/>
              <a:gd name="T7" fmla="*/ 481 h 4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443" h="481">
                <a:moveTo>
                  <a:pt x="0" y="481"/>
                </a:moveTo>
                <a:lnTo>
                  <a:pt x="5443" y="481"/>
                </a:lnTo>
                <a:lnTo>
                  <a:pt x="2721" y="0"/>
                </a:lnTo>
                <a:lnTo>
                  <a:pt x="0" y="48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sz="1800" dirty="0"/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672002" y="1285200"/>
            <a:ext cx="5087449" cy="889200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7"/>
          </p:nvPr>
        </p:nvSpPr>
        <p:spPr>
          <a:xfrm>
            <a:off x="672000" y="2565400"/>
            <a:ext cx="5087451" cy="3240088"/>
          </a:xfrm>
        </p:spPr>
        <p:txBody>
          <a:bodyPr/>
          <a:lstStyle/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styles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4" hasCustomPrompt="1"/>
          </p:nvPr>
        </p:nvSpPr>
        <p:spPr>
          <a:xfrm>
            <a:off x="6430434" y="0"/>
            <a:ext cx="5763686" cy="6858000"/>
          </a:xfrm>
          <a:custGeom>
            <a:avLst/>
            <a:gdLst>
              <a:gd name="connsiteX0" fmla="*/ 0 w 5753919"/>
              <a:gd name="connsiteY0" fmla="*/ 0 h 6858000"/>
              <a:gd name="connsiteX1" fmla="*/ 5753919 w 5753919"/>
              <a:gd name="connsiteY1" fmla="*/ 0 h 6858000"/>
              <a:gd name="connsiteX2" fmla="*/ 5753919 w 5753919"/>
              <a:gd name="connsiteY2" fmla="*/ 6858000 h 6858000"/>
              <a:gd name="connsiteX3" fmla="*/ 5726099 w 5753919"/>
              <a:gd name="connsiteY3" fmla="*/ 6858000 h 6858000"/>
              <a:gd name="connsiteX4" fmla="*/ 5725806 w 5753919"/>
              <a:gd name="connsiteY4" fmla="*/ 6857946 h 6858000"/>
              <a:gd name="connsiteX5" fmla="*/ 5752852 w 5753919"/>
              <a:gd name="connsiteY5" fmla="*/ 6854359 h 6858000"/>
              <a:gd name="connsiteX6" fmla="*/ 5584781 w 5753919"/>
              <a:gd name="connsiteY6" fmla="*/ 6832069 h 6858000"/>
              <a:gd name="connsiteX7" fmla="*/ 0 w 5753919"/>
              <a:gd name="connsiteY7" fmla="*/ 580728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753919" h="6858000">
                <a:moveTo>
                  <a:pt x="0" y="0"/>
                </a:moveTo>
                <a:lnTo>
                  <a:pt x="5753919" y="0"/>
                </a:lnTo>
                <a:lnTo>
                  <a:pt x="5753919" y="6858000"/>
                </a:lnTo>
                <a:lnTo>
                  <a:pt x="5726099" y="6858000"/>
                </a:lnTo>
                <a:lnTo>
                  <a:pt x="5725806" y="6857946"/>
                </a:lnTo>
                <a:lnTo>
                  <a:pt x="5752852" y="6854359"/>
                </a:lnTo>
                <a:lnTo>
                  <a:pt x="5584781" y="6832069"/>
                </a:lnTo>
                <a:lnTo>
                  <a:pt x="0" y="580728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tIns="0" bIns="9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da-DK" dirty="0"/>
              <a:t>Vælg billedpladsholderen </a:t>
            </a:r>
            <a:br>
              <a:rPr lang="da-DK" dirty="0"/>
            </a:br>
            <a:r>
              <a:rPr lang="da-DK" dirty="0"/>
              <a:t>og indsæt billede via </a:t>
            </a:r>
            <a:br>
              <a:rPr lang="da-DK" dirty="0"/>
            </a:b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41" name="Blue"/>
          <p:cNvSpPr>
            <a:spLocks noGrp="1"/>
          </p:cNvSpPr>
          <p:nvPr>
            <p:ph type="body" sz="quarter" idx="20" hasCustomPrompt="1"/>
          </p:nvPr>
        </p:nvSpPr>
        <p:spPr>
          <a:xfrm>
            <a:off x="6430434" y="4761148"/>
            <a:ext cx="5761565" cy="2094839"/>
          </a:xfrm>
          <a:custGeom>
            <a:avLst/>
            <a:gdLst>
              <a:gd name="connsiteX0" fmla="*/ 4321174 w 4321174"/>
              <a:gd name="connsiteY0" fmla="*/ 0 h 1526318"/>
              <a:gd name="connsiteX1" fmla="*/ 4321174 w 4321174"/>
              <a:gd name="connsiteY1" fmla="*/ 1526318 h 1526318"/>
              <a:gd name="connsiteX2" fmla="*/ 0 w 4321174"/>
              <a:gd name="connsiteY2" fmla="*/ 763159 h 1526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21174" h="1526318">
                <a:moveTo>
                  <a:pt x="4321174" y="0"/>
                </a:moveTo>
                <a:lnTo>
                  <a:pt x="4321174" y="1526318"/>
                </a:lnTo>
                <a:lnTo>
                  <a:pt x="0" y="763159"/>
                </a:lnTo>
                <a:close/>
              </a:path>
            </a:pathLst>
          </a:custGeom>
          <a:solidFill>
            <a:schemeClr val="accent2">
              <a:alpha val="9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pic>
        <p:nvPicPr>
          <p:cNvPr id="12" name="Logo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749" y="346665"/>
            <a:ext cx="1404000" cy="256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71860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51">
          <p15:clr>
            <a:srgbClr val="00000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+ billede (B)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rey"/>
          <p:cNvSpPr>
            <a:spLocks/>
          </p:cNvSpPr>
          <p:nvPr userDrawn="1"/>
        </p:nvSpPr>
        <p:spPr bwMode="auto">
          <a:xfrm>
            <a:off x="670984" y="5805488"/>
            <a:ext cx="11521016" cy="1057228"/>
          </a:xfrm>
          <a:custGeom>
            <a:avLst/>
            <a:gdLst>
              <a:gd name="T0" fmla="*/ 0 w 5443"/>
              <a:gd name="T1" fmla="*/ 481 h 481"/>
              <a:gd name="T2" fmla="*/ 5443 w 5443"/>
              <a:gd name="T3" fmla="*/ 481 h 481"/>
              <a:gd name="T4" fmla="*/ 2721 w 5443"/>
              <a:gd name="T5" fmla="*/ 0 h 481"/>
              <a:gd name="T6" fmla="*/ 0 w 5443"/>
              <a:gd name="T7" fmla="*/ 481 h 4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443" h="481">
                <a:moveTo>
                  <a:pt x="0" y="481"/>
                </a:moveTo>
                <a:lnTo>
                  <a:pt x="5443" y="481"/>
                </a:lnTo>
                <a:lnTo>
                  <a:pt x="2721" y="0"/>
                </a:lnTo>
                <a:lnTo>
                  <a:pt x="0" y="48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sz="1800" dirty="0"/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672002" y="1285200"/>
            <a:ext cx="5087449" cy="889200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7"/>
          </p:nvPr>
        </p:nvSpPr>
        <p:spPr>
          <a:xfrm>
            <a:off x="672000" y="2565400"/>
            <a:ext cx="5087451" cy="3240088"/>
          </a:xfrm>
        </p:spPr>
        <p:txBody>
          <a:bodyPr/>
          <a:lstStyle/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styles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4" hasCustomPrompt="1"/>
          </p:nvPr>
        </p:nvSpPr>
        <p:spPr>
          <a:xfrm>
            <a:off x="6430434" y="0"/>
            <a:ext cx="5763686" cy="6858000"/>
          </a:xfrm>
          <a:custGeom>
            <a:avLst/>
            <a:gdLst>
              <a:gd name="connsiteX0" fmla="*/ 0 w 5753919"/>
              <a:gd name="connsiteY0" fmla="*/ 0 h 6858000"/>
              <a:gd name="connsiteX1" fmla="*/ 5753919 w 5753919"/>
              <a:gd name="connsiteY1" fmla="*/ 0 h 6858000"/>
              <a:gd name="connsiteX2" fmla="*/ 5753919 w 5753919"/>
              <a:gd name="connsiteY2" fmla="*/ 6858000 h 6858000"/>
              <a:gd name="connsiteX3" fmla="*/ 5726099 w 5753919"/>
              <a:gd name="connsiteY3" fmla="*/ 6858000 h 6858000"/>
              <a:gd name="connsiteX4" fmla="*/ 5725806 w 5753919"/>
              <a:gd name="connsiteY4" fmla="*/ 6857946 h 6858000"/>
              <a:gd name="connsiteX5" fmla="*/ 5752852 w 5753919"/>
              <a:gd name="connsiteY5" fmla="*/ 6854359 h 6858000"/>
              <a:gd name="connsiteX6" fmla="*/ 5584781 w 5753919"/>
              <a:gd name="connsiteY6" fmla="*/ 6832069 h 6858000"/>
              <a:gd name="connsiteX7" fmla="*/ 0 w 5753919"/>
              <a:gd name="connsiteY7" fmla="*/ 580728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753919" h="6858000">
                <a:moveTo>
                  <a:pt x="0" y="0"/>
                </a:moveTo>
                <a:lnTo>
                  <a:pt x="5753919" y="0"/>
                </a:lnTo>
                <a:lnTo>
                  <a:pt x="5753919" y="6858000"/>
                </a:lnTo>
                <a:lnTo>
                  <a:pt x="5726099" y="6858000"/>
                </a:lnTo>
                <a:lnTo>
                  <a:pt x="5725806" y="6857946"/>
                </a:lnTo>
                <a:lnTo>
                  <a:pt x="5752852" y="6854359"/>
                </a:lnTo>
                <a:lnTo>
                  <a:pt x="5584781" y="6832069"/>
                </a:lnTo>
                <a:lnTo>
                  <a:pt x="0" y="580728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tIns="0" bIns="9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da-DK" dirty="0"/>
              <a:t>Vælg billedpladsholderen </a:t>
            </a:r>
            <a:br>
              <a:rPr lang="da-DK" dirty="0"/>
            </a:br>
            <a:r>
              <a:rPr lang="da-DK" dirty="0"/>
              <a:t>og indsæt billede via </a:t>
            </a:r>
            <a:br>
              <a:rPr lang="da-DK" dirty="0"/>
            </a:b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41" name="Blue"/>
          <p:cNvSpPr>
            <a:spLocks noGrp="1"/>
          </p:cNvSpPr>
          <p:nvPr>
            <p:ph type="body" sz="quarter" idx="20" hasCustomPrompt="1"/>
          </p:nvPr>
        </p:nvSpPr>
        <p:spPr>
          <a:xfrm>
            <a:off x="6430434" y="4761148"/>
            <a:ext cx="5761565" cy="2094839"/>
          </a:xfrm>
          <a:custGeom>
            <a:avLst/>
            <a:gdLst>
              <a:gd name="connsiteX0" fmla="*/ 4321174 w 4321174"/>
              <a:gd name="connsiteY0" fmla="*/ 0 h 1526318"/>
              <a:gd name="connsiteX1" fmla="*/ 4321174 w 4321174"/>
              <a:gd name="connsiteY1" fmla="*/ 1526318 h 1526318"/>
              <a:gd name="connsiteX2" fmla="*/ 0 w 4321174"/>
              <a:gd name="connsiteY2" fmla="*/ 763159 h 1526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21174" h="1526318">
                <a:moveTo>
                  <a:pt x="4321174" y="0"/>
                </a:moveTo>
                <a:lnTo>
                  <a:pt x="4321174" y="1526318"/>
                </a:lnTo>
                <a:lnTo>
                  <a:pt x="0" y="763159"/>
                </a:lnTo>
                <a:close/>
              </a:path>
            </a:pathLst>
          </a:custGeom>
          <a:solidFill>
            <a:schemeClr val="accent3">
              <a:alpha val="9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pic>
        <p:nvPicPr>
          <p:cNvPr id="12" name="Logo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749" y="346665"/>
            <a:ext cx="1404000" cy="256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5183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51">
          <p15:clr>
            <a:srgbClr val="00000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+ billede (B) 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rey"/>
          <p:cNvSpPr>
            <a:spLocks/>
          </p:cNvSpPr>
          <p:nvPr userDrawn="1"/>
        </p:nvSpPr>
        <p:spPr bwMode="auto">
          <a:xfrm>
            <a:off x="670984" y="5805488"/>
            <a:ext cx="11521016" cy="1057228"/>
          </a:xfrm>
          <a:custGeom>
            <a:avLst/>
            <a:gdLst>
              <a:gd name="T0" fmla="*/ 0 w 5443"/>
              <a:gd name="T1" fmla="*/ 481 h 481"/>
              <a:gd name="T2" fmla="*/ 5443 w 5443"/>
              <a:gd name="T3" fmla="*/ 481 h 481"/>
              <a:gd name="T4" fmla="*/ 2721 w 5443"/>
              <a:gd name="T5" fmla="*/ 0 h 481"/>
              <a:gd name="T6" fmla="*/ 0 w 5443"/>
              <a:gd name="T7" fmla="*/ 481 h 4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443" h="481">
                <a:moveTo>
                  <a:pt x="0" y="481"/>
                </a:moveTo>
                <a:lnTo>
                  <a:pt x="5443" y="481"/>
                </a:lnTo>
                <a:lnTo>
                  <a:pt x="2721" y="0"/>
                </a:lnTo>
                <a:lnTo>
                  <a:pt x="0" y="48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sz="1800" dirty="0"/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672002" y="1285200"/>
            <a:ext cx="5087449" cy="889200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7"/>
          </p:nvPr>
        </p:nvSpPr>
        <p:spPr>
          <a:xfrm>
            <a:off x="672000" y="2565400"/>
            <a:ext cx="5087451" cy="3240088"/>
          </a:xfrm>
        </p:spPr>
        <p:txBody>
          <a:bodyPr/>
          <a:lstStyle/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styles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4" hasCustomPrompt="1"/>
          </p:nvPr>
        </p:nvSpPr>
        <p:spPr>
          <a:xfrm>
            <a:off x="6430434" y="0"/>
            <a:ext cx="5763686" cy="6858000"/>
          </a:xfrm>
          <a:custGeom>
            <a:avLst/>
            <a:gdLst>
              <a:gd name="connsiteX0" fmla="*/ 0 w 5753919"/>
              <a:gd name="connsiteY0" fmla="*/ 0 h 6858000"/>
              <a:gd name="connsiteX1" fmla="*/ 5753919 w 5753919"/>
              <a:gd name="connsiteY1" fmla="*/ 0 h 6858000"/>
              <a:gd name="connsiteX2" fmla="*/ 5753919 w 5753919"/>
              <a:gd name="connsiteY2" fmla="*/ 6858000 h 6858000"/>
              <a:gd name="connsiteX3" fmla="*/ 5726099 w 5753919"/>
              <a:gd name="connsiteY3" fmla="*/ 6858000 h 6858000"/>
              <a:gd name="connsiteX4" fmla="*/ 5725806 w 5753919"/>
              <a:gd name="connsiteY4" fmla="*/ 6857946 h 6858000"/>
              <a:gd name="connsiteX5" fmla="*/ 5752852 w 5753919"/>
              <a:gd name="connsiteY5" fmla="*/ 6854359 h 6858000"/>
              <a:gd name="connsiteX6" fmla="*/ 5584781 w 5753919"/>
              <a:gd name="connsiteY6" fmla="*/ 6832069 h 6858000"/>
              <a:gd name="connsiteX7" fmla="*/ 0 w 5753919"/>
              <a:gd name="connsiteY7" fmla="*/ 580728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753919" h="6858000">
                <a:moveTo>
                  <a:pt x="0" y="0"/>
                </a:moveTo>
                <a:lnTo>
                  <a:pt x="5753919" y="0"/>
                </a:lnTo>
                <a:lnTo>
                  <a:pt x="5753919" y="6858000"/>
                </a:lnTo>
                <a:lnTo>
                  <a:pt x="5726099" y="6858000"/>
                </a:lnTo>
                <a:lnTo>
                  <a:pt x="5725806" y="6857946"/>
                </a:lnTo>
                <a:lnTo>
                  <a:pt x="5752852" y="6854359"/>
                </a:lnTo>
                <a:lnTo>
                  <a:pt x="5584781" y="6832069"/>
                </a:lnTo>
                <a:lnTo>
                  <a:pt x="0" y="580728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tIns="0" bIns="9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da-DK" dirty="0"/>
              <a:t>Vælg billedpladsholderen </a:t>
            </a:r>
            <a:br>
              <a:rPr lang="da-DK" dirty="0"/>
            </a:br>
            <a:r>
              <a:rPr lang="da-DK" dirty="0"/>
              <a:t>og indsæt billede via </a:t>
            </a:r>
            <a:br>
              <a:rPr lang="da-DK" dirty="0"/>
            </a:b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41" name="Blue"/>
          <p:cNvSpPr>
            <a:spLocks noGrp="1"/>
          </p:cNvSpPr>
          <p:nvPr>
            <p:ph type="body" sz="quarter" idx="20" hasCustomPrompt="1"/>
          </p:nvPr>
        </p:nvSpPr>
        <p:spPr>
          <a:xfrm>
            <a:off x="6430434" y="4761148"/>
            <a:ext cx="5761565" cy="2094839"/>
          </a:xfrm>
          <a:custGeom>
            <a:avLst/>
            <a:gdLst>
              <a:gd name="connsiteX0" fmla="*/ 4321174 w 4321174"/>
              <a:gd name="connsiteY0" fmla="*/ 0 h 1526318"/>
              <a:gd name="connsiteX1" fmla="*/ 4321174 w 4321174"/>
              <a:gd name="connsiteY1" fmla="*/ 1526318 h 1526318"/>
              <a:gd name="connsiteX2" fmla="*/ 0 w 4321174"/>
              <a:gd name="connsiteY2" fmla="*/ 763159 h 1526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21174" h="1526318">
                <a:moveTo>
                  <a:pt x="4321174" y="0"/>
                </a:moveTo>
                <a:lnTo>
                  <a:pt x="4321174" y="1526318"/>
                </a:lnTo>
                <a:lnTo>
                  <a:pt x="0" y="763159"/>
                </a:lnTo>
                <a:close/>
              </a:path>
            </a:pathLst>
          </a:custGeom>
          <a:solidFill>
            <a:schemeClr val="accent4">
              <a:alpha val="9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pic>
        <p:nvPicPr>
          <p:cNvPr id="12" name="Logo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749" y="346665"/>
            <a:ext cx="1404000" cy="256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95092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51">
          <p15:clr>
            <a:srgbClr val="00000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+ billede (D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1755796 w 12192000"/>
              <a:gd name="connsiteY0" fmla="*/ 6780008 h 6858000"/>
              <a:gd name="connsiteX1" fmla="*/ 12192000 w 12192000"/>
              <a:gd name="connsiteY1" fmla="*/ 6857361 h 6858000"/>
              <a:gd name="connsiteX2" fmla="*/ 12192000 w 12192000"/>
              <a:gd name="connsiteY2" fmla="*/ 6857792 h 6858000"/>
              <a:gd name="connsiteX3" fmla="*/ 0 w 12192000"/>
              <a:gd name="connsiteY3" fmla="*/ 0 h 6858000"/>
              <a:gd name="connsiteX4" fmla="*/ 12192000 w 12192000"/>
              <a:gd name="connsiteY4" fmla="*/ 0 h 6858000"/>
              <a:gd name="connsiteX5" fmla="*/ 12192000 w 12192000"/>
              <a:gd name="connsiteY5" fmla="*/ 5432604 h 6858000"/>
              <a:gd name="connsiteX6" fmla="*/ 8113714 w 12192000"/>
              <a:gd name="connsiteY6" fmla="*/ 6130302 h 6858000"/>
              <a:gd name="connsiteX7" fmla="*/ 8114190 w 12192000"/>
              <a:gd name="connsiteY7" fmla="*/ 6130635 h 6858000"/>
              <a:gd name="connsiteX8" fmla="*/ 8106713 w 12192000"/>
              <a:gd name="connsiteY8" fmla="*/ 6129302 h 6858000"/>
              <a:gd name="connsiteX9" fmla="*/ 4037726 w 12192000"/>
              <a:gd name="connsiteY9" fmla="*/ 6854478 h 6858000"/>
              <a:gd name="connsiteX10" fmla="*/ 4037726 w 12192000"/>
              <a:gd name="connsiteY10" fmla="*/ 6857792 h 6858000"/>
              <a:gd name="connsiteX11" fmla="*/ 12192000 w 12192000"/>
              <a:gd name="connsiteY11" fmla="*/ 6857792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0" fmla="*/ 12192000 w 12192000"/>
              <a:gd name="connsiteY0" fmla="*/ 6857792 h 6858000"/>
              <a:gd name="connsiteX1" fmla="*/ 12192000 w 12192000"/>
              <a:gd name="connsiteY1" fmla="*/ 6857361 h 6858000"/>
              <a:gd name="connsiteX2" fmla="*/ 12192000 w 12192000"/>
              <a:gd name="connsiteY2" fmla="*/ 6857792 h 6858000"/>
              <a:gd name="connsiteX3" fmla="*/ 0 w 12192000"/>
              <a:gd name="connsiteY3" fmla="*/ 0 h 6858000"/>
              <a:gd name="connsiteX4" fmla="*/ 12192000 w 12192000"/>
              <a:gd name="connsiteY4" fmla="*/ 0 h 6858000"/>
              <a:gd name="connsiteX5" fmla="*/ 12192000 w 12192000"/>
              <a:gd name="connsiteY5" fmla="*/ 5432604 h 6858000"/>
              <a:gd name="connsiteX6" fmla="*/ 8113714 w 12192000"/>
              <a:gd name="connsiteY6" fmla="*/ 6130302 h 6858000"/>
              <a:gd name="connsiteX7" fmla="*/ 8114190 w 12192000"/>
              <a:gd name="connsiteY7" fmla="*/ 6130635 h 6858000"/>
              <a:gd name="connsiteX8" fmla="*/ 8106713 w 12192000"/>
              <a:gd name="connsiteY8" fmla="*/ 6129302 h 6858000"/>
              <a:gd name="connsiteX9" fmla="*/ 4037726 w 12192000"/>
              <a:gd name="connsiteY9" fmla="*/ 6854478 h 6858000"/>
              <a:gd name="connsiteX10" fmla="*/ 4037726 w 12192000"/>
              <a:gd name="connsiteY10" fmla="*/ 6857792 h 6858000"/>
              <a:gd name="connsiteX11" fmla="*/ 12192000 w 12192000"/>
              <a:gd name="connsiteY11" fmla="*/ 6857792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12192000 w 12192000"/>
              <a:gd name="connsiteY0" fmla="*/ 6857792 h 6858000"/>
              <a:gd name="connsiteX1" fmla="*/ 12192000 w 12192000"/>
              <a:gd name="connsiteY1" fmla="*/ 6857361 h 6858000"/>
              <a:gd name="connsiteX2" fmla="*/ 12192000 w 12192000"/>
              <a:gd name="connsiteY2" fmla="*/ 6857792 h 6858000"/>
              <a:gd name="connsiteX3" fmla="*/ 0 w 12192000"/>
              <a:gd name="connsiteY3" fmla="*/ 0 h 6858000"/>
              <a:gd name="connsiteX4" fmla="*/ 12192000 w 12192000"/>
              <a:gd name="connsiteY4" fmla="*/ 0 h 6858000"/>
              <a:gd name="connsiteX5" fmla="*/ 12192000 w 12192000"/>
              <a:gd name="connsiteY5" fmla="*/ 5432604 h 6858000"/>
              <a:gd name="connsiteX6" fmla="*/ 8113714 w 12192000"/>
              <a:gd name="connsiteY6" fmla="*/ 6130302 h 6858000"/>
              <a:gd name="connsiteX7" fmla="*/ 8114190 w 12192000"/>
              <a:gd name="connsiteY7" fmla="*/ 6130635 h 6858000"/>
              <a:gd name="connsiteX8" fmla="*/ 8106713 w 12192000"/>
              <a:gd name="connsiteY8" fmla="*/ 6129302 h 6858000"/>
              <a:gd name="connsiteX9" fmla="*/ 4037726 w 12192000"/>
              <a:gd name="connsiteY9" fmla="*/ 6854478 h 6858000"/>
              <a:gd name="connsiteX10" fmla="*/ 4037726 w 12192000"/>
              <a:gd name="connsiteY10" fmla="*/ 6857792 h 6858000"/>
              <a:gd name="connsiteX11" fmla="*/ 12192000 w 12192000"/>
              <a:gd name="connsiteY11" fmla="*/ 6857792 h 6858000"/>
              <a:gd name="connsiteX12" fmla="*/ 0 w 12192000"/>
              <a:gd name="connsiteY12" fmla="*/ 6858000 h 6858000"/>
              <a:gd name="connsiteX13" fmla="*/ 0 w 12192000"/>
              <a:gd name="connsiteY13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6858000">
                <a:moveTo>
                  <a:pt x="12192000" y="6857792"/>
                </a:moveTo>
                <a:lnTo>
                  <a:pt x="12192000" y="6857361"/>
                </a:lnTo>
                <a:lnTo>
                  <a:pt x="12192000" y="685779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5432604"/>
                </a:lnTo>
                <a:lnTo>
                  <a:pt x="8113714" y="6130302"/>
                </a:lnTo>
                <a:lnTo>
                  <a:pt x="8114190" y="6130635"/>
                </a:lnTo>
                <a:lnTo>
                  <a:pt x="8106713" y="6129302"/>
                </a:lnTo>
                <a:lnTo>
                  <a:pt x="4037726" y="6854478"/>
                </a:lnTo>
                <a:lnTo>
                  <a:pt x="4037726" y="6857792"/>
                </a:lnTo>
                <a:lnTo>
                  <a:pt x="12192000" y="6857792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504000" bIns="1044000" anchor="ctr" anchorCtr="0">
            <a:noAutofit/>
          </a:bodyPr>
          <a:lstStyle>
            <a:lvl1pPr algn="l">
              <a:defRPr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>
          <a:xfrm>
            <a:off x="8113185" y="1458000"/>
            <a:ext cx="4082400" cy="4676400"/>
          </a:xfrm>
          <a:custGeom>
            <a:avLst/>
            <a:gdLst>
              <a:gd name="connsiteX0" fmla="*/ 4054602 w 4078815"/>
              <a:gd name="connsiteY0" fmla="*/ 0 h 4671791"/>
              <a:gd name="connsiteX1" fmla="*/ 4078815 w 4078815"/>
              <a:gd name="connsiteY1" fmla="*/ 0 h 4671791"/>
              <a:gd name="connsiteX2" fmla="*/ 4075382 w 4078815"/>
              <a:gd name="connsiteY2" fmla="*/ 3976900 h 4671791"/>
              <a:gd name="connsiteX3" fmla="*/ 13427 w 4078815"/>
              <a:gd name="connsiteY3" fmla="*/ 4671791 h 4671791"/>
              <a:gd name="connsiteX4" fmla="*/ 0 w 4078815"/>
              <a:gd name="connsiteY4" fmla="*/ 4671791 h 4671791"/>
              <a:gd name="connsiteX5" fmla="*/ 0 w 4078815"/>
              <a:gd name="connsiteY5" fmla="*/ 694290 h 4671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78815" h="4671791">
                <a:moveTo>
                  <a:pt x="4054602" y="0"/>
                </a:moveTo>
                <a:lnTo>
                  <a:pt x="4078815" y="0"/>
                </a:lnTo>
                <a:cubicBezTo>
                  <a:pt x="4077671" y="1325634"/>
                  <a:pt x="4076526" y="2651266"/>
                  <a:pt x="4075382" y="3976900"/>
                </a:cubicBezTo>
                <a:lnTo>
                  <a:pt x="13427" y="4671791"/>
                </a:lnTo>
                <a:lnTo>
                  <a:pt x="0" y="4671791"/>
                </a:lnTo>
                <a:lnTo>
                  <a:pt x="0" y="694290"/>
                </a:lnTo>
                <a:close/>
              </a:path>
            </a:pathLst>
          </a:custGeom>
          <a:solidFill>
            <a:schemeClr val="accent1">
              <a:alpha val="90000"/>
            </a:schemeClr>
          </a:solidFill>
        </p:spPr>
        <p:txBody>
          <a:bodyPr wrap="square" lIns="666000" tIns="1296000" rIns="666000">
            <a:noAutofit/>
          </a:bodyPr>
          <a:lstStyle>
            <a:lvl1pPr>
              <a:lnSpc>
                <a:spcPct val="92000"/>
              </a:lnSpc>
              <a:defRPr sz="18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7" hasCustomPrompt="1"/>
          </p:nvPr>
        </p:nvSpPr>
        <p:spPr>
          <a:xfrm>
            <a:off x="8113185" y="3430800"/>
            <a:ext cx="4081497" cy="2001600"/>
          </a:xfrm>
        </p:spPr>
        <p:txBody>
          <a:bodyPr lIns="684000" rIns="684000"/>
          <a:lstStyle>
            <a:lvl1pPr marL="0" indent="0"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5pPr>
            <a:lvl6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6pPr>
            <a:lvl7pPr>
              <a:lnSpc>
                <a:spcPct val="110000"/>
              </a:lnSpc>
              <a:spcBef>
                <a:spcPts val="300"/>
              </a:spcBef>
              <a:defRPr>
                <a:solidFill>
                  <a:schemeClr val="bg1"/>
                </a:solidFill>
              </a:defRPr>
            </a:lvl7pPr>
            <a:lvl8pPr>
              <a:lnSpc>
                <a:spcPct val="110000"/>
              </a:lnSpc>
              <a:spcBef>
                <a:spcPts val="300"/>
              </a:spcBef>
              <a:defRPr>
                <a:solidFill>
                  <a:schemeClr val="bg1"/>
                </a:solidFill>
              </a:defRPr>
            </a:lvl8pPr>
            <a:lvl9pPr>
              <a:lnSpc>
                <a:spcPct val="110000"/>
              </a:lnSpc>
              <a:spcBef>
                <a:spcPts val="300"/>
              </a:spcBef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styles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17" name="TextBox 16"/>
          <p:cNvSpPr txBox="1">
            <a:spLocks/>
          </p:cNvSpPr>
          <p:nvPr userDrawn="1"/>
        </p:nvSpPr>
        <p:spPr>
          <a:xfrm>
            <a:off x="8113714" y="5432400"/>
            <a:ext cx="4081871" cy="1425600"/>
          </a:xfrm>
          <a:custGeom>
            <a:avLst/>
            <a:gdLst>
              <a:gd name="connsiteX0" fmla="*/ 4079472 w 4081871"/>
              <a:gd name="connsiteY0" fmla="*/ 0 h 1425595"/>
              <a:gd name="connsiteX1" fmla="*/ 4080004 w 4081871"/>
              <a:gd name="connsiteY1" fmla="*/ 0 h 1425595"/>
              <a:gd name="connsiteX2" fmla="*/ 4081871 w 4081871"/>
              <a:gd name="connsiteY2" fmla="*/ 1401578 h 1425595"/>
              <a:gd name="connsiteX3" fmla="*/ 4081871 w 4081871"/>
              <a:gd name="connsiteY3" fmla="*/ 1425595 h 1425595"/>
              <a:gd name="connsiteX4" fmla="*/ 7353 w 4081871"/>
              <a:gd name="connsiteY4" fmla="*/ 703055 h 1425595"/>
              <a:gd name="connsiteX5" fmla="*/ 0 w 4081871"/>
              <a:gd name="connsiteY5" fmla="*/ 697901 h 14255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81871" h="1425595">
                <a:moveTo>
                  <a:pt x="4079472" y="0"/>
                </a:moveTo>
                <a:lnTo>
                  <a:pt x="4080004" y="0"/>
                </a:lnTo>
                <a:lnTo>
                  <a:pt x="4081871" y="1401578"/>
                </a:lnTo>
                <a:lnTo>
                  <a:pt x="4081871" y="1425595"/>
                </a:lnTo>
                <a:lnTo>
                  <a:pt x="7353" y="703055"/>
                </a:lnTo>
                <a:lnTo>
                  <a:pt x="0" y="697901"/>
                </a:lnTo>
                <a:close/>
              </a:path>
            </a:pathLst>
          </a:custGeom>
          <a:solidFill>
            <a:srgbClr val="061C48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700"/>
              </a:spcBef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24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0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56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56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756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756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756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100" dirty="0"/>
              <a:t>.</a:t>
            </a:r>
            <a:endParaRPr lang="da-DK"/>
          </a:p>
        </p:txBody>
      </p:sp>
      <p:sp>
        <p:nvSpPr>
          <p:cNvPr id="19" name="Text Placeholder 3"/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684000" y="345600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487629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515">
          <p15:clr>
            <a:srgbClr val="000000"/>
          </p15:clr>
        </p15:guide>
        <p15:guide id="3" pos="3833">
          <p15:clr>
            <a:srgbClr val="00000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+ billede (D) 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1755796 w 12192000"/>
              <a:gd name="connsiteY0" fmla="*/ 6780008 h 6858000"/>
              <a:gd name="connsiteX1" fmla="*/ 12192000 w 12192000"/>
              <a:gd name="connsiteY1" fmla="*/ 6857361 h 6858000"/>
              <a:gd name="connsiteX2" fmla="*/ 12192000 w 12192000"/>
              <a:gd name="connsiteY2" fmla="*/ 6857792 h 6858000"/>
              <a:gd name="connsiteX3" fmla="*/ 0 w 12192000"/>
              <a:gd name="connsiteY3" fmla="*/ 0 h 6858000"/>
              <a:gd name="connsiteX4" fmla="*/ 12192000 w 12192000"/>
              <a:gd name="connsiteY4" fmla="*/ 0 h 6858000"/>
              <a:gd name="connsiteX5" fmla="*/ 12192000 w 12192000"/>
              <a:gd name="connsiteY5" fmla="*/ 5432604 h 6858000"/>
              <a:gd name="connsiteX6" fmla="*/ 8113714 w 12192000"/>
              <a:gd name="connsiteY6" fmla="*/ 6130302 h 6858000"/>
              <a:gd name="connsiteX7" fmla="*/ 8114190 w 12192000"/>
              <a:gd name="connsiteY7" fmla="*/ 6130635 h 6858000"/>
              <a:gd name="connsiteX8" fmla="*/ 8106713 w 12192000"/>
              <a:gd name="connsiteY8" fmla="*/ 6129302 h 6858000"/>
              <a:gd name="connsiteX9" fmla="*/ 4037726 w 12192000"/>
              <a:gd name="connsiteY9" fmla="*/ 6854478 h 6858000"/>
              <a:gd name="connsiteX10" fmla="*/ 4037726 w 12192000"/>
              <a:gd name="connsiteY10" fmla="*/ 6857792 h 6858000"/>
              <a:gd name="connsiteX11" fmla="*/ 12192000 w 12192000"/>
              <a:gd name="connsiteY11" fmla="*/ 6857792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0" fmla="*/ 12192000 w 12192000"/>
              <a:gd name="connsiteY0" fmla="*/ 6857792 h 6858000"/>
              <a:gd name="connsiteX1" fmla="*/ 12192000 w 12192000"/>
              <a:gd name="connsiteY1" fmla="*/ 6857361 h 6858000"/>
              <a:gd name="connsiteX2" fmla="*/ 12192000 w 12192000"/>
              <a:gd name="connsiteY2" fmla="*/ 6857792 h 6858000"/>
              <a:gd name="connsiteX3" fmla="*/ 0 w 12192000"/>
              <a:gd name="connsiteY3" fmla="*/ 0 h 6858000"/>
              <a:gd name="connsiteX4" fmla="*/ 12192000 w 12192000"/>
              <a:gd name="connsiteY4" fmla="*/ 0 h 6858000"/>
              <a:gd name="connsiteX5" fmla="*/ 12192000 w 12192000"/>
              <a:gd name="connsiteY5" fmla="*/ 5432604 h 6858000"/>
              <a:gd name="connsiteX6" fmla="*/ 8113714 w 12192000"/>
              <a:gd name="connsiteY6" fmla="*/ 6130302 h 6858000"/>
              <a:gd name="connsiteX7" fmla="*/ 8114190 w 12192000"/>
              <a:gd name="connsiteY7" fmla="*/ 6130635 h 6858000"/>
              <a:gd name="connsiteX8" fmla="*/ 8106713 w 12192000"/>
              <a:gd name="connsiteY8" fmla="*/ 6129302 h 6858000"/>
              <a:gd name="connsiteX9" fmla="*/ 4037726 w 12192000"/>
              <a:gd name="connsiteY9" fmla="*/ 6854478 h 6858000"/>
              <a:gd name="connsiteX10" fmla="*/ 4037726 w 12192000"/>
              <a:gd name="connsiteY10" fmla="*/ 6857792 h 6858000"/>
              <a:gd name="connsiteX11" fmla="*/ 12192000 w 12192000"/>
              <a:gd name="connsiteY11" fmla="*/ 6857792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12192000 w 12192000"/>
              <a:gd name="connsiteY0" fmla="*/ 6857792 h 6858000"/>
              <a:gd name="connsiteX1" fmla="*/ 12192000 w 12192000"/>
              <a:gd name="connsiteY1" fmla="*/ 6857361 h 6858000"/>
              <a:gd name="connsiteX2" fmla="*/ 12192000 w 12192000"/>
              <a:gd name="connsiteY2" fmla="*/ 6857792 h 6858000"/>
              <a:gd name="connsiteX3" fmla="*/ 0 w 12192000"/>
              <a:gd name="connsiteY3" fmla="*/ 0 h 6858000"/>
              <a:gd name="connsiteX4" fmla="*/ 12192000 w 12192000"/>
              <a:gd name="connsiteY4" fmla="*/ 0 h 6858000"/>
              <a:gd name="connsiteX5" fmla="*/ 12192000 w 12192000"/>
              <a:gd name="connsiteY5" fmla="*/ 5432604 h 6858000"/>
              <a:gd name="connsiteX6" fmla="*/ 8113714 w 12192000"/>
              <a:gd name="connsiteY6" fmla="*/ 6130302 h 6858000"/>
              <a:gd name="connsiteX7" fmla="*/ 8114190 w 12192000"/>
              <a:gd name="connsiteY7" fmla="*/ 6130635 h 6858000"/>
              <a:gd name="connsiteX8" fmla="*/ 8106713 w 12192000"/>
              <a:gd name="connsiteY8" fmla="*/ 6129302 h 6858000"/>
              <a:gd name="connsiteX9" fmla="*/ 4037726 w 12192000"/>
              <a:gd name="connsiteY9" fmla="*/ 6854478 h 6858000"/>
              <a:gd name="connsiteX10" fmla="*/ 4037726 w 12192000"/>
              <a:gd name="connsiteY10" fmla="*/ 6857792 h 6858000"/>
              <a:gd name="connsiteX11" fmla="*/ 12192000 w 12192000"/>
              <a:gd name="connsiteY11" fmla="*/ 6857792 h 6858000"/>
              <a:gd name="connsiteX12" fmla="*/ 0 w 12192000"/>
              <a:gd name="connsiteY12" fmla="*/ 6858000 h 6858000"/>
              <a:gd name="connsiteX13" fmla="*/ 0 w 12192000"/>
              <a:gd name="connsiteY13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6858000">
                <a:moveTo>
                  <a:pt x="12192000" y="6857792"/>
                </a:moveTo>
                <a:lnTo>
                  <a:pt x="12192000" y="6857361"/>
                </a:lnTo>
                <a:lnTo>
                  <a:pt x="12192000" y="685779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5432604"/>
                </a:lnTo>
                <a:lnTo>
                  <a:pt x="8113714" y="6130302"/>
                </a:lnTo>
                <a:lnTo>
                  <a:pt x="8114190" y="6130635"/>
                </a:lnTo>
                <a:lnTo>
                  <a:pt x="8106713" y="6129302"/>
                </a:lnTo>
                <a:lnTo>
                  <a:pt x="4037726" y="6854478"/>
                </a:lnTo>
                <a:lnTo>
                  <a:pt x="4037726" y="6857792"/>
                </a:lnTo>
                <a:lnTo>
                  <a:pt x="12192000" y="6857792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504000" bIns="1044000" anchor="ctr" anchorCtr="0">
            <a:noAutofit/>
          </a:bodyPr>
          <a:lstStyle>
            <a:lvl1pPr algn="l">
              <a:defRPr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>
          <a:xfrm>
            <a:off x="8113185" y="1458000"/>
            <a:ext cx="4082400" cy="4676400"/>
          </a:xfrm>
          <a:custGeom>
            <a:avLst/>
            <a:gdLst>
              <a:gd name="connsiteX0" fmla="*/ 4054602 w 4078815"/>
              <a:gd name="connsiteY0" fmla="*/ 0 h 4671791"/>
              <a:gd name="connsiteX1" fmla="*/ 4078815 w 4078815"/>
              <a:gd name="connsiteY1" fmla="*/ 0 h 4671791"/>
              <a:gd name="connsiteX2" fmla="*/ 4075382 w 4078815"/>
              <a:gd name="connsiteY2" fmla="*/ 3976900 h 4671791"/>
              <a:gd name="connsiteX3" fmla="*/ 13427 w 4078815"/>
              <a:gd name="connsiteY3" fmla="*/ 4671791 h 4671791"/>
              <a:gd name="connsiteX4" fmla="*/ 0 w 4078815"/>
              <a:gd name="connsiteY4" fmla="*/ 4671791 h 4671791"/>
              <a:gd name="connsiteX5" fmla="*/ 0 w 4078815"/>
              <a:gd name="connsiteY5" fmla="*/ 694290 h 4671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78815" h="4671791">
                <a:moveTo>
                  <a:pt x="4054602" y="0"/>
                </a:moveTo>
                <a:lnTo>
                  <a:pt x="4078815" y="0"/>
                </a:lnTo>
                <a:cubicBezTo>
                  <a:pt x="4077671" y="1325634"/>
                  <a:pt x="4076526" y="2651266"/>
                  <a:pt x="4075382" y="3976900"/>
                </a:cubicBezTo>
                <a:lnTo>
                  <a:pt x="13427" y="4671791"/>
                </a:lnTo>
                <a:lnTo>
                  <a:pt x="0" y="4671791"/>
                </a:lnTo>
                <a:lnTo>
                  <a:pt x="0" y="694290"/>
                </a:lnTo>
                <a:close/>
              </a:path>
            </a:pathLst>
          </a:custGeom>
          <a:solidFill>
            <a:schemeClr val="accent2">
              <a:alpha val="90000"/>
            </a:schemeClr>
          </a:solidFill>
        </p:spPr>
        <p:txBody>
          <a:bodyPr wrap="square" lIns="666000" tIns="1296000" rIns="666000">
            <a:noAutofit/>
          </a:bodyPr>
          <a:lstStyle>
            <a:lvl1pPr>
              <a:lnSpc>
                <a:spcPct val="92000"/>
              </a:lnSpc>
              <a:defRPr sz="18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7" hasCustomPrompt="1"/>
          </p:nvPr>
        </p:nvSpPr>
        <p:spPr>
          <a:xfrm>
            <a:off x="8113185" y="3430800"/>
            <a:ext cx="4081497" cy="2001600"/>
          </a:xfrm>
        </p:spPr>
        <p:txBody>
          <a:bodyPr lIns="684000" rIns="684000"/>
          <a:lstStyle>
            <a:lvl1pPr marL="0" indent="0"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5pPr>
            <a:lvl6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6pPr>
            <a:lvl7pPr>
              <a:lnSpc>
                <a:spcPct val="110000"/>
              </a:lnSpc>
              <a:spcBef>
                <a:spcPts val="300"/>
              </a:spcBef>
              <a:defRPr>
                <a:solidFill>
                  <a:schemeClr val="bg1"/>
                </a:solidFill>
              </a:defRPr>
            </a:lvl7pPr>
            <a:lvl8pPr>
              <a:lnSpc>
                <a:spcPct val="110000"/>
              </a:lnSpc>
              <a:spcBef>
                <a:spcPts val="300"/>
              </a:spcBef>
              <a:defRPr>
                <a:solidFill>
                  <a:schemeClr val="bg1"/>
                </a:solidFill>
              </a:defRPr>
            </a:lvl8pPr>
            <a:lvl9pPr>
              <a:lnSpc>
                <a:spcPct val="110000"/>
              </a:lnSpc>
              <a:spcBef>
                <a:spcPts val="300"/>
              </a:spcBef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styles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17" name="TextBox 16"/>
          <p:cNvSpPr txBox="1">
            <a:spLocks/>
          </p:cNvSpPr>
          <p:nvPr userDrawn="1"/>
        </p:nvSpPr>
        <p:spPr>
          <a:xfrm>
            <a:off x="8113714" y="5432400"/>
            <a:ext cx="4081871" cy="1425600"/>
          </a:xfrm>
          <a:custGeom>
            <a:avLst/>
            <a:gdLst>
              <a:gd name="connsiteX0" fmla="*/ 4079472 w 4081871"/>
              <a:gd name="connsiteY0" fmla="*/ 0 h 1425595"/>
              <a:gd name="connsiteX1" fmla="*/ 4080004 w 4081871"/>
              <a:gd name="connsiteY1" fmla="*/ 0 h 1425595"/>
              <a:gd name="connsiteX2" fmla="*/ 4081871 w 4081871"/>
              <a:gd name="connsiteY2" fmla="*/ 1401578 h 1425595"/>
              <a:gd name="connsiteX3" fmla="*/ 4081871 w 4081871"/>
              <a:gd name="connsiteY3" fmla="*/ 1425595 h 1425595"/>
              <a:gd name="connsiteX4" fmla="*/ 7353 w 4081871"/>
              <a:gd name="connsiteY4" fmla="*/ 703055 h 1425595"/>
              <a:gd name="connsiteX5" fmla="*/ 0 w 4081871"/>
              <a:gd name="connsiteY5" fmla="*/ 697901 h 14255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81871" h="1425595">
                <a:moveTo>
                  <a:pt x="4079472" y="0"/>
                </a:moveTo>
                <a:lnTo>
                  <a:pt x="4080004" y="0"/>
                </a:lnTo>
                <a:lnTo>
                  <a:pt x="4081871" y="1401578"/>
                </a:lnTo>
                <a:lnTo>
                  <a:pt x="4081871" y="1425595"/>
                </a:lnTo>
                <a:lnTo>
                  <a:pt x="7353" y="703055"/>
                </a:lnTo>
                <a:lnTo>
                  <a:pt x="0" y="697901"/>
                </a:lnTo>
                <a:close/>
              </a:path>
            </a:pathLst>
          </a:custGeom>
          <a:solidFill>
            <a:srgbClr val="27A1BD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700"/>
              </a:spcBef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24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0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56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56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756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756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756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100" dirty="0"/>
              <a:t>.</a:t>
            </a:r>
            <a:endParaRPr lang="da-DK"/>
          </a:p>
        </p:txBody>
      </p:sp>
      <p:sp>
        <p:nvSpPr>
          <p:cNvPr id="19" name="Text Placeholder 3"/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684000" y="345600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48144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515">
          <p15:clr>
            <a:srgbClr val="000000"/>
          </p15:clr>
        </p15:guide>
        <p15:guide id="3" pos="3833">
          <p15:clr>
            <a:srgbClr val="00000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+ billede (D)  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1755796 w 12192000"/>
              <a:gd name="connsiteY0" fmla="*/ 6780008 h 6858000"/>
              <a:gd name="connsiteX1" fmla="*/ 12192000 w 12192000"/>
              <a:gd name="connsiteY1" fmla="*/ 6857361 h 6858000"/>
              <a:gd name="connsiteX2" fmla="*/ 12192000 w 12192000"/>
              <a:gd name="connsiteY2" fmla="*/ 6857792 h 6858000"/>
              <a:gd name="connsiteX3" fmla="*/ 0 w 12192000"/>
              <a:gd name="connsiteY3" fmla="*/ 0 h 6858000"/>
              <a:gd name="connsiteX4" fmla="*/ 12192000 w 12192000"/>
              <a:gd name="connsiteY4" fmla="*/ 0 h 6858000"/>
              <a:gd name="connsiteX5" fmla="*/ 12192000 w 12192000"/>
              <a:gd name="connsiteY5" fmla="*/ 5432604 h 6858000"/>
              <a:gd name="connsiteX6" fmla="*/ 8113714 w 12192000"/>
              <a:gd name="connsiteY6" fmla="*/ 6130302 h 6858000"/>
              <a:gd name="connsiteX7" fmla="*/ 8114190 w 12192000"/>
              <a:gd name="connsiteY7" fmla="*/ 6130635 h 6858000"/>
              <a:gd name="connsiteX8" fmla="*/ 8106713 w 12192000"/>
              <a:gd name="connsiteY8" fmla="*/ 6129302 h 6858000"/>
              <a:gd name="connsiteX9" fmla="*/ 4037726 w 12192000"/>
              <a:gd name="connsiteY9" fmla="*/ 6854478 h 6858000"/>
              <a:gd name="connsiteX10" fmla="*/ 4037726 w 12192000"/>
              <a:gd name="connsiteY10" fmla="*/ 6857792 h 6858000"/>
              <a:gd name="connsiteX11" fmla="*/ 12192000 w 12192000"/>
              <a:gd name="connsiteY11" fmla="*/ 6857792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0" fmla="*/ 12192000 w 12192000"/>
              <a:gd name="connsiteY0" fmla="*/ 6857792 h 6858000"/>
              <a:gd name="connsiteX1" fmla="*/ 12192000 w 12192000"/>
              <a:gd name="connsiteY1" fmla="*/ 6857361 h 6858000"/>
              <a:gd name="connsiteX2" fmla="*/ 12192000 w 12192000"/>
              <a:gd name="connsiteY2" fmla="*/ 6857792 h 6858000"/>
              <a:gd name="connsiteX3" fmla="*/ 0 w 12192000"/>
              <a:gd name="connsiteY3" fmla="*/ 0 h 6858000"/>
              <a:gd name="connsiteX4" fmla="*/ 12192000 w 12192000"/>
              <a:gd name="connsiteY4" fmla="*/ 0 h 6858000"/>
              <a:gd name="connsiteX5" fmla="*/ 12192000 w 12192000"/>
              <a:gd name="connsiteY5" fmla="*/ 5432604 h 6858000"/>
              <a:gd name="connsiteX6" fmla="*/ 8113714 w 12192000"/>
              <a:gd name="connsiteY6" fmla="*/ 6130302 h 6858000"/>
              <a:gd name="connsiteX7" fmla="*/ 8114190 w 12192000"/>
              <a:gd name="connsiteY7" fmla="*/ 6130635 h 6858000"/>
              <a:gd name="connsiteX8" fmla="*/ 8106713 w 12192000"/>
              <a:gd name="connsiteY8" fmla="*/ 6129302 h 6858000"/>
              <a:gd name="connsiteX9" fmla="*/ 4037726 w 12192000"/>
              <a:gd name="connsiteY9" fmla="*/ 6854478 h 6858000"/>
              <a:gd name="connsiteX10" fmla="*/ 4037726 w 12192000"/>
              <a:gd name="connsiteY10" fmla="*/ 6857792 h 6858000"/>
              <a:gd name="connsiteX11" fmla="*/ 12192000 w 12192000"/>
              <a:gd name="connsiteY11" fmla="*/ 6857792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12192000 w 12192000"/>
              <a:gd name="connsiteY0" fmla="*/ 6857792 h 6858000"/>
              <a:gd name="connsiteX1" fmla="*/ 12192000 w 12192000"/>
              <a:gd name="connsiteY1" fmla="*/ 6857361 h 6858000"/>
              <a:gd name="connsiteX2" fmla="*/ 12192000 w 12192000"/>
              <a:gd name="connsiteY2" fmla="*/ 6857792 h 6858000"/>
              <a:gd name="connsiteX3" fmla="*/ 0 w 12192000"/>
              <a:gd name="connsiteY3" fmla="*/ 0 h 6858000"/>
              <a:gd name="connsiteX4" fmla="*/ 12192000 w 12192000"/>
              <a:gd name="connsiteY4" fmla="*/ 0 h 6858000"/>
              <a:gd name="connsiteX5" fmla="*/ 12192000 w 12192000"/>
              <a:gd name="connsiteY5" fmla="*/ 5432604 h 6858000"/>
              <a:gd name="connsiteX6" fmla="*/ 8113714 w 12192000"/>
              <a:gd name="connsiteY6" fmla="*/ 6130302 h 6858000"/>
              <a:gd name="connsiteX7" fmla="*/ 8114190 w 12192000"/>
              <a:gd name="connsiteY7" fmla="*/ 6130635 h 6858000"/>
              <a:gd name="connsiteX8" fmla="*/ 8106713 w 12192000"/>
              <a:gd name="connsiteY8" fmla="*/ 6129302 h 6858000"/>
              <a:gd name="connsiteX9" fmla="*/ 4037726 w 12192000"/>
              <a:gd name="connsiteY9" fmla="*/ 6854478 h 6858000"/>
              <a:gd name="connsiteX10" fmla="*/ 4037726 w 12192000"/>
              <a:gd name="connsiteY10" fmla="*/ 6857792 h 6858000"/>
              <a:gd name="connsiteX11" fmla="*/ 12192000 w 12192000"/>
              <a:gd name="connsiteY11" fmla="*/ 6857792 h 6858000"/>
              <a:gd name="connsiteX12" fmla="*/ 0 w 12192000"/>
              <a:gd name="connsiteY12" fmla="*/ 6858000 h 6858000"/>
              <a:gd name="connsiteX13" fmla="*/ 0 w 12192000"/>
              <a:gd name="connsiteY13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6858000">
                <a:moveTo>
                  <a:pt x="12192000" y="6857792"/>
                </a:moveTo>
                <a:lnTo>
                  <a:pt x="12192000" y="6857361"/>
                </a:lnTo>
                <a:lnTo>
                  <a:pt x="12192000" y="685779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5432604"/>
                </a:lnTo>
                <a:lnTo>
                  <a:pt x="8113714" y="6130302"/>
                </a:lnTo>
                <a:lnTo>
                  <a:pt x="8114190" y="6130635"/>
                </a:lnTo>
                <a:lnTo>
                  <a:pt x="8106713" y="6129302"/>
                </a:lnTo>
                <a:lnTo>
                  <a:pt x="4037726" y="6854478"/>
                </a:lnTo>
                <a:lnTo>
                  <a:pt x="4037726" y="6857792"/>
                </a:lnTo>
                <a:lnTo>
                  <a:pt x="12192000" y="6857792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504000" bIns="1044000" anchor="ctr" anchorCtr="0">
            <a:noAutofit/>
          </a:bodyPr>
          <a:lstStyle>
            <a:lvl1pPr algn="l">
              <a:defRPr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>
          <a:xfrm>
            <a:off x="8113185" y="1458000"/>
            <a:ext cx="4082400" cy="4676400"/>
          </a:xfrm>
          <a:custGeom>
            <a:avLst/>
            <a:gdLst>
              <a:gd name="connsiteX0" fmla="*/ 4054602 w 4078815"/>
              <a:gd name="connsiteY0" fmla="*/ 0 h 4671791"/>
              <a:gd name="connsiteX1" fmla="*/ 4078815 w 4078815"/>
              <a:gd name="connsiteY1" fmla="*/ 0 h 4671791"/>
              <a:gd name="connsiteX2" fmla="*/ 4075382 w 4078815"/>
              <a:gd name="connsiteY2" fmla="*/ 3976900 h 4671791"/>
              <a:gd name="connsiteX3" fmla="*/ 13427 w 4078815"/>
              <a:gd name="connsiteY3" fmla="*/ 4671791 h 4671791"/>
              <a:gd name="connsiteX4" fmla="*/ 0 w 4078815"/>
              <a:gd name="connsiteY4" fmla="*/ 4671791 h 4671791"/>
              <a:gd name="connsiteX5" fmla="*/ 0 w 4078815"/>
              <a:gd name="connsiteY5" fmla="*/ 694290 h 4671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78815" h="4671791">
                <a:moveTo>
                  <a:pt x="4054602" y="0"/>
                </a:moveTo>
                <a:lnTo>
                  <a:pt x="4078815" y="0"/>
                </a:lnTo>
                <a:cubicBezTo>
                  <a:pt x="4077671" y="1325634"/>
                  <a:pt x="4076526" y="2651266"/>
                  <a:pt x="4075382" y="3976900"/>
                </a:cubicBezTo>
                <a:lnTo>
                  <a:pt x="13427" y="4671791"/>
                </a:lnTo>
                <a:lnTo>
                  <a:pt x="0" y="4671791"/>
                </a:lnTo>
                <a:lnTo>
                  <a:pt x="0" y="694290"/>
                </a:lnTo>
                <a:close/>
              </a:path>
            </a:pathLst>
          </a:custGeom>
          <a:solidFill>
            <a:schemeClr val="accent3">
              <a:alpha val="90000"/>
            </a:schemeClr>
          </a:solidFill>
        </p:spPr>
        <p:txBody>
          <a:bodyPr wrap="square" lIns="666000" tIns="1296000" rIns="666000">
            <a:noAutofit/>
          </a:bodyPr>
          <a:lstStyle>
            <a:lvl1pPr>
              <a:lnSpc>
                <a:spcPct val="92000"/>
              </a:lnSpc>
              <a:defRPr sz="18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7" hasCustomPrompt="1"/>
          </p:nvPr>
        </p:nvSpPr>
        <p:spPr>
          <a:xfrm>
            <a:off x="8113185" y="3430800"/>
            <a:ext cx="4081497" cy="2001600"/>
          </a:xfrm>
        </p:spPr>
        <p:txBody>
          <a:bodyPr lIns="684000" rIns="684000"/>
          <a:lstStyle>
            <a:lvl1pPr marL="0" indent="0"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5pPr>
            <a:lvl6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6pPr>
            <a:lvl7pPr>
              <a:lnSpc>
                <a:spcPct val="110000"/>
              </a:lnSpc>
              <a:spcBef>
                <a:spcPts val="300"/>
              </a:spcBef>
              <a:defRPr>
                <a:solidFill>
                  <a:schemeClr val="bg1"/>
                </a:solidFill>
              </a:defRPr>
            </a:lvl7pPr>
            <a:lvl8pPr>
              <a:lnSpc>
                <a:spcPct val="110000"/>
              </a:lnSpc>
              <a:spcBef>
                <a:spcPts val="300"/>
              </a:spcBef>
              <a:defRPr>
                <a:solidFill>
                  <a:schemeClr val="bg1"/>
                </a:solidFill>
              </a:defRPr>
            </a:lvl8pPr>
            <a:lvl9pPr>
              <a:lnSpc>
                <a:spcPct val="110000"/>
              </a:lnSpc>
              <a:spcBef>
                <a:spcPts val="300"/>
              </a:spcBef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styles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17" name="TextBox 16"/>
          <p:cNvSpPr txBox="1">
            <a:spLocks/>
          </p:cNvSpPr>
          <p:nvPr userDrawn="1"/>
        </p:nvSpPr>
        <p:spPr>
          <a:xfrm>
            <a:off x="8113714" y="5432400"/>
            <a:ext cx="4081871" cy="1425600"/>
          </a:xfrm>
          <a:custGeom>
            <a:avLst/>
            <a:gdLst>
              <a:gd name="connsiteX0" fmla="*/ 4079472 w 4081871"/>
              <a:gd name="connsiteY0" fmla="*/ 0 h 1425595"/>
              <a:gd name="connsiteX1" fmla="*/ 4080004 w 4081871"/>
              <a:gd name="connsiteY1" fmla="*/ 0 h 1425595"/>
              <a:gd name="connsiteX2" fmla="*/ 4081871 w 4081871"/>
              <a:gd name="connsiteY2" fmla="*/ 1401578 h 1425595"/>
              <a:gd name="connsiteX3" fmla="*/ 4081871 w 4081871"/>
              <a:gd name="connsiteY3" fmla="*/ 1425595 h 1425595"/>
              <a:gd name="connsiteX4" fmla="*/ 7353 w 4081871"/>
              <a:gd name="connsiteY4" fmla="*/ 703055 h 1425595"/>
              <a:gd name="connsiteX5" fmla="*/ 0 w 4081871"/>
              <a:gd name="connsiteY5" fmla="*/ 697901 h 14255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81871" h="1425595">
                <a:moveTo>
                  <a:pt x="4079472" y="0"/>
                </a:moveTo>
                <a:lnTo>
                  <a:pt x="4080004" y="0"/>
                </a:lnTo>
                <a:lnTo>
                  <a:pt x="4081871" y="1401578"/>
                </a:lnTo>
                <a:lnTo>
                  <a:pt x="4081871" y="1425595"/>
                </a:lnTo>
                <a:lnTo>
                  <a:pt x="7353" y="703055"/>
                </a:lnTo>
                <a:lnTo>
                  <a:pt x="0" y="697901"/>
                </a:lnTo>
                <a:close/>
              </a:path>
            </a:pathLst>
          </a:custGeom>
          <a:solidFill>
            <a:srgbClr val="ECAD28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700"/>
              </a:spcBef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24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0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56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56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756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756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756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100" dirty="0"/>
              <a:t>.</a:t>
            </a:r>
            <a:endParaRPr lang="da-DK"/>
          </a:p>
        </p:txBody>
      </p:sp>
      <p:sp>
        <p:nvSpPr>
          <p:cNvPr id="19" name="Text Placeholder 3"/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684000" y="345600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201623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515">
          <p15:clr>
            <a:srgbClr val="000000"/>
          </p15:clr>
        </p15:guide>
        <p15:guide id="3" pos="3833">
          <p15:clr>
            <a:srgbClr val="00000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+ billede (D)   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1755796 w 12192000"/>
              <a:gd name="connsiteY0" fmla="*/ 6780008 h 6858000"/>
              <a:gd name="connsiteX1" fmla="*/ 12192000 w 12192000"/>
              <a:gd name="connsiteY1" fmla="*/ 6857361 h 6858000"/>
              <a:gd name="connsiteX2" fmla="*/ 12192000 w 12192000"/>
              <a:gd name="connsiteY2" fmla="*/ 6857792 h 6858000"/>
              <a:gd name="connsiteX3" fmla="*/ 0 w 12192000"/>
              <a:gd name="connsiteY3" fmla="*/ 0 h 6858000"/>
              <a:gd name="connsiteX4" fmla="*/ 12192000 w 12192000"/>
              <a:gd name="connsiteY4" fmla="*/ 0 h 6858000"/>
              <a:gd name="connsiteX5" fmla="*/ 12192000 w 12192000"/>
              <a:gd name="connsiteY5" fmla="*/ 5432604 h 6858000"/>
              <a:gd name="connsiteX6" fmla="*/ 8113714 w 12192000"/>
              <a:gd name="connsiteY6" fmla="*/ 6130302 h 6858000"/>
              <a:gd name="connsiteX7" fmla="*/ 8114190 w 12192000"/>
              <a:gd name="connsiteY7" fmla="*/ 6130635 h 6858000"/>
              <a:gd name="connsiteX8" fmla="*/ 8106713 w 12192000"/>
              <a:gd name="connsiteY8" fmla="*/ 6129302 h 6858000"/>
              <a:gd name="connsiteX9" fmla="*/ 4037726 w 12192000"/>
              <a:gd name="connsiteY9" fmla="*/ 6854478 h 6858000"/>
              <a:gd name="connsiteX10" fmla="*/ 4037726 w 12192000"/>
              <a:gd name="connsiteY10" fmla="*/ 6857792 h 6858000"/>
              <a:gd name="connsiteX11" fmla="*/ 12192000 w 12192000"/>
              <a:gd name="connsiteY11" fmla="*/ 6857792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0" fmla="*/ 12192000 w 12192000"/>
              <a:gd name="connsiteY0" fmla="*/ 6857792 h 6858000"/>
              <a:gd name="connsiteX1" fmla="*/ 12192000 w 12192000"/>
              <a:gd name="connsiteY1" fmla="*/ 6857361 h 6858000"/>
              <a:gd name="connsiteX2" fmla="*/ 12192000 w 12192000"/>
              <a:gd name="connsiteY2" fmla="*/ 6857792 h 6858000"/>
              <a:gd name="connsiteX3" fmla="*/ 0 w 12192000"/>
              <a:gd name="connsiteY3" fmla="*/ 0 h 6858000"/>
              <a:gd name="connsiteX4" fmla="*/ 12192000 w 12192000"/>
              <a:gd name="connsiteY4" fmla="*/ 0 h 6858000"/>
              <a:gd name="connsiteX5" fmla="*/ 12192000 w 12192000"/>
              <a:gd name="connsiteY5" fmla="*/ 5432604 h 6858000"/>
              <a:gd name="connsiteX6" fmla="*/ 8113714 w 12192000"/>
              <a:gd name="connsiteY6" fmla="*/ 6130302 h 6858000"/>
              <a:gd name="connsiteX7" fmla="*/ 8114190 w 12192000"/>
              <a:gd name="connsiteY7" fmla="*/ 6130635 h 6858000"/>
              <a:gd name="connsiteX8" fmla="*/ 8106713 w 12192000"/>
              <a:gd name="connsiteY8" fmla="*/ 6129302 h 6858000"/>
              <a:gd name="connsiteX9" fmla="*/ 4037726 w 12192000"/>
              <a:gd name="connsiteY9" fmla="*/ 6854478 h 6858000"/>
              <a:gd name="connsiteX10" fmla="*/ 4037726 w 12192000"/>
              <a:gd name="connsiteY10" fmla="*/ 6857792 h 6858000"/>
              <a:gd name="connsiteX11" fmla="*/ 12192000 w 12192000"/>
              <a:gd name="connsiteY11" fmla="*/ 6857792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12192000 w 12192000"/>
              <a:gd name="connsiteY0" fmla="*/ 6857792 h 6858000"/>
              <a:gd name="connsiteX1" fmla="*/ 12192000 w 12192000"/>
              <a:gd name="connsiteY1" fmla="*/ 6857361 h 6858000"/>
              <a:gd name="connsiteX2" fmla="*/ 12192000 w 12192000"/>
              <a:gd name="connsiteY2" fmla="*/ 6857792 h 6858000"/>
              <a:gd name="connsiteX3" fmla="*/ 0 w 12192000"/>
              <a:gd name="connsiteY3" fmla="*/ 0 h 6858000"/>
              <a:gd name="connsiteX4" fmla="*/ 12192000 w 12192000"/>
              <a:gd name="connsiteY4" fmla="*/ 0 h 6858000"/>
              <a:gd name="connsiteX5" fmla="*/ 12192000 w 12192000"/>
              <a:gd name="connsiteY5" fmla="*/ 5432604 h 6858000"/>
              <a:gd name="connsiteX6" fmla="*/ 8113714 w 12192000"/>
              <a:gd name="connsiteY6" fmla="*/ 6130302 h 6858000"/>
              <a:gd name="connsiteX7" fmla="*/ 8114190 w 12192000"/>
              <a:gd name="connsiteY7" fmla="*/ 6130635 h 6858000"/>
              <a:gd name="connsiteX8" fmla="*/ 8106713 w 12192000"/>
              <a:gd name="connsiteY8" fmla="*/ 6129302 h 6858000"/>
              <a:gd name="connsiteX9" fmla="*/ 4037726 w 12192000"/>
              <a:gd name="connsiteY9" fmla="*/ 6854478 h 6858000"/>
              <a:gd name="connsiteX10" fmla="*/ 4037726 w 12192000"/>
              <a:gd name="connsiteY10" fmla="*/ 6857792 h 6858000"/>
              <a:gd name="connsiteX11" fmla="*/ 12192000 w 12192000"/>
              <a:gd name="connsiteY11" fmla="*/ 6857792 h 6858000"/>
              <a:gd name="connsiteX12" fmla="*/ 0 w 12192000"/>
              <a:gd name="connsiteY12" fmla="*/ 6858000 h 6858000"/>
              <a:gd name="connsiteX13" fmla="*/ 0 w 12192000"/>
              <a:gd name="connsiteY13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6858000">
                <a:moveTo>
                  <a:pt x="12192000" y="6857792"/>
                </a:moveTo>
                <a:lnTo>
                  <a:pt x="12192000" y="6857361"/>
                </a:lnTo>
                <a:lnTo>
                  <a:pt x="12192000" y="685779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5432604"/>
                </a:lnTo>
                <a:lnTo>
                  <a:pt x="8113714" y="6130302"/>
                </a:lnTo>
                <a:lnTo>
                  <a:pt x="8114190" y="6130635"/>
                </a:lnTo>
                <a:lnTo>
                  <a:pt x="8106713" y="6129302"/>
                </a:lnTo>
                <a:lnTo>
                  <a:pt x="4037726" y="6854478"/>
                </a:lnTo>
                <a:lnTo>
                  <a:pt x="4037726" y="6857792"/>
                </a:lnTo>
                <a:lnTo>
                  <a:pt x="12192000" y="6857792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504000" bIns="1044000" anchor="ctr" anchorCtr="0">
            <a:noAutofit/>
          </a:bodyPr>
          <a:lstStyle>
            <a:lvl1pPr algn="l">
              <a:defRPr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>
          <a:xfrm>
            <a:off x="8113185" y="1458000"/>
            <a:ext cx="4082400" cy="4676400"/>
          </a:xfrm>
          <a:custGeom>
            <a:avLst/>
            <a:gdLst>
              <a:gd name="connsiteX0" fmla="*/ 4054602 w 4078815"/>
              <a:gd name="connsiteY0" fmla="*/ 0 h 4671791"/>
              <a:gd name="connsiteX1" fmla="*/ 4078815 w 4078815"/>
              <a:gd name="connsiteY1" fmla="*/ 0 h 4671791"/>
              <a:gd name="connsiteX2" fmla="*/ 4075382 w 4078815"/>
              <a:gd name="connsiteY2" fmla="*/ 3976900 h 4671791"/>
              <a:gd name="connsiteX3" fmla="*/ 13427 w 4078815"/>
              <a:gd name="connsiteY3" fmla="*/ 4671791 h 4671791"/>
              <a:gd name="connsiteX4" fmla="*/ 0 w 4078815"/>
              <a:gd name="connsiteY4" fmla="*/ 4671791 h 4671791"/>
              <a:gd name="connsiteX5" fmla="*/ 0 w 4078815"/>
              <a:gd name="connsiteY5" fmla="*/ 694290 h 4671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78815" h="4671791">
                <a:moveTo>
                  <a:pt x="4054602" y="0"/>
                </a:moveTo>
                <a:lnTo>
                  <a:pt x="4078815" y="0"/>
                </a:lnTo>
                <a:cubicBezTo>
                  <a:pt x="4077671" y="1325634"/>
                  <a:pt x="4076526" y="2651266"/>
                  <a:pt x="4075382" y="3976900"/>
                </a:cubicBezTo>
                <a:lnTo>
                  <a:pt x="13427" y="4671791"/>
                </a:lnTo>
                <a:lnTo>
                  <a:pt x="0" y="4671791"/>
                </a:lnTo>
                <a:lnTo>
                  <a:pt x="0" y="694290"/>
                </a:lnTo>
                <a:close/>
              </a:path>
            </a:pathLst>
          </a:custGeom>
          <a:solidFill>
            <a:schemeClr val="accent4">
              <a:alpha val="90000"/>
            </a:schemeClr>
          </a:solidFill>
        </p:spPr>
        <p:txBody>
          <a:bodyPr wrap="square" lIns="666000" tIns="1296000" rIns="666000">
            <a:noAutofit/>
          </a:bodyPr>
          <a:lstStyle>
            <a:lvl1pPr>
              <a:lnSpc>
                <a:spcPct val="92000"/>
              </a:lnSpc>
              <a:defRPr sz="18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7" hasCustomPrompt="1"/>
          </p:nvPr>
        </p:nvSpPr>
        <p:spPr>
          <a:xfrm>
            <a:off x="8113185" y="3430800"/>
            <a:ext cx="4081497" cy="2001600"/>
          </a:xfrm>
        </p:spPr>
        <p:txBody>
          <a:bodyPr lIns="684000" rIns="684000"/>
          <a:lstStyle>
            <a:lvl1pPr marL="0" indent="0"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5pPr>
            <a:lvl6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6pPr>
            <a:lvl7pPr>
              <a:lnSpc>
                <a:spcPct val="110000"/>
              </a:lnSpc>
              <a:spcBef>
                <a:spcPts val="300"/>
              </a:spcBef>
              <a:defRPr>
                <a:solidFill>
                  <a:schemeClr val="bg1"/>
                </a:solidFill>
              </a:defRPr>
            </a:lvl7pPr>
            <a:lvl8pPr>
              <a:lnSpc>
                <a:spcPct val="110000"/>
              </a:lnSpc>
              <a:spcBef>
                <a:spcPts val="300"/>
              </a:spcBef>
              <a:defRPr>
                <a:solidFill>
                  <a:schemeClr val="bg1"/>
                </a:solidFill>
              </a:defRPr>
            </a:lvl8pPr>
            <a:lvl9pPr>
              <a:lnSpc>
                <a:spcPct val="110000"/>
              </a:lnSpc>
              <a:spcBef>
                <a:spcPts val="300"/>
              </a:spcBef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styles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17" name="TextBox 16"/>
          <p:cNvSpPr txBox="1">
            <a:spLocks/>
          </p:cNvSpPr>
          <p:nvPr userDrawn="1"/>
        </p:nvSpPr>
        <p:spPr>
          <a:xfrm>
            <a:off x="8113714" y="5432400"/>
            <a:ext cx="4081871" cy="1425600"/>
          </a:xfrm>
          <a:custGeom>
            <a:avLst/>
            <a:gdLst>
              <a:gd name="connsiteX0" fmla="*/ 4079472 w 4081871"/>
              <a:gd name="connsiteY0" fmla="*/ 0 h 1425595"/>
              <a:gd name="connsiteX1" fmla="*/ 4080004 w 4081871"/>
              <a:gd name="connsiteY1" fmla="*/ 0 h 1425595"/>
              <a:gd name="connsiteX2" fmla="*/ 4081871 w 4081871"/>
              <a:gd name="connsiteY2" fmla="*/ 1401578 h 1425595"/>
              <a:gd name="connsiteX3" fmla="*/ 4081871 w 4081871"/>
              <a:gd name="connsiteY3" fmla="*/ 1425595 h 1425595"/>
              <a:gd name="connsiteX4" fmla="*/ 7353 w 4081871"/>
              <a:gd name="connsiteY4" fmla="*/ 703055 h 1425595"/>
              <a:gd name="connsiteX5" fmla="*/ 0 w 4081871"/>
              <a:gd name="connsiteY5" fmla="*/ 697901 h 14255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81871" h="1425595">
                <a:moveTo>
                  <a:pt x="4079472" y="0"/>
                </a:moveTo>
                <a:lnTo>
                  <a:pt x="4080004" y="0"/>
                </a:lnTo>
                <a:lnTo>
                  <a:pt x="4081871" y="1401578"/>
                </a:lnTo>
                <a:lnTo>
                  <a:pt x="4081871" y="1425595"/>
                </a:lnTo>
                <a:lnTo>
                  <a:pt x="7353" y="703055"/>
                </a:lnTo>
                <a:lnTo>
                  <a:pt x="0" y="697901"/>
                </a:lnTo>
                <a:close/>
              </a:path>
            </a:pathLst>
          </a:custGeom>
          <a:solidFill>
            <a:srgbClr val="EB4430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700"/>
              </a:spcBef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24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0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56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56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756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756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756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100" dirty="0"/>
              <a:t>.</a:t>
            </a:r>
            <a:endParaRPr lang="da-DK"/>
          </a:p>
        </p:txBody>
      </p:sp>
      <p:sp>
        <p:nvSpPr>
          <p:cNvPr id="19" name="Text Placeholder 3"/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684000" y="345600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013101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515">
          <p15:clr>
            <a:srgbClr val="000000"/>
          </p15:clr>
        </p15:guide>
        <p15:guide id="3" pos="3833">
          <p15:clr>
            <a:srgbClr val="00000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hap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3175">
            <a:noFill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4000"/>
              </a:lnSpc>
            </a:pPr>
            <a:endParaRPr lang="da-DK" sz="1800" dirty="0" err="1"/>
          </a:p>
        </p:txBody>
      </p:sp>
      <p:sp>
        <p:nvSpPr>
          <p:cNvPr id="10" name="Shape 1"/>
          <p:cNvSpPr>
            <a:spLocks/>
          </p:cNvSpPr>
          <p:nvPr userDrawn="1"/>
        </p:nvSpPr>
        <p:spPr bwMode="auto">
          <a:xfrm>
            <a:off x="0" y="1"/>
            <a:ext cx="12192000" cy="6856413"/>
          </a:xfrm>
          <a:custGeom>
            <a:avLst/>
            <a:gdLst>
              <a:gd name="T0" fmla="*/ 0 w 5757"/>
              <a:gd name="T1" fmla="*/ 0 h 4319"/>
              <a:gd name="T2" fmla="*/ 0 w 5757"/>
              <a:gd name="T3" fmla="*/ 3304 h 4319"/>
              <a:gd name="T4" fmla="*/ 5757 w 5757"/>
              <a:gd name="T5" fmla="*/ 4319 h 4319"/>
              <a:gd name="T6" fmla="*/ 5757 w 5757"/>
              <a:gd name="T7" fmla="*/ 0 h 4319"/>
              <a:gd name="T8" fmla="*/ 0 w 5757"/>
              <a:gd name="T9" fmla="*/ 0 h 4319"/>
              <a:gd name="connsiteX0" fmla="*/ 0 w 10000"/>
              <a:gd name="connsiteY0" fmla="*/ 0 h 10000"/>
              <a:gd name="connsiteX1" fmla="*/ 2 w 10000"/>
              <a:gd name="connsiteY1" fmla="*/ 6878 h 10000"/>
              <a:gd name="connsiteX2" fmla="*/ 10000 w 10000"/>
              <a:gd name="connsiteY2" fmla="*/ 10000 h 10000"/>
              <a:gd name="connsiteX3" fmla="*/ 10000 w 10000"/>
              <a:gd name="connsiteY3" fmla="*/ 0 h 10000"/>
              <a:gd name="connsiteX4" fmla="*/ 0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0"/>
                </a:moveTo>
                <a:cubicBezTo>
                  <a:pt x="1" y="2293"/>
                  <a:pt x="1" y="4585"/>
                  <a:pt x="2" y="6878"/>
                </a:cubicBezTo>
                <a:lnTo>
                  <a:pt x="10000" y="10000"/>
                </a:lnTo>
                <a:lnTo>
                  <a:pt x="1000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sz="1800" dirty="0"/>
          </a:p>
        </p:txBody>
      </p:sp>
      <p:sp>
        <p:nvSpPr>
          <p:cNvPr id="15" name="Shape 2"/>
          <p:cNvSpPr>
            <a:spLocks/>
          </p:cNvSpPr>
          <p:nvPr userDrawn="1"/>
        </p:nvSpPr>
        <p:spPr bwMode="auto">
          <a:xfrm>
            <a:off x="0" y="2565400"/>
            <a:ext cx="12192000" cy="4291014"/>
          </a:xfrm>
          <a:custGeom>
            <a:avLst/>
            <a:gdLst>
              <a:gd name="T0" fmla="*/ 5760 w 5760"/>
              <a:gd name="T1" fmla="*/ 0 h 2034"/>
              <a:gd name="T2" fmla="*/ 0 w 5760"/>
              <a:gd name="T3" fmla="*/ 1017 h 2034"/>
              <a:gd name="T4" fmla="*/ 5760 w 5760"/>
              <a:gd name="T5" fmla="*/ 2034 h 2034"/>
              <a:gd name="T6" fmla="*/ 5760 w 5760"/>
              <a:gd name="T7" fmla="*/ 0 h 20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760" h="2034">
                <a:moveTo>
                  <a:pt x="5760" y="0"/>
                </a:moveTo>
                <a:lnTo>
                  <a:pt x="0" y="1017"/>
                </a:lnTo>
                <a:lnTo>
                  <a:pt x="5760" y="2034"/>
                </a:lnTo>
                <a:lnTo>
                  <a:pt x="5760" y="0"/>
                </a:lnTo>
                <a:close/>
              </a:path>
            </a:pathLst>
          </a:custGeom>
          <a:solidFill>
            <a:srgbClr val="061C4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sz="18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002" y="1954278"/>
            <a:ext cx="8781561" cy="1224136"/>
          </a:xfrm>
        </p:spPr>
        <p:txBody>
          <a:bodyPr/>
          <a:lstStyle>
            <a:lvl1pPr>
              <a:lnSpc>
                <a:spcPct val="87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pic>
        <p:nvPicPr>
          <p:cNvPr id="11" name="Logo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1055" y="346665"/>
            <a:ext cx="1403387" cy="256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973309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hap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3175">
            <a:noFill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4000"/>
              </a:lnSpc>
            </a:pPr>
            <a:endParaRPr lang="da-DK" sz="1800" dirty="0" err="1"/>
          </a:p>
        </p:txBody>
      </p:sp>
      <p:sp>
        <p:nvSpPr>
          <p:cNvPr id="10" name="Shape 1"/>
          <p:cNvSpPr>
            <a:spLocks/>
          </p:cNvSpPr>
          <p:nvPr userDrawn="1"/>
        </p:nvSpPr>
        <p:spPr bwMode="auto">
          <a:xfrm>
            <a:off x="0" y="1"/>
            <a:ext cx="12192000" cy="6856413"/>
          </a:xfrm>
          <a:custGeom>
            <a:avLst/>
            <a:gdLst>
              <a:gd name="T0" fmla="*/ 0 w 5757"/>
              <a:gd name="T1" fmla="*/ 0 h 4319"/>
              <a:gd name="T2" fmla="*/ 0 w 5757"/>
              <a:gd name="T3" fmla="*/ 3304 h 4319"/>
              <a:gd name="T4" fmla="*/ 5757 w 5757"/>
              <a:gd name="T5" fmla="*/ 4319 h 4319"/>
              <a:gd name="T6" fmla="*/ 5757 w 5757"/>
              <a:gd name="T7" fmla="*/ 0 h 4319"/>
              <a:gd name="T8" fmla="*/ 0 w 5757"/>
              <a:gd name="T9" fmla="*/ 0 h 4319"/>
              <a:gd name="connsiteX0" fmla="*/ 0 w 10000"/>
              <a:gd name="connsiteY0" fmla="*/ 0 h 10000"/>
              <a:gd name="connsiteX1" fmla="*/ 2 w 10000"/>
              <a:gd name="connsiteY1" fmla="*/ 6878 h 10000"/>
              <a:gd name="connsiteX2" fmla="*/ 10000 w 10000"/>
              <a:gd name="connsiteY2" fmla="*/ 10000 h 10000"/>
              <a:gd name="connsiteX3" fmla="*/ 10000 w 10000"/>
              <a:gd name="connsiteY3" fmla="*/ 0 h 10000"/>
              <a:gd name="connsiteX4" fmla="*/ 0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0"/>
                </a:moveTo>
                <a:cubicBezTo>
                  <a:pt x="1" y="2293"/>
                  <a:pt x="1" y="4585"/>
                  <a:pt x="2" y="6878"/>
                </a:cubicBezTo>
                <a:lnTo>
                  <a:pt x="10000" y="10000"/>
                </a:lnTo>
                <a:lnTo>
                  <a:pt x="1000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sz="1800" dirty="0"/>
          </a:p>
        </p:txBody>
      </p:sp>
      <p:sp>
        <p:nvSpPr>
          <p:cNvPr id="15" name="Shape 2"/>
          <p:cNvSpPr>
            <a:spLocks/>
          </p:cNvSpPr>
          <p:nvPr userDrawn="1"/>
        </p:nvSpPr>
        <p:spPr bwMode="auto">
          <a:xfrm>
            <a:off x="0" y="2565400"/>
            <a:ext cx="12192000" cy="4291014"/>
          </a:xfrm>
          <a:custGeom>
            <a:avLst/>
            <a:gdLst>
              <a:gd name="T0" fmla="*/ 5760 w 5760"/>
              <a:gd name="T1" fmla="*/ 0 h 2034"/>
              <a:gd name="T2" fmla="*/ 0 w 5760"/>
              <a:gd name="T3" fmla="*/ 1017 h 2034"/>
              <a:gd name="T4" fmla="*/ 5760 w 5760"/>
              <a:gd name="T5" fmla="*/ 2034 h 2034"/>
              <a:gd name="T6" fmla="*/ 5760 w 5760"/>
              <a:gd name="T7" fmla="*/ 0 h 20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760" h="2034">
                <a:moveTo>
                  <a:pt x="5760" y="0"/>
                </a:moveTo>
                <a:lnTo>
                  <a:pt x="0" y="1017"/>
                </a:lnTo>
                <a:lnTo>
                  <a:pt x="5760" y="2034"/>
                </a:lnTo>
                <a:lnTo>
                  <a:pt x="5760" y="0"/>
                </a:lnTo>
                <a:close/>
              </a:path>
            </a:pathLst>
          </a:custGeom>
          <a:solidFill>
            <a:srgbClr val="27A1B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sz="18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002" y="1954278"/>
            <a:ext cx="8781561" cy="1224136"/>
          </a:xfrm>
        </p:spPr>
        <p:txBody>
          <a:bodyPr/>
          <a:lstStyle>
            <a:lvl1pPr>
              <a:lnSpc>
                <a:spcPct val="87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pic>
        <p:nvPicPr>
          <p:cNvPr id="11" name="Logo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1055" y="346665"/>
            <a:ext cx="1403387" cy="256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458707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hap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3175">
            <a:noFill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4000"/>
              </a:lnSpc>
            </a:pPr>
            <a:endParaRPr lang="da-DK" sz="1800" dirty="0" err="1"/>
          </a:p>
        </p:txBody>
      </p:sp>
      <p:sp>
        <p:nvSpPr>
          <p:cNvPr id="10" name="Shape 1"/>
          <p:cNvSpPr>
            <a:spLocks/>
          </p:cNvSpPr>
          <p:nvPr userDrawn="1"/>
        </p:nvSpPr>
        <p:spPr bwMode="auto">
          <a:xfrm>
            <a:off x="0" y="1"/>
            <a:ext cx="12192000" cy="6856413"/>
          </a:xfrm>
          <a:custGeom>
            <a:avLst/>
            <a:gdLst>
              <a:gd name="T0" fmla="*/ 0 w 5757"/>
              <a:gd name="T1" fmla="*/ 0 h 4319"/>
              <a:gd name="T2" fmla="*/ 0 w 5757"/>
              <a:gd name="T3" fmla="*/ 3304 h 4319"/>
              <a:gd name="T4" fmla="*/ 5757 w 5757"/>
              <a:gd name="T5" fmla="*/ 4319 h 4319"/>
              <a:gd name="T6" fmla="*/ 5757 w 5757"/>
              <a:gd name="T7" fmla="*/ 0 h 4319"/>
              <a:gd name="T8" fmla="*/ 0 w 5757"/>
              <a:gd name="T9" fmla="*/ 0 h 4319"/>
              <a:gd name="connsiteX0" fmla="*/ 0 w 10000"/>
              <a:gd name="connsiteY0" fmla="*/ 0 h 10000"/>
              <a:gd name="connsiteX1" fmla="*/ 2 w 10000"/>
              <a:gd name="connsiteY1" fmla="*/ 6878 h 10000"/>
              <a:gd name="connsiteX2" fmla="*/ 10000 w 10000"/>
              <a:gd name="connsiteY2" fmla="*/ 10000 h 10000"/>
              <a:gd name="connsiteX3" fmla="*/ 10000 w 10000"/>
              <a:gd name="connsiteY3" fmla="*/ 0 h 10000"/>
              <a:gd name="connsiteX4" fmla="*/ 0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0"/>
                </a:moveTo>
                <a:cubicBezTo>
                  <a:pt x="1" y="2293"/>
                  <a:pt x="1" y="4585"/>
                  <a:pt x="2" y="6878"/>
                </a:cubicBezTo>
                <a:lnTo>
                  <a:pt x="10000" y="10000"/>
                </a:lnTo>
                <a:lnTo>
                  <a:pt x="1000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sz="1800" dirty="0"/>
          </a:p>
        </p:txBody>
      </p:sp>
      <p:sp>
        <p:nvSpPr>
          <p:cNvPr id="15" name="Shape 2"/>
          <p:cNvSpPr>
            <a:spLocks/>
          </p:cNvSpPr>
          <p:nvPr userDrawn="1"/>
        </p:nvSpPr>
        <p:spPr bwMode="auto">
          <a:xfrm>
            <a:off x="0" y="2565400"/>
            <a:ext cx="12192000" cy="4291014"/>
          </a:xfrm>
          <a:custGeom>
            <a:avLst/>
            <a:gdLst>
              <a:gd name="T0" fmla="*/ 5760 w 5760"/>
              <a:gd name="T1" fmla="*/ 0 h 2034"/>
              <a:gd name="T2" fmla="*/ 0 w 5760"/>
              <a:gd name="T3" fmla="*/ 1017 h 2034"/>
              <a:gd name="T4" fmla="*/ 5760 w 5760"/>
              <a:gd name="T5" fmla="*/ 2034 h 2034"/>
              <a:gd name="T6" fmla="*/ 5760 w 5760"/>
              <a:gd name="T7" fmla="*/ 0 h 20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760" h="2034">
                <a:moveTo>
                  <a:pt x="5760" y="0"/>
                </a:moveTo>
                <a:lnTo>
                  <a:pt x="0" y="1017"/>
                </a:lnTo>
                <a:lnTo>
                  <a:pt x="5760" y="2034"/>
                </a:lnTo>
                <a:lnTo>
                  <a:pt x="5760" y="0"/>
                </a:lnTo>
                <a:close/>
              </a:path>
            </a:pathLst>
          </a:custGeom>
          <a:solidFill>
            <a:srgbClr val="ECAD2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sz="18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002" y="1954278"/>
            <a:ext cx="8781561" cy="1224136"/>
          </a:xfrm>
        </p:spPr>
        <p:txBody>
          <a:bodyPr/>
          <a:lstStyle>
            <a:lvl1pPr>
              <a:lnSpc>
                <a:spcPct val="87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pic>
        <p:nvPicPr>
          <p:cNvPr id="11" name="Logo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1055" y="346665"/>
            <a:ext cx="1403387" cy="256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25252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A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icture Placeholder 38"/>
          <p:cNvSpPr>
            <a:spLocks noGrp="1"/>
          </p:cNvSpPr>
          <p:nvPr>
            <p:ph type="pic" sz="quarter" idx="13" hasCustomPrompt="1"/>
          </p:nvPr>
        </p:nvSpPr>
        <p:spPr>
          <a:xfrm>
            <a:off x="-4800" y="-3600"/>
            <a:ext cx="12206400" cy="6865200"/>
          </a:xfrm>
          <a:prstGeom prst="rect">
            <a:avLst/>
          </a:prstGeom>
          <a:solidFill>
            <a:schemeClr val="bg2"/>
          </a:solidFill>
        </p:spPr>
        <p:txBody>
          <a:bodyPr wrap="square" lIns="108000" tIns="108000" rIns="4824000" bIns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4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6096000" y="0"/>
            <a:ext cx="6105600" cy="6861600"/>
          </a:xfrm>
          <a:custGeom>
            <a:avLst/>
            <a:gdLst>
              <a:gd name="connsiteX0" fmla="*/ 0 w 6105600"/>
              <a:gd name="connsiteY0" fmla="*/ 0 h 6861600"/>
              <a:gd name="connsiteX1" fmla="*/ 6105600 w 6105600"/>
              <a:gd name="connsiteY1" fmla="*/ 0 h 6861600"/>
              <a:gd name="connsiteX2" fmla="*/ 6105600 w 6105600"/>
              <a:gd name="connsiteY2" fmla="*/ 6861600 h 6861600"/>
              <a:gd name="connsiteX3" fmla="*/ 0 w 6105600"/>
              <a:gd name="connsiteY3" fmla="*/ 6861600 h 6861600"/>
              <a:gd name="connsiteX4" fmla="*/ 0 w 6105600"/>
              <a:gd name="connsiteY4" fmla="*/ 6858001 h 6861600"/>
              <a:gd name="connsiteX5" fmla="*/ 6096000 w 6105600"/>
              <a:gd name="connsiteY5" fmla="*/ 6858001 h 6861600"/>
              <a:gd name="connsiteX6" fmla="*/ 6095992 w 6105600"/>
              <a:gd name="connsiteY6" fmla="*/ 6858000 h 6861600"/>
              <a:gd name="connsiteX7" fmla="*/ 6096000 w 6105600"/>
              <a:gd name="connsiteY7" fmla="*/ 6858000 h 6861600"/>
              <a:gd name="connsiteX8" fmla="*/ 0 w 6105600"/>
              <a:gd name="connsiteY8" fmla="*/ 5805851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05600" h="6861600">
                <a:moveTo>
                  <a:pt x="0" y="0"/>
                </a:moveTo>
                <a:lnTo>
                  <a:pt x="6105600" y="0"/>
                </a:lnTo>
                <a:lnTo>
                  <a:pt x="6105600" y="6861600"/>
                </a:lnTo>
                <a:lnTo>
                  <a:pt x="0" y="6861600"/>
                </a:lnTo>
                <a:lnTo>
                  <a:pt x="0" y="6858001"/>
                </a:lnTo>
                <a:lnTo>
                  <a:pt x="6096000" y="6858001"/>
                </a:lnTo>
                <a:lnTo>
                  <a:pt x="6095992" y="6858000"/>
                </a:lnTo>
                <a:lnTo>
                  <a:pt x="6096000" y="6858000"/>
                </a:lnTo>
                <a:lnTo>
                  <a:pt x="0" y="5805851"/>
                </a:lnTo>
                <a:close/>
              </a:path>
            </a:pathLst>
          </a:custGeom>
          <a:solidFill>
            <a:schemeClr val="accent3">
              <a:alpha val="90000"/>
            </a:schemeClr>
          </a:solidFill>
        </p:spPr>
        <p:txBody>
          <a:bodyPr wrap="square" lIns="630000" tIns="3780000" rIns="630000" bIns="4788000" anchor="t" anchorCtr="0">
            <a:noAutofit/>
          </a:bodyPr>
          <a:lstStyle>
            <a:lvl1pPr>
              <a:lnSpc>
                <a:spcPct val="87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Præsentationstitel i </a:t>
            </a:r>
            <a:r>
              <a:rPr lang="da-DK" dirty="0" err="1"/>
              <a:t>maks</a:t>
            </a:r>
            <a:r>
              <a:rPr lang="da-DK" dirty="0"/>
              <a:t> to linjer</a:t>
            </a:r>
            <a:endParaRPr lang="da-DK"/>
          </a:p>
        </p:txBody>
      </p:sp>
      <p:sp>
        <p:nvSpPr>
          <p:cNvPr id="3" name="Undertitel 2"/>
          <p:cNvSpPr>
            <a:spLocks noGrp="1"/>
          </p:cNvSpPr>
          <p:nvPr>
            <p:ph type="subTitle" idx="1" hasCustomPrompt="1"/>
          </p:nvPr>
        </p:nvSpPr>
        <p:spPr>
          <a:xfrm>
            <a:off x="6096001" y="4132800"/>
            <a:ext cx="5422900" cy="498834"/>
          </a:xfrm>
        </p:spPr>
        <p:txBody>
          <a:bodyPr lIns="640800" rIns="511200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Klik, og tilføj undertitel</a:t>
            </a:r>
            <a:endParaRPr lang="da-DK"/>
          </a:p>
        </p:txBody>
      </p:sp>
      <p:sp>
        <p:nvSpPr>
          <p:cNvPr id="6" name="Indsæt TitleName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1" y="1922400"/>
            <a:ext cx="5422900" cy="360040"/>
          </a:xfrm>
        </p:spPr>
        <p:txBody>
          <a:bodyPr lIns="684000" anchor="b" anchorCtr="0"/>
          <a:lstStyle>
            <a:lvl1pPr>
              <a:lnSpc>
                <a:spcPct val="115000"/>
              </a:lnSpc>
              <a:defRPr sz="10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Indsæt titel, navn</a:t>
            </a:r>
            <a:endParaRPr lang="da-DK"/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805489"/>
            <a:ext cx="12192000" cy="1052514"/>
          </a:xfrm>
          <a:custGeom>
            <a:avLst/>
            <a:gdLst>
              <a:gd name="connsiteX0" fmla="*/ 4570413 w 9144000"/>
              <a:gd name="connsiteY0" fmla="*/ 0 h 809625"/>
              <a:gd name="connsiteX1" fmla="*/ 9144000 w 9144000"/>
              <a:gd name="connsiteY1" fmla="*/ 809625 h 809625"/>
              <a:gd name="connsiteX2" fmla="*/ 0 w 9144000"/>
              <a:gd name="connsiteY2" fmla="*/ 809625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144000" h="809625">
                <a:moveTo>
                  <a:pt x="4570413" y="0"/>
                </a:moveTo>
                <a:lnTo>
                  <a:pt x="9144000" y="809625"/>
                </a:lnTo>
                <a:lnTo>
                  <a:pt x="0" y="809625"/>
                </a:lnTo>
                <a:close/>
              </a:path>
            </a:pathLst>
          </a:custGeom>
          <a:solidFill>
            <a:schemeClr val="accent3">
              <a:alpha val="6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16" hasCustomPrompt="1"/>
          </p:nvPr>
        </p:nvSpPr>
        <p:spPr>
          <a:xfrm>
            <a:off x="6095999" y="4761148"/>
            <a:ext cx="6096001" cy="2094419"/>
          </a:xfrm>
          <a:custGeom>
            <a:avLst/>
            <a:gdLst>
              <a:gd name="connsiteX0" fmla="*/ 4572000 w 4572000"/>
              <a:gd name="connsiteY0" fmla="*/ 0 h 1615884"/>
              <a:gd name="connsiteX1" fmla="*/ 4572000 w 4572000"/>
              <a:gd name="connsiteY1" fmla="*/ 1615884 h 1615884"/>
              <a:gd name="connsiteX2" fmla="*/ 0 w 4572000"/>
              <a:gd name="connsiteY2" fmla="*/ 808222 h 1615884"/>
              <a:gd name="connsiteX3" fmla="*/ 0 w 4572000"/>
              <a:gd name="connsiteY3" fmla="*/ 807661 h 1615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72000" h="1615884">
                <a:moveTo>
                  <a:pt x="4572000" y="0"/>
                </a:moveTo>
                <a:lnTo>
                  <a:pt x="4572000" y="1615884"/>
                </a:lnTo>
                <a:lnTo>
                  <a:pt x="0" y="808222"/>
                </a:lnTo>
                <a:lnTo>
                  <a:pt x="0" y="807661"/>
                </a:lnTo>
                <a:close/>
              </a:path>
            </a:pathLst>
          </a:custGeom>
          <a:solidFill>
            <a:srgbClr val="ECAD28"/>
          </a:solidFill>
        </p:spPr>
        <p:txBody>
          <a:bodyPr wrap="square">
            <a:noAutofit/>
          </a:bodyPr>
          <a:lstStyle>
            <a:lvl1pPr marL="0" indent="0">
              <a:buNone/>
              <a:defRPr sz="100"/>
            </a:lvl1pPr>
            <a:lvl2pPr marL="0" indent="0">
              <a:buNone/>
              <a:defRPr sz="100"/>
            </a:lvl2pPr>
            <a:lvl3pPr marL="216000" indent="0">
              <a:buNone/>
              <a:defRPr sz="100"/>
            </a:lvl3pPr>
            <a:lvl4pPr marL="432000" indent="0">
              <a:buNone/>
              <a:defRPr sz="100"/>
            </a:lvl4pPr>
            <a:lvl5pPr marL="648000" indent="0">
              <a:buNone/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10" name="TextBox 9"/>
          <p:cNvSpPr txBox="1"/>
          <p:nvPr userDrawn="1"/>
        </p:nvSpPr>
        <p:spPr>
          <a:xfrm>
            <a:off x="-14179" y="-214438"/>
            <a:ext cx="122064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noProof="0" dirty="0">
                <a:solidFill>
                  <a:schemeClr val="accent1"/>
                </a:solidFill>
              </a:rPr>
              <a:t>Bemærk</a:t>
            </a:r>
            <a:r>
              <a:rPr lang="da-DK" sz="1100" noProof="0" dirty="0">
                <a:solidFill>
                  <a:schemeClr val="accent1"/>
                </a:solidFill>
              </a:rPr>
              <a:t> at billedet ses under boksen som er transparent. Derfor skal billedet fylde hele siden.</a:t>
            </a:r>
            <a:endParaRPr lang="da-DK"/>
          </a:p>
        </p:txBody>
      </p:sp>
      <p:sp>
        <p:nvSpPr>
          <p:cNvPr id="17" name="Text Placeholder 3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6743700" y="345600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5053201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hap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3175">
            <a:noFill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4000"/>
              </a:lnSpc>
            </a:pPr>
            <a:endParaRPr lang="da-DK" sz="1800" dirty="0" err="1"/>
          </a:p>
        </p:txBody>
      </p:sp>
      <p:sp>
        <p:nvSpPr>
          <p:cNvPr id="10" name="Shape 1"/>
          <p:cNvSpPr>
            <a:spLocks/>
          </p:cNvSpPr>
          <p:nvPr userDrawn="1"/>
        </p:nvSpPr>
        <p:spPr bwMode="auto">
          <a:xfrm>
            <a:off x="0" y="1"/>
            <a:ext cx="12192000" cy="6856413"/>
          </a:xfrm>
          <a:custGeom>
            <a:avLst/>
            <a:gdLst>
              <a:gd name="T0" fmla="*/ 0 w 5757"/>
              <a:gd name="T1" fmla="*/ 0 h 4319"/>
              <a:gd name="T2" fmla="*/ 0 w 5757"/>
              <a:gd name="T3" fmla="*/ 3304 h 4319"/>
              <a:gd name="T4" fmla="*/ 5757 w 5757"/>
              <a:gd name="T5" fmla="*/ 4319 h 4319"/>
              <a:gd name="T6" fmla="*/ 5757 w 5757"/>
              <a:gd name="T7" fmla="*/ 0 h 4319"/>
              <a:gd name="T8" fmla="*/ 0 w 5757"/>
              <a:gd name="T9" fmla="*/ 0 h 4319"/>
              <a:gd name="connsiteX0" fmla="*/ 0 w 10000"/>
              <a:gd name="connsiteY0" fmla="*/ 0 h 10000"/>
              <a:gd name="connsiteX1" fmla="*/ 2 w 10000"/>
              <a:gd name="connsiteY1" fmla="*/ 6878 h 10000"/>
              <a:gd name="connsiteX2" fmla="*/ 10000 w 10000"/>
              <a:gd name="connsiteY2" fmla="*/ 10000 h 10000"/>
              <a:gd name="connsiteX3" fmla="*/ 10000 w 10000"/>
              <a:gd name="connsiteY3" fmla="*/ 0 h 10000"/>
              <a:gd name="connsiteX4" fmla="*/ 0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0"/>
                </a:moveTo>
                <a:cubicBezTo>
                  <a:pt x="1" y="2293"/>
                  <a:pt x="1" y="4585"/>
                  <a:pt x="2" y="6878"/>
                </a:cubicBezTo>
                <a:lnTo>
                  <a:pt x="10000" y="10000"/>
                </a:lnTo>
                <a:lnTo>
                  <a:pt x="1000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sz="1800" dirty="0"/>
          </a:p>
        </p:txBody>
      </p:sp>
      <p:sp>
        <p:nvSpPr>
          <p:cNvPr id="15" name="Shape 2"/>
          <p:cNvSpPr>
            <a:spLocks/>
          </p:cNvSpPr>
          <p:nvPr userDrawn="1"/>
        </p:nvSpPr>
        <p:spPr bwMode="auto">
          <a:xfrm>
            <a:off x="0" y="2565400"/>
            <a:ext cx="12192000" cy="4291014"/>
          </a:xfrm>
          <a:custGeom>
            <a:avLst/>
            <a:gdLst>
              <a:gd name="T0" fmla="*/ 5760 w 5760"/>
              <a:gd name="T1" fmla="*/ 0 h 2034"/>
              <a:gd name="T2" fmla="*/ 0 w 5760"/>
              <a:gd name="T3" fmla="*/ 1017 h 2034"/>
              <a:gd name="T4" fmla="*/ 5760 w 5760"/>
              <a:gd name="T5" fmla="*/ 2034 h 2034"/>
              <a:gd name="T6" fmla="*/ 5760 w 5760"/>
              <a:gd name="T7" fmla="*/ 0 h 20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760" h="2034">
                <a:moveTo>
                  <a:pt x="5760" y="0"/>
                </a:moveTo>
                <a:lnTo>
                  <a:pt x="0" y="1017"/>
                </a:lnTo>
                <a:lnTo>
                  <a:pt x="5760" y="2034"/>
                </a:lnTo>
                <a:lnTo>
                  <a:pt x="5760" y="0"/>
                </a:lnTo>
                <a:close/>
              </a:path>
            </a:pathLst>
          </a:custGeom>
          <a:solidFill>
            <a:srgbClr val="EB443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sz="18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002" y="1954278"/>
            <a:ext cx="8781561" cy="1224136"/>
          </a:xfrm>
        </p:spPr>
        <p:txBody>
          <a:bodyPr/>
          <a:lstStyle>
            <a:lvl1pPr>
              <a:lnSpc>
                <a:spcPct val="87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pic>
        <p:nvPicPr>
          <p:cNvPr id="11" name="Logo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1055" y="346665"/>
            <a:ext cx="1403387" cy="256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987891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bille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-4800" y="-3600"/>
            <a:ext cx="12201600" cy="6865200"/>
          </a:xfrm>
          <a:custGeom>
            <a:avLst/>
            <a:gdLst>
              <a:gd name="connsiteX0" fmla="*/ 4086489 w 12201600"/>
              <a:gd name="connsiteY0" fmla="*/ 5433814 h 6865200"/>
              <a:gd name="connsiteX1" fmla="*/ 4086489 w 12201600"/>
              <a:gd name="connsiteY1" fmla="*/ 5435409 h 6865200"/>
              <a:gd name="connsiteX2" fmla="*/ 12200835 w 12201600"/>
              <a:gd name="connsiteY2" fmla="*/ 6865200 h 6865200"/>
              <a:gd name="connsiteX3" fmla="*/ 0 w 12201600"/>
              <a:gd name="connsiteY3" fmla="*/ 6865200 h 6865200"/>
              <a:gd name="connsiteX4" fmla="*/ 0 w 12201600"/>
              <a:gd name="connsiteY4" fmla="*/ 6155240 h 6865200"/>
              <a:gd name="connsiteX5" fmla="*/ 12201600 w 12201600"/>
              <a:gd name="connsiteY5" fmla="*/ 4002949 h 6865200"/>
              <a:gd name="connsiteX6" fmla="*/ 12201600 w 12201600"/>
              <a:gd name="connsiteY6" fmla="*/ 6840570 h 6865200"/>
              <a:gd name="connsiteX7" fmla="*/ 4156644 w 12201600"/>
              <a:gd name="connsiteY7" fmla="*/ 5421059 h 6865200"/>
              <a:gd name="connsiteX8" fmla="*/ 4100838 w 12201600"/>
              <a:gd name="connsiteY8" fmla="*/ 0 h 6865200"/>
              <a:gd name="connsiteX9" fmla="*/ 12201600 w 12201600"/>
              <a:gd name="connsiteY9" fmla="*/ 0 h 6865200"/>
              <a:gd name="connsiteX10" fmla="*/ 12201600 w 12201600"/>
              <a:gd name="connsiteY10" fmla="*/ 3978465 h 6865200"/>
              <a:gd name="connsiteX11" fmla="*/ 4100838 w 12201600"/>
              <a:gd name="connsiteY11" fmla="*/ 5405114 h 6865200"/>
              <a:gd name="connsiteX12" fmla="*/ 0 w 12201600"/>
              <a:gd name="connsiteY12" fmla="*/ 0 h 6865200"/>
              <a:gd name="connsiteX13" fmla="*/ 4075328 w 12201600"/>
              <a:gd name="connsiteY13" fmla="*/ 0 h 6865200"/>
              <a:gd name="connsiteX14" fmla="*/ 4075328 w 12201600"/>
              <a:gd name="connsiteY14" fmla="*/ 5409898 h 6865200"/>
              <a:gd name="connsiteX15" fmla="*/ 0 w 12201600"/>
              <a:gd name="connsiteY15" fmla="*/ 6128886 h 68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201600" h="6865200">
                <a:moveTo>
                  <a:pt x="4086489" y="5433814"/>
                </a:moveTo>
                <a:lnTo>
                  <a:pt x="4086489" y="5435409"/>
                </a:lnTo>
                <a:lnTo>
                  <a:pt x="12200835" y="6865200"/>
                </a:lnTo>
                <a:lnTo>
                  <a:pt x="0" y="6865200"/>
                </a:lnTo>
                <a:lnTo>
                  <a:pt x="0" y="6155240"/>
                </a:lnTo>
                <a:close/>
                <a:moveTo>
                  <a:pt x="12201600" y="4002949"/>
                </a:moveTo>
                <a:lnTo>
                  <a:pt x="12201600" y="6840570"/>
                </a:lnTo>
                <a:lnTo>
                  <a:pt x="4156644" y="5421059"/>
                </a:lnTo>
                <a:close/>
                <a:moveTo>
                  <a:pt x="4100838" y="0"/>
                </a:moveTo>
                <a:lnTo>
                  <a:pt x="12201600" y="0"/>
                </a:lnTo>
                <a:lnTo>
                  <a:pt x="12201600" y="3978465"/>
                </a:lnTo>
                <a:lnTo>
                  <a:pt x="4100838" y="5405114"/>
                </a:lnTo>
                <a:close/>
                <a:moveTo>
                  <a:pt x="0" y="0"/>
                </a:moveTo>
                <a:lnTo>
                  <a:pt x="4075328" y="0"/>
                </a:lnTo>
                <a:lnTo>
                  <a:pt x="4075328" y="5409898"/>
                </a:lnTo>
                <a:lnTo>
                  <a:pt x="0" y="6128886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1044000" anchor="ctr" anchorCtr="0">
            <a:noAutofit/>
          </a:bodyPr>
          <a:lstStyle>
            <a:lvl1pPr algn="ctr">
              <a:defRPr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9" name="Text Placeholder 3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684000" y="345600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9076584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billed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3" hasCustomPrompt="1"/>
          </p:nvPr>
        </p:nvSpPr>
        <p:spPr>
          <a:xfrm>
            <a:off x="-4800" y="-3600"/>
            <a:ext cx="12201600" cy="6865200"/>
          </a:xfrm>
          <a:custGeom>
            <a:avLst/>
            <a:gdLst>
              <a:gd name="connsiteX0" fmla="*/ 12201600 w 12201600"/>
              <a:gd name="connsiteY0" fmla="*/ 4720711 h 6865200"/>
              <a:gd name="connsiteX1" fmla="*/ 12201600 w 12201600"/>
              <a:gd name="connsiteY1" fmla="*/ 6842373 h 6865200"/>
              <a:gd name="connsiteX2" fmla="*/ 6188113 w 12201600"/>
              <a:gd name="connsiteY2" fmla="*/ 5782100 h 6865200"/>
              <a:gd name="connsiteX3" fmla="*/ 0 w 12201600"/>
              <a:gd name="connsiteY3" fmla="*/ 4715387 h 6865200"/>
              <a:gd name="connsiteX4" fmla="*/ 12182275 w 12201600"/>
              <a:gd name="connsiteY4" fmla="*/ 6865200 h 6865200"/>
              <a:gd name="connsiteX5" fmla="*/ 0 w 12201600"/>
              <a:gd name="connsiteY5" fmla="*/ 6865200 h 6865200"/>
              <a:gd name="connsiteX6" fmla="*/ 6127788 w 12201600"/>
              <a:gd name="connsiteY6" fmla="*/ 0 h 6865200"/>
              <a:gd name="connsiteX7" fmla="*/ 12201600 w 12201600"/>
              <a:gd name="connsiteY7" fmla="*/ 0 h 6865200"/>
              <a:gd name="connsiteX8" fmla="*/ 12201600 w 12201600"/>
              <a:gd name="connsiteY8" fmla="*/ 4694747 h 6865200"/>
              <a:gd name="connsiteX9" fmla="*/ 6127788 w 12201600"/>
              <a:gd name="connsiteY9" fmla="*/ 5766225 h 6865200"/>
              <a:gd name="connsiteX10" fmla="*/ 0 w 12201600"/>
              <a:gd name="connsiteY10" fmla="*/ 0 h 6865200"/>
              <a:gd name="connsiteX11" fmla="*/ 6102387 w 12201600"/>
              <a:gd name="connsiteY11" fmla="*/ 0 h 6865200"/>
              <a:gd name="connsiteX12" fmla="*/ 6102387 w 12201600"/>
              <a:gd name="connsiteY12" fmla="*/ 5766225 h 6865200"/>
              <a:gd name="connsiteX13" fmla="*/ 0 w 12201600"/>
              <a:gd name="connsiteY13" fmla="*/ 4690733 h 68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201600" h="6865200">
                <a:moveTo>
                  <a:pt x="12201600" y="4720711"/>
                </a:moveTo>
                <a:lnTo>
                  <a:pt x="12201600" y="6842373"/>
                </a:lnTo>
                <a:lnTo>
                  <a:pt x="6188113" y="5782100"/>
                </a:lnTo>
                <a:close/>
                <a:moveTo>
                  <a:pt x="0" y="4715387"/>
                </a:moveTo>
                <a:lnTo>
                  <a:pt x="12182275" y="6865200"/>
                </a:lnTo>
                <a:lnTo>
                  <a:pt x="0" y="6865200"/>
                </a:lnTo>
                <a:close/>
                <a:moveTo>
                  <a:pt x="6127788" y="0"/>
                </a:moveTo>
                <a:lnTo>
                  <a:pt x="12201600" y="0"/>
                </a:lnTo>
                <a:lnTo>
                  <a:pt x="12201600" y="4694747"/>
                </a:lnTo>
                <a:lnTo>
                  <a:pt x="6127788" y="5766225"/>
                </a:lnTo>
                <a:close/>
                <a:moveTo>
                  <a:pt x="0" y="0"/>
                </a:moveTo>
                <a:lnTo>
                  <a:pt x="6102387" y="0"/>
                </a:lnTo>
                <a:lnTo>
                  <a:pt x="6102387" y="5766225"/>
                </a:lnTo>
                <a:lnTo>
                  <a:pt x="0" y="469073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1044000" anchor="ctr" anchorCtr="0">
            <a:noAutofit/>
          </a:bodyPr>
          <a:lstStyle>
            <a:lvl1pPr algn="ctr">
              <a:defRPr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17" name="Text Placeholder 3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684000" y="345600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667815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billed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-4800" y="-3600"/>
            <a:ext cx="12201600" cy="6865200"/>
          </a:xfrm>
          <a:custGeom>
            <a:avLst/>
            <a:gdLst>
              <a:gd name="connsiteX0" fmla="*/ 12201600 w 12201600"/>
              <a:gd name="connsiteY0" fmla="*/ 3998299 h 6865200"/>
              <a:gd name="connsiteX1" fmla="*/ 12201600 w 12201600"/>
              <a:gd name="connsiteY1" fmla="*/ 5411563 h 6865200"/>
              <a:gd name="connsiteX2" fmla="*/ 8197888 w 12201600"/>
              <a:gd name="connsiteY2" fmla="*/ 4704188 h 6865200"/>
              <a:gd name="connsiteX3" fmla="*/ 0 w 12201600"/>
              <a:gd name="connsiteY3" fmla="*/ 3283463 h 6865200"/>
              <a:gd name="connsiteX4" fmla="*/ 12201600 w 12201600"/>
              <a:gd name="connsiteY4" fmla="*/ 5437805 h 6865200"/>
              <a:gd name="connsiteX5" fmla="*/ 12201600 w 12201600"/>
              <a:gd name="connsiteY5" fmla="*/ 6865200 h 6865200"/>
              <a:gd name="connsiteX6" fmla="*/ 0 w 12201600"/>
              <a:gd name="connsiteY6" fmla="*/ 6865200 h 6865200"/>
              <a:gd name="connsiteX7" fmla="*/ 8137563 w 12201600"/>
              <a:gd name="connsiteY7" fmla="*/ 0 h 6865200"/>
              <a:gd name="connsiteX8" fmla="*/ 12201600 w 12201600"/>
              <a:gd name="connsiteY8" fmla="*/ 0 h 6865200"/>
              <a:gd name="connsiteX9" fmla="*/ 12201600 w 12201600"/>
              <a:gd name="connsiteY9" fmla="*/ 3972067 h 6865200"/>
              <a:gd name="connsiteX10" fmla="*/ 8137563 w 12201600"/>
              <a:gd name="connsiteY10" fmla="*/ 4689900 h 6865200"/>
              <a:gd name="connsiteX11" fmla="*/ 0 w 12201600"/>
              <a:gd name="connsiteY11" fmla="*/ 0 h 6865200"/>
              <a:gd name="connsiteX12" fmla="*/ 8112163 w 12201600"/>
              <a:gd name="connsiteY12" fmla="*/ 0 h 6865200"/>
              <a:gd name="connsiteX13" fmla="*/ 8112163 w 12201600"/>
              <a:gd name="connsiteY13" fmla="*/ 4689900 h 6865200"/>
              <a:gd name="connsiteX14" fmla="*/ 0 w 12201600"/>
              <a:gd name="connsiteY14" fmla="*/ 3257222 h 68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201600" h="6865200">
                <a:moveTo>
                  <a:pt x="12201600" y="3998299"/>
                </a:moveTo>
                <a:lnTo>
                  <a:pt x="12201600" y="5411563"/>
                </a:lnTo>
                <a:lnTo>
                  <a:pt x="8197888" y="4704188"/>
                </a:lnTo>
                <a:close/>
                <a:moveTo>
                  <a:pt x="0" y="3283463"/>
                </a:moveTo>
                <a:lnTo>
                  <a:pt x="12201600" y="5437805"/>
                </a:lnTo>
                <a:lnTo>
                  <a:pt x="12201600" y="6865200"/>
                </a:lnTo>
                <a:lnTo>
                  <a:pt x="0" y="6865200"/>
                </a:lnTo>
                <a:close/>
                <a:moveTo>
                  <a:pt x="8137563" y="0"/>
                </a:moveTo>
                <a:lnTo>
                  <a:pt x="12201600" y="0"/>
                </a:lnTo>
                <a:lnTo>
                  <a:pt x="12201600" y="3972067"/>
                </a:lnTo>
                <a:lnTo>
                  <a:pt x="8137563" y="4689900"/>
                </a:lnTo>
                <a:close/>
                <a:moveTo>
                  <a:pt x="0" y="0"/>
                </a:moveTo>
                <a:lnTo>
                  <a:pt x="8112163" y="0"/>
                </a:lnTo>
                <a:lnTo>
                  <a:pt x="8112163" y="4689900"/>
                </a:lnTo>
                <a:lnTo>
                  <a:pt x="0" y="3257222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1044000" anchor="ctr" anchorCtr="0">
            <a:noAutofit/>
          </a:bodyPr>
          <a:lstStyle>
            <a:lvl1pPr algn="ctr">
              <a:defRPr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12" name="Text Placeholder 3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684000" y="345600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245832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billed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201600" cy="6865200"/>
          </a:xfrm>
          <a:custGeom>
            <a:avLst/>
            <a:gdLst>
              <a:gd name="connsiteX0" fmla="*/ 6118651 w 12201600"/>
              <a:gd name="connsiteY0" fmla="*/ 4604175 h 6865200"/>
              <a:gd name="connsiteX1" fmla="*/ 12201600 w 12201600"/>
              <a:gd name="connsiteY1" fmla="*/ 5677079 h 6865200"/>
              <a:gd name="connsiteX2" fmla="*/ 12201600 w 12201600"/>
              <a:gd name="connsiteY2" fmla="*/ 6865200 h 6865200"/>
              <a:gd name="connsiteX3" fmla="*/ 50412 w 12201600"/>
              <a:gd name="connsiteY3" fmla="*/ 6865200 h 6865200"/>
              <a:gd name="connsiteX4" fmla="*/ 12201600 w 12201600"/>
              <a:gd name="connsiteY4" fmla="*/ 3530712 h 6865200"/>
              <a:gd name="connsiteX5" fmla="*/ 12201600 w 12201600"/>
              <a:gd name="connsiteY5" fmla="*/ 5649250 h 6865200"/>
              <a:gd name="connsiteX6" fmla="*/ 6196438 w 12201600"/>
              <a:gd name="connsiteY6" fmla="*/ 4589888 h 6865200"/>
              <a:gd name="connsiteX7" fmla="*/ 6131351 w 12201600"/>
              <a:gd name="connsiteY7" fmla="*/ 0 h 6865200"/>
              <a:gd name="connsiteX8" fmla="*/ 12201600 w 12201600"/>
              <a:gd name="connsiteY8" fmla="*/ 0 h 6865200"/>
              <a:gd name="connsiteX9" fmla="*/ 12201600 w 12201600"/>
              <a:gd name="connsiteY9" fmla="*/ 3502885 h 6865200"/>
              <a:gd name="connsiteX10" fmla="*/ 6131351 w 12201600"/>
              <a:gd name="connsiteY10" fmla="*/ 4574013 h 6865200"/>
              <a:gd name="connsiteX11" fmla="*/ 0 w 12201600"/>
              <a:gd name="connsiteY11" fmla="*/ 0 h 6865200"/>
              <a:gd name="connsiteX12" fmla="*/ 6104363 w 12201600"/>
              <a:gd name="connsiteY12" fmla="*/ 0 h 6865200"/>
              <a:gd name="connsiteX13" fmla="*/ 6104363 w 12201600"/>
              <a:gd name="connsiteY13" fmla="*/ 4581950 h 6865200"/>
              <a:gd name="connsiteX14" fmla="*/ 0 w 12201600"/>
              <a:gd name="connsiteY14" fmla="*/ 6855037 h 68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201600" h="6865200">
                <a:moveTo>
                  <a:pt x="6118651" y="4604175"/>
                </a:moveTo>
                <a:lnTo>
                  <a:pt x="12201600" y="5677079"/>
                </a:lnTo>
                <a:lnTo>
                  <a:pt x="12201600" y="6865200"/>
                </a:lnTo>
                <a:lnTo>
                  <a:pt x="50412" y="6865200"/>
                </a:lnTo>
                <a:close/>
                <a:moveTo>
                  <a:pt x="12201600" y="3530712"/>
                </a:moveTo>
                <a:lnTo>
                  <a:pt x="12201600" y="5649250"/>
                </a:lnTo>
                <a:lnTo>
                  <a:pt x="6196438" y="4589888"/>
                </a:lnTo>
                <a:close/>
                <a:moveTo>
                  <a:pt x="6131351" y="0"/>
                </a:moveTo>
                <a:lnTo>
                  <a:pt x="12201600" y="0"/>
                </a:lnTo>
                <a:lnTo>
                  <a:pt x="12201600" y="3502885"/>
                </a:lnTo>
                <a:lnTo>
                  <a:pt x="6131351" y="4574013"/>
                </a:lnTo>
                <a:close/>
                <a:moveTo>
                  <a:pt x="0" y="0"/>
                </a:moveTo>
                <a:lnTo>
                  <a:pt x="6104363" y="0"/>
                </a:lnTo>
                <a:lnTo>
                  <a:pt x="6104363" y="4581950"/>
                </a:lnTo>
                <a:lnTo>
                  <a:pt x="0" y="685503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1044000" anchor="ctr" anchorCtr="0">
            <a:noAutofit/>
          </a:bodyPr>
          <a:lstStyle>
            <a:lvl1pPr algn="ctr">
              <a:defRPr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11" name="Text Placeholder 3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684000" y="345600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0131039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med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2" hasCustomPrompt="1"/>
          </p:nvPr>
        </p:nvSpPr>
        <p:spPr>
          <a:xfrm>
            <a:off x="-4800" y="-3600"/>
            <a:ext cx="12201600" cy="6865200"/>
          </a:xfrm>
          <a:solidFill>
            <a:schemeClr val="bg2"/>
          </a:solidFill>
        </p:spPr>
        <p:txBody>
          <a:bodyPr bIns="1044000" anchor="ctr" anchorCtr="0"/>
          <a:lstStyle>
            <a:lvl1pPr algn="ctr">
              <a:defRPr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8508268" y="3871519"/>
            <a:ext cx="3337657" cy="1933969"/>
          </a:xfrm>
          <a:solidFill>
            <a:schemeClr val="accent1">
              <a:alpha val="90000"/>
            </a:schemeClr>
          </a:solidFill>
        </p:spPr>
        <p:txBody>
          <a:bodyPr wrap="square" lIns="342000" tIns="342000" rIns="342000" bIns="342000" anchor="b" anchorCtr="0">
            <a:spAutoFit/>
          </a:bodyPr>
          <a:lstStyle>
            <a:lvl1pPr marL="0" indent="0">
              <a:lnSpc>
                <a:spcPct val="118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lnSpc>
                <a:spcPct val="118000"/>
              </a:lnSpc>
              <a:spcBef>
                <a:spcPts val="300"/>
              </a:spcBef>
              <a:defRPr sz="1200">
                <a:solidFill>
                  <a:schemeClr val="bg1"/>
                </a:solidFill>
              </a:defRPr>
            </a:lvl2pPr>
            <a:lvl3pPr marL="324000">
              <a:lnSpc>
                <a:spcPct val="118000"/>
              </a:lnSpc>
              <a:spcBef>
                <a:spcPts val="300"/>
              </a:spcBef>
              <a:defRPr sz="1200">
                <a:solidFill>
                  <a:schemeClr val="bg1"/>
                </a:solidFill>
              </a:defRPr>
            </a:lvl3pPr>
            <a:lvl4pPr marL="360000">
              <a:lnSpc>
                <a:spcPct val="118000"/>
              </a:lnSpc>
              <a:spcBef>
                <a:spcPts val="300"/>
              </a:spcBef>
              <a:defRPr sz="1200">
                <a:solidFill>
                  <a:schemeClr val="bg1"/>
                </a:solidFill>
              </a:defRPr>
            </a:lvl4pPr>
            <a:lvl5pPr marL="360000">
              <a:lnSpc>
                <a:spcPct val="118000"/>
              </a:lnSpc>
              <a:spcBef>
                <a:spcPts val="300"/>
              </a:spcBef>
              <a:defRPr sz="1200">
                <a:solidFill>
                  <a:schemeClr val="bg1"/>
                </a:solidFill>
              </a:defRPr>
            </a:lvl5pPr>
            <a:lvl6pPr marL="252000" indent="0">
              <a:lnSpc>
                <a:spcPct val="110000"/>
              </a:lnSpc>
              <a:spcBef>
                <a:spcPts val="300"/>
              </a:spcBef>
              <a:buNone/>
              <a:defRPr sz="1000">
                <a:solidFill>
                  <a:schemeClr val="bg1"/>
                </a:solidFill>
              </a:defRPr>
            </a:lvl6pPr>
            <a:lvl7pPr marL="360000">
              <a:lnSpc>
                <a:spcPct val="110000"/>
              </a:lnSpc>
              <a:spcBef>
                <a:spcPts val="300"/>
              </a:spcBef>
              <a:defRPr sz="1000">
                <a:solidFill>
                  <a:schemeClr val="bg1"/>
                </a:solidFill>
              </a:defRPr>
            </a:lvl7pPr>
            <a:lvl8pPr marL="360000">
              <a:lnSpc>
                <a:spcPct val="110000"/>
              </a:lnSpc>
              <a:spcBef>
                <a:spcPts val="300"/>
              </a:spcBef>
              <a:defRPr sz="1000">
                <a:solidFill>
                  <a:schemeClr val="bg1"/>
                </a:solidFill>
              </a:defRPr>
            </a:lvl8pPr>
            <a:lvl9pPr marL="360000">
              <a:lnSpc>
                <a:spcPct val="110000"/>
              </a:lnSpc>
              <a:spcBef>
                <a:spcPts val="300"/>
              </a:spcBef>
              <a:defRPr sz="1000"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Edit Master </a:t>
            </a:r>
            <a:r>
              <a:rPr lang="da-DK" dirty="0" err="1"/>
              <a:t>text</a:t>
            </a:r>
            <a:r>
              <a:rPr lang="da-DK" dirty="0"/>
              <a:t> styles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7" name="Text Placeholder 3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684000" y="345600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6289854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med tekstbok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2" hasCustomPrompt="1"/>
          </p:nvPr>
        </p:nvSpPr>
        <p:spPr>
          <a:xfrm>
            <a:off x="-4800" y="-3600"/>
            <a:ext cx="12201600" cy="6865200"/>
          </a:xfrm>
          <a:solidFill>
            <a:schemeClr val="bg2"/>
          </a:solidFill>
        </p:spPr>
        <p:txBody>
          <a:bodyPr bIns="1044000" anchor="ctr" anchorCtr="0"/>
          <a:lstStyle>
            <a:lvl1pPr algn="ctr">
              <a:defRPr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8508268" y="3871519"/>
            <a:ext cx="3337657" cy="1933969"/>
          </a:xfrm>
          <a:solidFill>
            <a:schemeClr val="accent2">
              <a:alpha val="90000"/>
            </a:schemeClr>
          </a:solidFill>
        </p:spPr>
        <p:txBody>
          <a:bodyPr wrap="square" lIns="342000" tIns="342000" rIns="342000" bIns="342000" anchor="b" anchorCtr="0">
            <a:spAutoFit/>
          </a:bodyPr>
          <a:lstStyle>
            <a:lvl1pPr marL="0" indent="0">
              <a:lnSpc>
                <a:spcPct val="118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lnSpc>
                <a:spcPct val="118000"/>
              </a:lnSpc>
              <a:spcBef>
                <a:spcPts val="300"/>
              </a:spcBef>
              <a:defRPr sz="1200">
                <a:solidFill>
                  <a:schemeClr val="bg1"/>
                </a:solidFill>
              </a:defRPr>
            </a:lvl2pPr>
            <a:lvl3pPr marL="324000">
              <a:lnSpc>
                <a:spcPct val="118000"/>
              </a:lnSpc>
              <a:spcBef>
                <a:spcPts val="300"/>
              </a:spcBef>
              <a:defRPr sz="1200">
                <a:solidFill>
                  <a:schemeClr val="bg1"/>
                </a:solidFill>
              </a:defRPr>
            </a:lvl3pPr>
            <a:lvl4pPr marL="360000">
              <a:lnSpc>
                <a:spcPct val="118000"/>
              </a:lnSpc>
              <a:spcBef>
                <a:spcPts val="300"/>
              </a:spcBef>
              <a:defRPr sz="1200">
                <a:solidFill>
                  <a:schemeClr val="bg1"/>
                </a:solidFill>
              </a:defRPr>
            </a:lvl4pPr>
            <a:lvl5pPr marL="360000">
              <a:lnSpc>
                <a:spcPct val="118000"/>
              </a:lnSpc>
              <a:spcBef>
                <a:spcPts val="300"/>
              </a:spcBef>
              <a:defRPr sz="1200">
                <a:solidFill>
                  <a:schemeClr val="bg1"/>
                </a:solidFill>
              </a:defRPr>
            </a:lvl5pPr>
            <a:lvl6pPr marL="252000" indent="0">
              <a:lnSpc>
                <a:spcPct val="110000"/>
              </a:lnSpc>
              <a:spcBef>
                <a:spcPts val="300"/>
              </a:spcBef>
              <a:buNone/>
              <a:defRPr sz="1000">
                <a:solidFill>
                  <a:schemeClr val="bg1"/>
                </a:solidFill>
              </a:defRPr>
            </a:lvl6pPr>
            <a:lvl7pPr marL="360000">
              <a:lnSpc>
                <a:spcPct val="110000"/>
              </a:lnSpc>
              <a:spcBef>
                <a:spcPts val="300"/>
              </a:spcBef>
              <a:defRPr sz="1000">
                <a:solidFill>
                  <a:schemeClr val="bg1"/>
                </a:solidFill>
              </a:defRPr>
            </a:lvl7pPr>
            <a:lvl8pPr marL="360000">
              <a:lnSpc>
                <a:spcPct val="110000"/>
              </a:lnSpc>
              <a:spcBef>
                <a:spcPts val="300"/>
              </a:spcBef>
              <a:defRPr sz="1000">
                <a:solidFill>
                  <a:schemeClr val="bg1"/>
                </a:solidFill>
              </a:defRPr>
            </a:lvl8pPr>
            <a:lvl9pPr marL="360000">
              <a:lnSpc>
                <a:spcPct val="110000"/>
              </a:lnSpc>
              <a:spcBef>
                <a:spcPts val="300"/>
              </a:spcBef>
              <a:defRPr sz="1000"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Edit Master </a:t>
            </a:r>
            <a:r>
              <a:rPr lang="da-DK" dirty="0" err="1"/>
              <a:t>text</a:t>
            </a:r>
            <a:r>
              <a:rPr lang="da-DK" dirty="0"/>
              <a:t> styles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7" name="Text Placeholder 3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684000" y="345600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9475393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med tekstboks  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2" hasCustomPrompt="1"/>
          </p:nvPr>
        </p:nvSpPr>
        <p:spPr>
          <a:xfrm>
            <a:off x="-4800" y="-3600"/>
            <a:ext cx="12201600" cy="6865200"/>
          </a:xfrm>
          <a:solidFill>
            <a:schemeClr val="bg2"/>
          </a:solidFill>
        </p:spPr>
        <p:txBody>
          <a:bodyPr bIns="1044000" anchor="ctr" anchorCtr="0"/>
          <a:lstStyle>
            <a:lvl1pPr algn="ctr">
              <a:defRPr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8508268" y="3871519"/>
            <a:ext cx="3337657" cy="1933969"/>
          </a:xfrm>
          <a:solidFill>
            <a:schemeClr val="accent3">
              <a:alpha val="90000"/>
            </a:schemeClr>
          </a:solidFill>
        </p:spPr>
        <p:txBody>
          <a:bodyPr wrap="square" lIns="342000" tIns="342000" rIns="342000" bIns="342000" anchor="b" anchorCtr="0">
            <a:spAutoFit/>
          </a:bodyPr>
          <a:lstStyle>
            <a:lvl1pPr marL="0" indent="0">
              <a:lnSpc>
                <a:spcPct val="118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lnSpc>
                <a:spcPct val="118000"/>
              </a:lnSpc>
              <a:spcBef>
                <a:spcPts val="300"/>
              </a:spcBef>
              <a:defRPr sz="1200">
                <a:solidFill>
                  <a:schemeClr val="bg1"/>
                </a:solidFill>
              </a:defRPr>
            </a:lvl2pPr>
            <a:lvl3pPr marL="324000">
              <a:lnSpc>
                <a:spcPct val="118000"/>
              </a:lnSpc>
              <a:spcBef>
                <a:spcPts val="300"/>
              </a:spcBef>
              <a:defRPr sz="1200">
                <a:solidFill>
                  <a:schemeClr val="bg1"/>
                </a:solidFill>
              </a:defRPr>
            </a:lvl3pPr>
            <a:lvl4pPr marL="360000">
              <a:lnSpc>
                <a:spcPct val="118000"/>
              </a:lnSpc>
              <a:spcBef>
                <a:spcPts val="300"/>
              </a:spcBef>
              <a:defRPr sz="1200">
                <a:solidFill>
                  <a:schemeClr val="bg1"/>
                </a:solidFill>
              </a:defRPr>
            </a:lvl4pPr>
            <a:lvl5pPr marL="360000">
              <a:lnSpc>
                <a:spcPct val="118000"/>
              </a:lnSpc>
              <a:spcBef>
                <a:spcPts val="300"/>
              </a:spcBef>
              <a:defRPr sz="1200">
                <a:solidFill>
                  <a:schemeClr val="bg1"/>
                </a:solidFill>
              </a:defRPr>
            </a:lvl5pPr>
            <a:lvl6pPr marL="252000" indent="0">
              <a:lnSpc>
                <a:spcPct val="110000"/>
              </a:lnSpc>
              <a:spcBef>
                <a:spcPts val="300"/>
              </a:spcBef>
              <a:buNone/>
              <a:defRPr sz="1000">
                <a:solidFill>
                  <a:schemeClr val="bg1"/>
                </a:solidFill>
              </a:defRPr>
            </a:lvl6pPr>
            <a:lvl7pPr marL="360000">
              <a:lnSpc>
                <a:spcPct val="110000"/>
              </a:lnSpc>
              <a:spcBef>
                <a:spcPts val="300"/>
              </a:spcBef>
              <a:defRPr sz="1000">
                <a:solidFill>
                  <a:schemeClr val="bg1"/>
                </a:solidFill>
              </a:defRPr>
            </a:lvl7pPr>
            <a:lvl8pPr marL="360000">
              <a:lnSpc>
                <a:spcPct val="110000"/>
              </a:lnSpc>
              <a:spcBef>
                <a:spcPts val="300"/>
              </a:spcBef>
              <a:defRPr sz="1000">
                <a:solidFill>
                  <a:schemeClr val="bg1"/>
                </a:solidFill>
              </a:defRPr>
            </a:lvl8pPr>
            <a:lvl9pPr marL="360000">
              <a:lnSpc>
                <a:spcPct val="110000"/>
              </a:lnSpc>
              <a:spcBef>
                <a:spcPts val="300"/>
              </a:spcBef>
              <a:defRPr sz="1000"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Edit Master </a:t>
            </a:r>
            <a:r>
              <a:rPr lang="da-DK" dirty="0" err="1"/>
              <a:t>text</a:t>
            </a:r>
            <a:r>
              <a:rPr lang="da-DK" dirty="0"/>
              <a:t> styles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7" name="Text Placeholder 3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684000" y="345600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147432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med tekstboks 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2" hasCustomPrompt="1"/>
          </p:nvPr>
        </p:nvSpPr>
        <p:spPr>
          <a:xfrm>
            <a:off x="-4800" y="-3600"/>
            <a:ext cx="12201600" cy="6865200"/>
          </a:xfrm>
          <a:solidFill>
            <a:schemeClr val="bg2"/>
          </a:solidFill>
        </p:spPr>
        <p:txBody>
          <a:bodyPr bIns="1044000" anchor="ctr" anchorCtr="0"/>
          <a:lstStyle>
            <a:lvl1pPr algn="ctr">
              <a:defRPr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8508268" y="3871519"/>
            <a:ext cx="3337657" cy="1933969"/>
          </a:xfrm>
          <a:solidFill>
            <a:schemeClr val="accent4">
              <a:alpha val="90000"/>
            </a:schemeClr>
          </a:solidFill>
        </p:spPr>
        <p:txBody>
          <a:bodyPr wrap="square" lIns="342000" tIns="342000" rIns="342000" bIns="342000" anchor="b" anchorCtr="0">
            <a:spAutoFit/>
          </a:bodyPr>
          <a:lstStyle>
            <a:lvl1pPr marL="0" indent="0">
              <a:lnSpc>
                <a:spcPct val="118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lnSpc>
                <a:spcPct val="118000"/>
              </a:lnSpc>
              <a:spcBef>
                <a:spcPts val="300"/>
              </a:spcBef>
              <a:defRPr sz="1200">
                <a:solidFill>
                  <a:schemeClr val="bg1"/>
                </a:solidFill>
              </a:defRPr>
            </a:lvl2pPr>
            <a:lvl3pPr marL="324000">
              <a:lnSpc>
                <a:spcPct val="118000"/>
              </a:lnSpc>
              <a:spcBef>
                <a:spcPts val="300"/>
              </a:spcBef>
              <a:defRPr sz="1200">
                <a:solidFill>
                  <a:schemeClr val="bg1"/>
                </a:solidFill>
              </a:defRPr>
            </a:lvl3pPr>
            <a:lvl4pPr marL="360000">
              <a:lnSpc>
                <a:spcPct val="118000"/>
              </a:lnSpc>
              <a:spcBef>
                <a:spcPts val="300"/>
              </a:spcBef>
              <a:defRPr sz="1200">
                <a:solidFill>
                  <a:schemeClr val="bg1"/>
                </a:solidFill>
              </a:defRPr>
            </a:lvl4pPr>
            <a:lvl5pPr marL="360000">
              <a:lnSpc>
                <a:spcPct val="118000"/>
              </a:lnSpc>
              <a:spcBef>
                <a:spcPts val="300"/>
              </a:spcBef>
              <a:defRPr sz="1200">
                <a:solidFill>
                  <a:schemeClr val="bg1"/>
                </a:solidFill>
              </a:defRPr>
            </a:lvl5pPr>
            <a:lvl6pPr marL="252000" indent="0">
              <a:lnSpc>
                <a:spcPct val="110000"/>
              </a:lnSpc>
              <a:spcBef>
                <a:spcPts val="300"/>
              </a:spcBef>
              <a:buNone/>
              <a:defRPr sz="1000">
                <a:solidFill>
                  <a:schemeClr val="bg1"/>
                </a:solidFill>
              </a:defRPr>
            </a:lvl6pPr>
            <a:lvl7pPr marL="360000">
              <a:lnSpc>
                <a:spcPct val="110000"/>
              </a:lnSpc>
              <a:spcBef>
                <a:spcPts val="300"/>
              </a:spcBef>
              <a:defRPr sz="1000">
                <a:solidFill>
                  <a:schemeClr val="bg1"/>
                </a:solidFill>
              </a:defRPr>
            </a:lvl7pPr>
            <a:lvl8pPr marL="360000">
              <a:lnSpc>
                <a:spcPct val="110000"/>
              </a:lnSpc>
              <a:spcBef>
                <a:spcPts val="300"/>
              </a:spcBef>
              <a:defRPr sz="1000">
                <a:solidFill>
                  <a:schemeClr val="bg1"/>
                </a:solidFill>
              </a:defRPr>
            </a:lvl8pPr>
            <a:lvl9pPr marL="360000">
              <a:lnSpc>
                <a:spcPct val="110000"/>
              </a:lnSpc>
              <a:spcBef>
                <a:spcPts val="300"/>
              </a:spcBef>
              <a:defRPr sz="1000"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Edit Master </a:t>
            </a:r>
            <a:r>
              <a:rPr lang="da-DK" dirty="0" err="1"/>
              <a:t>text</a:t>
            </a:r>
            <a:r>
              <a:rPr lang="da-DK" dirty="0"/>
              <a:t> styles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7" name="Text Placeholder 3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684000" y="345600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3693005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t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Grey"/>
          <p:cNvSpPr>
            <a:spLocks/>
          </p:cNvSpPr>
          <p:nvPr userDrawn="1"/>
        </p:nvSpPr>
        <p:spPr bwMode="auto">
          <a:xfrm>
            <a:off x="4037726" y="6129302"/>
            <a:ext cx="8154276" cy="728490"/>
          </a:xfrm>
          <a:custGeom>
            <a:avLst/>
            <a:gdLst>
              <a:gd name="connsiteX0" fmla="*/ 3051740 w 6115707"/>
              <a:gd name="connsiteY0" fmla="*/ 0 h 541429"/>
              <a:gd name="connsiteX1" fmla="*/ 6115707 w 6115707"/>
              <a:gd name="connsiteY1" fmla="*/ 541429 h 541429"/>
              <a:gd name="connsiteX2" fmla="*/ 0 w 6115707"/>
              <a:gd name="connsiteY2" fmla="*/ 541429 h 541429"/>
              <a:gd name="connsiteX3" fmla="*/ 0 w 6115707"/>
              <a:gd name="connsiteY3" fmla="*/ 538966 h 5414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15707" h="541429">
                <a:moveTo>
                  <a:pt x="3051740" y="0"/>
                </a:moveTo>
                <a:lnTo>
                  <a:pt x="6115707" y="541429"/>
                </a:lnTo>
                <a:lnTo>
                  <a:pt x="0" y="541429"/>
                </a:lnTo>
                <a:lnTo>
                  <a:pt x="0" y="53896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a-DK" sz="1800" dirty="0"/>
          </a:p>
        </p:txBody>
      </p:sp>
      <p:sp>
        <p:nvSpPr>
          <p:cNvPr id="27" name="Picture Placeholder 2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7792 h 6858000"/>
              <a:gd name="connsiteX3" fmla="*/ 8106713 w 12192000"/>
              <a:gd name="connsiteY3" fmla="*/ 6129302 h 6858000"/>
              <a:gd name="connsiteX4" fmla="*/ 4037726 w 12192000"/>
              <a:gd name="connsiteY4" fmla="*/ 6854478 h 6858000"/>
              <a:gd name="connsiteX5" fmla="*/ 4037726 w 12192000"/>
              <a:gd name="connsiteY5" fmla="*/ 6857792 h 6858000"/>
              <a:gd name="connsiteX6" fmla="*/ 12192000 w 12192000"/>
              <a:gd name="connsiteY6" fmla="*/ 6857792 h 6858000"/>
              <a:gd name="connsiteX7" fmla="*/ 12192000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7792"/>
                </a:lnTo>
                <a:lnTo>
                  <a:pt x="8106713" y="6129302"/>
                </a:lnTo>
                <a:lnTo>
                  <a:pt x="4037726" y="6854478"/>
                </a:lnTo>
                <a:lnTo>
                  <a:pt x="4037726" y="6857792"/>
                </a:lnTo>
                <a:lnTo>
                  <a:pt x="12192000" y="6857792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504000" bIns="1044000" anchor="ctr" anchorCtr="0">
            <a:noAutofit/>
          </a:bodyPr>
          <a:lstStyle>
            <a:lvl1pPr algn="l">
              <a:defRPr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&lt;</a:t>
            </a:r>
            <a:endParaRPr lang="da-DK"/>
          </a:p>
        </p:txBody>
      </p: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>
          <a:xfrm>
            <a:off x="8113185" y="1455410"/>
            <a:ext cx="4082400" cy="4671791"/>
          </a:xfrm>
          <a:custGeom>
            <a:avLst/>
            <a:gdLst>
              <a:gd name="connsiteX0" fmla="*/ 4054602 w 4078815"/>
              <a:gd name="connsiteY0" fmla="*/ 0 h 4671791"/>
              <a:gd name="connsiteX1" fmla="*/ 4078815 w 4078815"/>
              <a:gd name="connsiteY1" fmla="*/ 0 h 4671791"/>
              <a:gd name="connsiteX2" fmla="*/ 4075382 w 4078815"/>
              <a:gd name="connsiteY2" fmla="*/ 3976900 h 4671791"/>
              <a:gd name="connsiteX3" fmla="*/ 13427 w 4078815"/>
              <a:gd name="connsiteY3" fmla="*/ 4671791 h 4671791"/>
              <a:gd name="connsiteX4" fmla="*/ 0 w 4078815"/>
              <a:gd name="connsiteY4" fmla="*/ 4671791 h 4671791"/>
              <a:gd name="connsiteX5" fmla="*/ 0 w 4078815"/>
              <a:gd name="connsiteY5" fmla="*/ 694290 h 4671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78815" h="4671791">
                <a:moveTo>
                  <a:pt x="4054602" y="0"/>
                </a:moveTo>
                <a:lnTo>
                  <a:pt x="4078815" y="0"/>
                </a:lnTo>
                <a:cubicBezTo>
                  <a:pt x="4077671" y="1325634"/>
                  <a:pt x="4076526" y="2651266"/>
                  <a:pt x="4075382" y="3976900"/>
                </a:cubicBezTo>
                <a:lnTo>
                  <a:pt x="13427" y="4671791"/>
                </a:lnTo>
                <a:lnTo>
                  <a:pt x="0" y="4671791"/>
                </a:lnTo>
                <a:lnTo>
                  <a:pt x="0" y="694290"/>
                </a:lnTo>
                <a:close/>
              </a:path>
            </a:pathLst>
          </a:custGeom>
          <a:solidFill>
            <a:schemeClr val="accent1">
              <a:alpha val="90000"/>
            </a:schemeClr>
          </a:solidFill>
        </p:spPr>
        <p:txBody>
          <a:bodyPr wrap="square" lIns="684000" tIns="2109600" rIns="684000" bIns="0" anchor="t" anchorCtr="0">
            <a:noAutofit/>
          </a:bodyPr>
          <a:lstStyle>
            <a:lvl1pPr>
              <a:lnSpc>
                <a:spcPct val="92000"/>
              </a:lnSpc>
              <a:defRPr sz="12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5" name="USR_Name"/>
          <p:cNvSpPr>
            <a:spLocks noGrp="1"/>
          </p:cNvSpPr>
          <p:nvPr>
            <p:ph type="body" sz="quarter" idx="17" hasCustomPrompt="1"/>
          </p:nvPr>
        </p:nvSpPr>
        <p:spPr>
          <a:xfrm>
            <a:off x="8109589" y="3780000"/>
            <a:ext cx="4078800" cy="407904"/>
          </a:xfrm>
        </p:spPr>
        <p:txBody>
          <a:bodyPr lIns="684000" rIns="684000" anchor="b" anchorCtr="0"/>
          <a:lstStyle>
            <a:lvl1pPr marL="0" indent="0">
              <a:lnSpc>
                <a:spcPct val="110000"/>
              </a:lnSpc>
              <a:spcBef>
                <a:spcPts val="0"/>
              </a:spcBef>
              <a:defRPr sz="1200" cap="all" baseline="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spcBef>
                <a:spcPts val="300"/>
              </a:spcBef>
              <a:defRPr sz="1200" cap="all" baseline="0"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spcBef>
                <a:spcPts val="300"/>
              </a:spcBef>
              <a:defRPr sz="1200" cap="all" baseline="0"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spcBef>
                <a:spcPts val="300"/>
              </a:spcBef>
              <a:defRPr sz="1200" cap="all" baseline="0"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spcBef>
                <a:spcPts val="300"/>
              </a:spcBef>
              <a:defRPr sz="1200" cap="all" baseline="0">
                <a:solidFill>
                  <a:schemeClr val="bg1"/>
                </a:solidFill>
              </a:defRPr>
            </a:lvl5pPr>
            <a:lvl6pPr marL="648000" indent="0">
              <a:lnSpc>
                <a:spcPct val="110000"/>
              </a:lnSpc>
              <a:spcBef>
                <a:spcPts val="300"/>
              </a:spcBef>
              <a:buNone/>
              <a:defRPr cap="all" baseline="0">
                <a:solidFill>
                  <a:schemeClr val="bg1"/>
                </a:solidFill>
              </a:defRPr>
            </a:lvl6pPr>
            <a:lvl7pPr>
              <a:lnSpc>
                <a:spcPct val="110000"/>
              </a:lnSpc>
              <a:spcBef>
                <a:spcPts val="300"/>
              </a:spcBef>
              <a:defRPr>
                <a:solidFill>
                  <a:schemeClr val="bg1"/>
                </a:solidFill>
              </a:defRPr>
            </a:lvl7pPr>
            <a:lvl8pPr>
              <a:lnSpc>
                <a:spcPct val="110000"/>
              </a:lnSpc>
              <a:spcBef>
                <a:spcPts val="300"/>
              </a:spcBef>
              <a:defRPr>
                <a:solidFill>
                  <a:schemeClr val="bg1"/>
                </a:solidFill>
              </a:defRPr>
            </a:lvl8pPr>
            <a:lvl9pPr>
              <a:lnSpc>
                <a:spcPct val="110000"/>
              </a:lnSpc>
              <a:spcBef>
                <a:spcPts val="300"/>
              </a:spcBef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/>
              <a:t>Henrik Hommelgaard</a:t>
            </a:r>
          </a:p>
        </p:txBody>
      </p:sp>
      <p:sp>
        <p:nvSpPr>
          <p:cNvPr id="8" name="USR_DirectPhone"/>
          <p:cNvSpPr>
            <a:spLocks noGrp="1"/>
          </p:cNvSpPr>
          <p:nvPr>
            <p:ph type="body" sz="quarter" idx="20" hasCustomPrompt="1"/>
          </p:nvPr>
        </p:nvSpPr>
        <p:spPr>
          <a:xfrm>
            <a:off x="8109588" y="4201200"/>
            <a:ext cx="4078816" cy="233567"/>
          </a:xfrm>
        </p:spPr>
        <p:txBody>
          <a:bodyPr lIns="684000" rIns="684000"/>
          <a:lstStyle>
            <a:lvl1pPr marL="0" indent="0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+45 2270 9213</a:t>
            </a:r>
          </a:p>
        </p:txBody>
      </p:sp>
      <p:sp>
        <p:nvSpPr>
          <p:cNvPr id="14" name="USR_Email"/>
          <p:cNvSpPr>
            <a:spLocks noGrp="1"/>
          </p:cNvSpPr>
          <p:nvPr>
            <p:ph type="body" sz="quarter" idx="21" hasCustomPrompt="1"/>
          </p:nvPr>
        </p:nvSpPr>
        <p:spPr>
          <a:xfrm>
            <a:off x="8109588" y="4413600"/>
            <a:ext cx="4078816" cy="233567"/>
          </a:xfrm>
        </p:spPr>
        <p:txBody>
          <a:bodyPr lIns="684000" rIns="684000"/>
          <a:lstStyle>
            <a:lvl1pPr marL="0" indent="0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heh@mth.dk</a:t>
            </a:r>
          </a:p>
        </p:txBody>
      </p:sp>
      <p:sp>
        <p:nvSpPr>
          <p:cNvPr id="15" name="OFF_name"/>
          <p:cNvSpPr>
            <a:spLocks noGrp="1"/>
          </p:cNvSpPr>
          <p:nvPr>
            <p:ph type="body" sz="quarter" idx="22" hasCustomPrompt="1"/>
          </p:nvPr>
        </p:nvSpPr>
        <p:spPr>
          <a:xfrm>
            <a:off x="8109588" y="4852800"/>
            <a:ext cx="4078816" cy="233567"/>
          </a:xfrm>
        </p:spPr>
        <p:txBody>
          <a:bodyPr lIns="684000" rIns="684000"/>
          <a:lstStyle>
            <a:lvl1pPr marL="0" indent="0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MT Højgaard A/S</a:t>
            </a:r>
          </a:p>
        </p:txBody>
      </p:sp>
      <p:sp>
        <p:nvSpPr>
          <p:cNvPr id="16" name="OFF_phone"/>
          <p:cNvSpPr>
            <a:spLocks noGrp="1"/>
          </p:cNvSpPr>
          <p:nvPr>
            <p:ph type="body" sz="quarter" idx="23" hasCustomPrompt="1"/>
          </p:nvPr>
        </p:nvSpPr>
        <p:spPr>
          <a:xfrm>
            <a:off x="8109588" y="5061600"/>
            <a:ext cx="4078816" cy="233567"/>
          </a:xfrm>
        </p:spPr>
        <p:txBody>
          <a:bodyPr lIns="684000" rIns="684000"/>
          <a:lstStyle>
            <a:lvl1pPr marL="0" indent="0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+45 7012 2400</a:t>
            </a:r>
          </a:p>
        </p:txBody>
      </p:sp>
      <p:sp>
        <p:nvSpPr>
          <p:cNvPr id="17" name="OFF_web"/>
          <p:cNvSpPr>
            <a:spLocks noGrp="1"/>
          </p:cNvSpPr>
          <p:nvPr>
            <p:ph type="body" sz="quarter" idx="24" hasCustomPrompt="1"/>
          </p:nvPr>
        </p:nvSpPr>
        <p:spPr>
          <a:xfrm>
            <a:off x="8109588" y="5274000"/>
            <a:ext cx="4078816" cy="233567"/>
          </a:xfrm>
        </p:spPr>
        <p:txBody>
          <a:bodyPr lIns="684000" rIns="684000"/>
          <a:lstStyle>
            <a:lvl1pPr marL="0" indent="0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mth.dk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25" hasCustomPrompt="1"/>
          </p:nvPr>
        </p:nvSpPr>
        <p:spPr>
          <a:xfrm>
            <a:off x="8114400" y="5432400"/>
            <a:ext cx="4081216" cy="1425600"/>
          </a:xfrm>
          <a:custGeom>
            <a:avLst/>
            <a:gdLst>
              <a:gd name="connsiteX0" fmla="*/ 4078785 w 4081216"/>
              <a:gd name="connsiteY0" fmla="*/ 0 h 1425600"/>
              <a:gd name="connsiteX1" fmla="*/ 4079317 w 4081216"/>
              <a:gd name="connsiteY1" fmla="*/ 0 h 1425600"/>
              <a:gd name="connsiteX2" fmla="*/ 4081216 w 4081216"/>
              <a:gd name="connsiteY2" fmla="*/ 1425600 h 1425600"/>
              <a:gd name="connsiteX3" fmla="*/ 6666 w 4081216"/>
              <a:gd name="connsiteY3" fmla="*/ 703055 h 1425600"/>
              <a:gd name="connsiteX4" fmla="*/ 0 w 4081216"/>
              <a:gd name="connsiteY4" fmla="*/ 698383 h 1425600"/>
              <a:gd name="connsiteX5" fmla="*/ 0 w 4081216"/>
              <a:gd name="connsiteY5" fmla="*/ 697784 h 142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81216" h="1425600">
                <a:moveTo>
                  <a:pt x="4078785" y="0"/>
                </a:moveTo>
                <a:lnTo>
                  <a:pt x="4079317" y="0"/>
                </a:lnTo>
                <a:lnTo>
                  <a:pt x="4081216" y="1425600"/>
                </a:lnTo>
                <a:lnTo>
                  <a:pt x="6666" y="703055"/>
                </a:lnTo>
                <a:lnTo>
                  <a:pt x="0" y="698383"/>
                </a:lnTo>
                <a:lnTo>
                  <a:pt x="0" y="697784"/>
                </a:lnTo>
                <a:close/>
              </a:path>
            </a:pathLst>
          </a:custGeom>
          <a:solidFill>
            <a:srgbClr val="061C48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22" name="Text Placeholder 3"/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8798400" y="2735333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07624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515">
          <p15:clr>
            <a:srgbClr val="000000"/>
          </p15:clr>
        </p15:guide>
        <p15:guide id="3" pos="3833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A 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icture Placeholder 38"/>
          <p:cNvSpPr>
            <a:spLocks noGrp="1"/>
          </p:cNvSpPr>
          <p:nvPr>
            <p:ph type="pic" sz="quarter" idx="13" hasCustomPrompt="1"/>
          </p:nvPr>
        </p:nvSpPr>
        <p:spPr>
          <a:xfrm>
            <a:off x="-4800" y="-3600"/>
            <a:ext cx="12206400" cy="6865200"/>
          </a:xfrm>
          <a:prstGeom prst="rect">
            <a:avLst/>
          </a:prstGeom>
          <a:solidFill>
            <a:schemeClr val="bg2"/>
          </a:solidFill>
        </p:spPr>
        <p:txBody>
          <a:bodyPr wrap="square" lIns="108000" tIns="108000" rIns="4824000" bIns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4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6096000" y="0"/>
            <a:ext cx="6105600" cy="6861600"/>
          </a:xfrm>
          <a:custGeom>
            <a:avLst/>
            <a:gdLst>
              <a:gd name="connsiteX0" fmla="*/ 0 w 6105600"/>
              <a:gd name="connsiteY0" fmla="*/ 0 h 6861600"/>
              <a:gd name="connsiteX1" fmla="*/ 6105600 w 6105600"/>
              <a:gd name="connsiteY1" fmla="*/ 0 h 6861600"/>
              <a:gd name="connsiteX2" fmla="*/ 6105600 w 6105600"/>
              <a:gd name="connsiteY2" fmla="*/ 6861600 h 6861600"/>
              <a:gd name="connsiteX3" fmla="*/ 0 w 6105600"/>
              <a:gd name="connsiteY3" fmla="*/ 6861600 h 6861600"/>
              <a:gd name="connsiteX4" fmla="*/ 0 w 6105600"/>
              <a:gd name="connsiteY4" fmla="*/ 6858001 h 6861600"/>
              <a:gd name="connsiteX5" fmla="*/ 6096000 w 6105600"/>
              <a:gd name="connsiteY5" fmla="*/ 6858001 h 6861600"/>
              <a:gd name="connsiteX6" fmla="*/ 6095992 w 6105600"/>
              <a:gd name="connsiteY6" fmla="*/ 6858000 h 6861600"/>
              <a:gd name="connsiteX7" fmla="*/ 6096000 w 6105600"/>
              <a:gd name="connsiteY7" fmla="*/ 6858000 h 6861600"/>
              <a:gd name="connsiteX8" fmla="*/ 0 w 6105600"/>
              <a:gd name="connsiteY8" fmla="*/ 5805851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05600" h="6861600">
                <a:moveTo>
                  <a:pt x="0" y="0"/>
                </a:moveTo>
                <a:lnTo>
                  <a:pt x="6105600" y="0"/>
                </a:lnTo>
                <a:lnTo>
                  <a:pt x="6105600" y="6861600"/>
                </a:lnTo>
                <a:lnTo>
                  <a:pt x="0" y="6861600"/>
                </a:lnTo>
                <a:lnTo>
                  <a:pt x="0" y="6858001"/>
                </a:lnTo>
                <a:lnTo>
                  <a:pt x="6096000" y="6858001"/>
                </a:lnTo>
                <a:lnTo>
                  <a:pt x="6095992" y="6858000"/>
                </a:lnTo>
                <a:lnTo>
                  <a:pt x="6096000" y="6858000"/>
                </a:lnTo>
                <a:lnTo>
                  <a:pt x="0" y="5805851"/>
                </a:lnTo>
                <a:close/>
              </a:path>
            </a:pathLst>
          </a:custGeom>
          <a:solidFill>
            <a:schemeClr val="accent4">
              <a:alpha val="90000"/>
            </a:schemeClr>
          </a:solidFill>
        </p:spPr>
        <p:txBody>
          <a:bodyPr wrap="square" lIns="630000" tIns="3780000" rIns="630000" bIns="4788000" anchor="t" anchorCtr="0">
            <a:noAutofit/>
          </a:bodyPr>
          <a:lstStyle>
            <a:lvl1pPr>
              <a:lnSpc>
                <a:spcPct val="87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Præsentationstitel i </a:t>
            </a:r>
            <a:r>
              <a:rPr lang="da-DK" dirty="0" err="1"/>
              <a:t>maks</a:t>
            </a:r>
            <a:r>
              <a:rPr lang="da-DK" dirty="0"/>
              <a:t> to linjer</a:t>
            </a:r>
            <a:endParaRPr lang="da-DK"/>
          </a:p>
        </p:txBody>
      </p:sp>
      <p:sp>
        <p:nvSpPr>
          <p:cNvPr id="3" name="Undertitel 2"/>
          <p:cNvSpPr>
            <a:spLocks noGrp="1"/>
          </p:cNvSpPr>
          <p:nvPr>
            <p:ph type="subTitle" idx="1" hasCustomPrompt="1"/>
          </p:nvPr>
        </p:nvSpPr>
        <p:spPr>
          <a:xfrm>
            <a:off x="6096001" y="4132800"/>
            <a:ext cx="5422900" cy="498834"/>
          </a:xfrm>
        </p:spPr>
        <p:txBody>
          <a:bodyPr lIns="640800" rIns="511200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Klik, og tilføj undertitel</a:t>
            </a:r>
            <a:endParaRPr lang="da-DK"/>
          </a:p>
        </p:txBody>
      </p:sp>
      <p:sp>
        <p:nvSpPr>
          <p:cNvPr id="6" name="Indsæt TitleName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1" y="1922400"/>
            <a:ext cx="5422900" cy="360040"/>
          </a:xfrm>
        </p:spPr>
        <p:txBody>
          <a:bodyPr lIns="684000" anchor="b" anchorCtr="0"/>
          <a:lstStyle>
            <a:lvl1pPr>
              <a:lnSpc>
                <a:spcPct val="115000"/>
              </a:lnSpc>
              <a:defRPr sz="10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Indsæt titel, navn</a:t>
            </a:r>
            <a:endParaRPr lang="da-DK"/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805489"/>
            <a:ext cx="12192000" cy="1052514"/>
          </a:xfrm>
          <a:custGeom>
            <a:avLst/>
            <a:gdLst>
              <a:gd name="connsiteX0" fmla="*/ 4570413 w 9144000"/>
              <a:gd name="connsiteY0" fmla="*/ 0 h 809625"/>
              <a:gd name="connsiteX1" fmla="*/ 9144000 w 9144000"/>
              <a:gd name="connsiteY1" fmla="*/ 809625 h 809625"/>
              <a:gd name="connsiteX2" fmla="*/ 0 w 9144000"/>
              <a:gd name="connsiteY2" fmla="*/ 809625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144000" h="809625">
                <a:moveTo>
                  <a:pt x="4570413" y="0"/>
                </a:moveTo>
                <a:lnTo>
                  <a:pt x="9144000" y="809625"/>
                </a:lnTo>
                <a:lnTo>
                  <a:pt x="0" y="809625"/>
                </a:lnTo>
                <a:close/>
              </a:path>
            </a:pathLst>
          </a:custGeom>
          <a:solidFill>
            <a:schemeClr val="accent4">
              <a:alpha val="6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16" hasCustomPrompt="1"/>
          </p:nvPr>
        </p:nvSpPr>
        <p:spPr>
          <a:xfrm>
            <a:off x="6095999" y="4761148"/>
            <a:ext cx="6096001" cy="2094419"/>
          </a:xfrm>
          <a:custGeom>
            <a:avLst/>
            <a:gdLst>
              <a:gd name="connsiteX0" fmla="*/ 4572000 w 4572000"/>
              <a:gd name="connsiteY0" fmla="*/ 0 h 1615884"/>
              <a:gd name="connsiteX1" fmla="*/ 4572000 w 4572000"/>
              <a:gd name="connsiteY1" fmla="*/ 1615884 h 1615884"/>
              <a:gd name="connsiteX2" fmla="*/ 0 w 4572000"/>
              <a:gd name="connsiteY2" fmla="*/ 808222 h 1615884"/>
              <a:gd name="connsiteX3" fmla="*/ 0 w 4572000"/>
              <a:gd name="connsiteY3" fmla="*/ 807661 h 1615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72000" h="1615884">
                <a:moveTo>
                  <a:pt x="4572000" y="0"/>
                </a:moveTo>
                <a:lnTo>
                  <a:pt x="4572000" y="1615884"/>
                </a:lnTo>
                <a:lnTo>
                  <a:pt x="0" y="808222"/>
                </a:lnTo>
                <a:lnTo>
                  <a:pt x="0" y="807661"/>
                </a:lnTo>
                <a:close/>
              </a:path>
            </a:pathLst>
          </a:custGeom>
          <a:solidFill>
            <a:srgbClr val="EB4430"/>
          </a:solidFill>
        </p:spPr>
        <p:txBody>
          <a:bodyPr wrap="square">
            <a:noAutofit/>
          </a:bodyPr>
          <a:lstStyle>
            <a:lvl1pPr marL="0" indent="0">
              <a:buNone/>
              <a:defRPr sz="100"/>
            </a:lvl1pPr>
            <a:lvl2pPr marL="0" indent="0">
              <a:buNone/>
              <a:defRPr sz="100"/>
            </a:lvl2pPr>
            <a:lvl3pPr marL="216000" indent="0">
              <a:buNone/>
              <a:defRPr sz="100"/>
            </a:lvl3pPr>
            <a:lvl4pPr marL="432000" indent="0">
              <a:buNone/>
              <a:defRPr sz="100"/>
            </a:lvl4pPr>
            <a:lvl5pPr marL="648000" indent="0">
              <a:buNone/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10" name="TextBox 9"/>
          <p:cNvSpPr txBox="1"/>
          <p:nvPr userDrawn="1"/>
        </p:nvSpPr>
        <p:spPr>
          <a:xfrm>
            <a:off x="-14179" y="-214438"/>
            <a:ext cx="122064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noProof="0" dirty="0">
                <a:solidFill>
                  <a:schemeClr val="accent1"/>
                </a:solidFill>
              </a:rPr>
              <a:t>Bemærk</a:t>
            </a:r>
            <a:r>
              <a:rPr lang="da-DK" sz="1100" noProof="0" dirty="0">
                <a:solidFill>
                  <a:schemeClr val="accent1"/>
                </a:solidFill>
              </a:rPr>
              <a:t> at billedet ses under boksen som er transparent. Derfor skal billedet fylde hele siden.</a:t>
            </a:r>
            <a:endParaRPr lang="da-DK"/>
          </a:p>
        </p:txBody>
      </p:sp>
      <p:sp>
        <p:nvSpPr>
          <p:cNvPr id="17" name="Text Placeholder 3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6743700" y="345600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5360392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tning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Grey"/>
          <p:cNvSpPr>
            <a:spLocks/>
          </p:cNvSpPr>
          <p:nvPr userDrawn="1"/>
        </p:nvSpPr>
        <p:spPr bwMode="auto">
          <a:xfrm>
            <a:off x="4037726" y="6129302"/>
            <a:ext cx="8154276" cy="728490"/>
          </a:xfrm>
          <a:custGeom>
            <a:avLst/>
            <a:gdLst>
              <a:gd name="connsiteX0" fmla="*/ 3051740 w 6115707"/>
              <a:gd name="connsiteY0" fmla="*/ 0 h 541429"/>
              <a:gd name="connsiteX1" fmla="*/ 6115707 w 6115707"/>
              <a:gd name="connsiteY1" fmla="*/ 541429 h 541429"/>
              <a:gd name="connsiteX2" fmla="*/ 0 w 6115707"/>
              <a:gd name="connsiteY2" fmla="*/ 541429 h 541429"/>
              <a:gd name="connsiteX3" fmla="*/ 0 w 6115707"/>
              <a:gd name="connsiteY3" fmla="*/ 538966 h 5414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15707" h="541429">
                <a:moveTo>
                  <a:pt x="3051740" y="0"/>
                </a:moveTo>
                <a:lnTo>
                  <a:pt x="6115707" y="541429"/>
                </a:lnTo>
                <a:lnTo>
                  <a:pt x="0" y="541429"/>
                </a:lnTo>
                <a:lnTo>
                  <a:pt x="0" y="53896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a-DK" sz="1800" dirty="0"/>
          </a:p>
        </p:txBody>
      </p:sp>
      <p:sp>
        <p:nvSpPr>
          <p:cNvPr id="27" name="Picture Placeholder 2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7792 h 6858000"/>
              <a:gd name="connsiteX3" fmla="*/ 8106713 w 12192000"/>
              <a:gd name="connsiteY3" fmla="*/ 6129302 h 6858000"/>
              <a:gd name="connsiteX4" fmla="*/ 4037726 w 12192000"/>
              <a:gd name="connsiteY4" fmla="*/ 6854478 h 6858000"/>
              <a:gd name="connsiteX5" fmla="*/ 4037726 w 12192000"/>
              <a:gd name="connsiteY5" fmla="*/ 6857792 h 6858000"/>
              <a:gd name="connsiteX6" fmla="*/ 12192000 w 12192000"/>
              <a:gd name="connsiteY6" fmla="*/ 6857792 h 6858000"/>
              <a:gd name="connsiteX7" fmla="*/ 12192000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7792"/>
                </a:lnTo>
                <a:lnTo>
                  <a:pt x="8106713" y="6129302"/>
                </a:lnTo>
                <a:lnTo>
                  <a:pt x="4037726" y="6854478"/>
                </a:lnTo>
                <a:lnTo>
                  <a:pt x="4037726" y="6857792"/>
                </a:lnTo>
                <a:lnTo>
                  <a:pt x="12192000" y="6857792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504000" bIns="1044000" anchor="ctr" anchorCtr="0">
            <a:noAutofit/>
          </a:bodyPr>
          <a:lstStyle>
            <a:lvl1pPr algn="l">
              <a:defRPr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&lt;</a:t>
            </a:r>
            <a:endParaRPr lang="da-DK"/>
          </a:p>
        </p:txBody>
      </p: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>
          <a:xfrm>
            <a:off x="8113185" y="1455410"/>
            <a:ext cx="4082400" cy="4671791"/>
          </a:xfrm>
          <a:custGeom>
            <a:avLst/>
            <a:gdLst>
              <a:gd name="connsiteX0" fmla="*/ 4054602 w 4078815"/>
              <a:gd name="connsiteY0" fmla="*/ 0 h 4671791"/>
              <a:gd name="connsiteX1" fmla="*/ 4078815 w 4078815"/>
              <a:gd name="connsiteY1" fmla="*/ 0 h 4671791"/>
              <a:gd name="connsiteX2" fmla="*/ 4075382 w 4078815"/>
              <a:gd name="connsiteY2" fmla="*/ 3976900 h 4671791"/>
              <a:gd name="connsiteX3" fmla="*/ 13427 w 4078815"/>
              <a:gd name="connsiteY3" fmla="*/ 4671791 h 4671791"/>
              <a:gd name="connsiteX4" fmla="*/ 0 w 4078815"/>
              <a:gd name="connsiteY4" fmla="*/ 4671791 h 4671791"/>
              <a:gd name="connsiteX5" fmla="*/ 0 w 4078815"/>
              <a:gd name="connsiteY5" fmla="*/ 694290 h 4671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78815" h="4671791">
                <a:moveTo>
                  <a:pt x="4054602" y="0"/>
                </a:moveTo>
                <a:lnTo>
                  <a:pt x="4078815" y="0"/>
                </a:lnTo>
                <a:cubicBezTo>
                  <a:pt x="4077671" y="1325634"/>
                  <a:pt x="4076526" y="2651266"/>
                  <a:pt x="4075382" y="3976900"/>
                </a:cubicBezTo>
                <a:lnTo>
                  <a:pt x="13427" y="4671791"/>
                </a:lnTo>
                <a:lnTo>
                  <a:pt x="0" y="4671791"/>
                </a:lnTo>
                <a:lnTo>
                  <a:pt x="0" y="694290"/>
                </a:lnTo>
                <a:close/>
              </a:path>
            </a:pathLst>
          </a:custGeom>
          <a:solidFill>
            <a:schemeClr val="accent2">
              <a:alpha val="90000"/>
            </a:schemeClr>
          </a:solidFill>
        </p:spPr>
        <p:txBody>
          <a:bodyPr wrap="square" lIns="684000" tIns="2109600" rIns="684000" bIns="0" anchor="t" anchorCtr="0">
            <a:noAutofit/>
          </a:bodyPr>
          <a:lstStyle>
            <a:lvl1pPr>
              <a:lnSpc>
                <a:spcPct val="92000"/>
              </a:lnSpc>
              <a:defRPr sz="12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5" name="USR_Name"/>
          <p:cNvSpPr>
            <a:spLocks noGrp="1"/>
          </p:cNvSpPr>
          <p:nvPr>
            <p:ph type="body" sz="quarter" idx="17" hasCustomPrompt="1"/>
          </p:nvPr>
        </p:nvSpPr>
        <p:spPr>
          <a:xfrm>
            <a:off x="8109589" y="3780000"/>
            <a:ext cx="4078800" cy="407904"/>
          </a:xfrm>
        </p:spPr>
        <p:txBody>
          <a:bodyPr lIns="684000" rIns="684000" anchor="b" anchorCtr="0"/>
          <a:lstStyle>
            <a:lvl1pPr marL="0" indent="0">
              <a:lnSpc>
                <a:spcPct val="110000"/>
              </a:lnSpc>
              <a:spcBef>
                <a:spcPts val="0"/>
              </a:spcBef>
              <a:defRPr sz="1200" cap="all" baseline="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spcBef>
                <a:spcPts val="300"/>
              </a:spcBef>
              <a:defRPr sz="1200" cap="all" baseline="0"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spcBef>
                <a:spcPts val="300"/>
              </a:spcBef>
              <a:defRPr sz="1200" cap="all" baseline="0"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spcBef>
                <a:spcPts val="300"/>
              </a:spcBef>
              <a:defRPr sz="1200" cap="all" baseline="0"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spcBef>
                <a:spcPts val="300"/>
              </a:spcBef>
              <a:defRPr sz="1200" cap="all" baseline="0">
                <a:solidFill>
                  <a:schemeClr val="bg1"/>
                </a:solidFill>
              </a:defRPr>
            </a:lvl5pPr>
            <a:lvl6pPr marL="648000" indent="0">
              <a:lnSpc>
                <a:spcPct val="110000"/>
              </a:lnSpc>
              <a:spcBef>
                <a:spcPts val="300"/>
              </a:spcBef>
              <a:buNone/>
              <a:defRPr cap="all" baseline="0">
                <a:solidFill>
                  <a:schemeClr val="bg1"/>
                </a:solidFill>
              </a:defRPr>
            </a:lvl6pPr>
            <a:lvl7pPr>
              <a:lnSpc>
                <a:spcPct val="110000"/>
              </a:lnSpc>
              <a:spcBef>
                <a:spcPts val="300"/>
              </a:spcBef>
              <a:defRPr>
                <a:solidFill>
                  <a:schemeClr val="bg1"/>
                </a:solidFill>
              </a:defRPr>
            </a:lvl7pPr>
            <a:lvl8pPr>
              <a:lnSpc>
                <a:spcPct val="110000"/>
              </a:lnSpc>
              <a:spcBef>
                <a:spcPts val="300"/>
              </a:spcBef>
              <a:defRPr>
                <a:solidFill>
                  <a:schemeClr val="bg1"/>
                </a:solidFill>
              </a:defRPr>
            </a:lvl8pPr>
            <a:lvl9pPr>
              <a:lnSpc>
                <a:spcPct val="110000"/>
              </a:lnSpc>
              <a:spcBef>
                <a:spcPts val="300"/>
              </a:spcBef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/>
              <a:t>Henrik Hommelgaard</a:t>
            </a:r>
          </a:p>
        </p:txBody>
      </p:sp>
      <p:sp>
        <p:nvSpPr>
          <p:cNvPr id="8" name="USR_DirectPhone"/>
          <p:cNvSpPr>
            <a:spLocks noGrp="1"/>
          </p:cNvSpPr>
          <p:nvPr>
            <p:ph type="body" sz="quarter" idx="20" hasCustomPrompt="1"/>
          </p:nvPr>
        </p:nvSpPr>
        <p:spPr>
          <a:xfrm>
            <a:off x="8109588" y="4201200"/>
            <a:ext cx="4078816" cy="233567"/>
          </a:xfrm>
        </p:spPr>
        <p:txBody>
          <a:bodyPr lIns="684000" rIns="684000"/>
          <a:lstStyle>
            <a:lvl1pPr marL="0" indent="0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+45 2270 9213</a:t>
            </a:r>
          </a:p>
        </p:txBody>
      </p:sp>
      <p:sp>
        <p:nvSpPr>
          <p:cNvPr id="14" name="USR_Email"/>
          <p:cNvSpPr>
            <a:spLocks noGrp="1"/>
          </p:cNvSpPr>
          <p:nvPr>
            <p:ph type="body" sz="quarter" idx="21" hasCustomPrompt="1"/>
          </p:nvPr>
        </p:nvSpPr>
        <p:spPr>
          <a:xfrm>
            <a:off x="8109588" y="4413600"/>
            <a:ext cx="4078816" cy="233567"/>
          </a:xfrm>
        </p:spPr>
        <p:txBody>
          <a:bodyPr lIns="684000" rIns="684000"/>
          <a:lstStyle>
            <a:lvl1pPr marL="0" indent="0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heh@mth.dk</a:t>
            </a:r>
          </a:p>
        </p:txBody>
      </p:sp>
      <p:sp>
        <p:nvSpPr>
          <p:cNvPr id="15" name="OFF_name"/>
          <p:cNvSpPr>
            <a:spLocks noGrp="1"/>
          </p:cNvSpPr>
          <p:nvPr>
            <p:ph type="body" sz="quarter" idx="22" hasCustomPrompt="1"/>
          </p:nvPr>
        </p:nvSpPr>
        <p:spPr>
          <a:xfrm>
            <a:off x="8109588" y="4852800"/>
            <a:ext cx="4078816" cy="233567"/>
          </a:xfrm>
        </p:spPr>
        <p:txBody>
          <a:bodyPr lIns="684000" rIns="684000"/>
          <a:lstStyle>
            <a:lvl1pPr marL="0" indent="0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MT Højgaard A/S</a:t>
            </a:r>
          </a:p>
        </p:txBody>
      </p:sp>
      <p:sp>
        <p:nvSpPr>
          <p:cNvPr id="16" name="OFF_phone"/>
          <p:cNvSpPr>
            <a:spLocks noGrp="1"/>
          </p:cNvSpPr>
          <p:nvPr>
            <p:ph type="body" sz="quarter" idx="23" hasCustomPrompt="1"/>
          </p:nvPr>
        </p:nvSpPr>
        <p:spPr>
          <a:xfrm>
            <a:off x="8109588" y="5061600"/>
            <a:ext cx="4078816" cy="233567"/>
          </a:xfrm>
        </p:spPr>
        <p:txBody>
          <a:bodyPr lIns="684000" rIns="684000"/>
          <a:lstStyle>
            <a:lvl1pPr marL="0" indent="0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+45 7012 2400</a:t>
            </a:r>
          </a:p>
        </p:txBody>
      </p:sp>
      <p:sp>
        <p:nvSpPr>
          <p:cNvPr id="17" name="OFF_web"/>
          <p:cNvSpPr>
            <a:spLocks noGrp="1"/>
          </p:cNvSpPr>
          <p:nvPr>
            <p:ph type="body" sz="quarter" idx="24" hasCustomPrompt="1"/>
          </p:nvPr>
        </p:nvSpPr>
        <p:spPr>
          <a:xfrm>
            <a:off x="8109588" y="5274000"/>
            <a:ext cx="4078816" cy="233567"/>
          </a:xfrm>
        </p:spPr>
        <p:txBody>
          <a:bodyPr lIns="684000" rIns="684000"/>
          <a:lstStyle>
            <a:lvl1pPr marL="0" indent="0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mth.dk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25" hasCustomPrompt="1"/>
          </p:nvPr>
        </p:nvSpPr>
        <p:spPr>
          <a:xfrm>
            <a:off x="8114400" y="5432400"/>
            <a:ext cx="4081216" cy="1425600"/>
          </a:xfrm>
          <a:custGeom>
            <a:avLst/>
            <a:gdLst>
              <a:gd name="connsiteX0" fmla="*/ 4078785 w 4081216"/>
              <a:gd name="connsiteY0" fmla="*/ 0 h 1425600"/>
              <a:gd name="connsiteX1" fmla="*/ 4079317 w 4081216"/>
              <a:gd name="connsiteY1" fmla="*/ 0 h 1425600"/>
              <a:gd name="connsiteX2" fmla="*/ 4081216 w 4081216"/>
              <a:gd name="connsiteY2" fmla="*/ 1425600 h 1425600"/>
              <a:gd name="connsiteX3" fmla="*/ 6666 w 4081216"/>
              <a:gd name="connsiteY3" fmla="*/ 703055 h 1425600"/>
              <a:gd name="connsiteX4" fmla="*/ 0 w 4081216"/>
              <a:gd name="connsiteY4" fmla="*/ 698383 h 1425600"/>
              <a:gd name="connsiteX5" fmla="*/ 0 w 4081216"/>
              <a:gd name="connsiteY5" fmla="*/ 697784 h 142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81216" h="1425600">
                <a:moveTo>
                  <a:pt x="4078785" y="0"/>
                </a:moveTo>
                <a:lnTo>
                  <a:pt x="4079317" y="0"/>
                </a:lnTo>
                <a:lnTo>
                  <a:pt x="4081216" y="1425600"/>
                </a:lnTo>
                <a:lnTo>
                  <a:pt x="6666" y="703055"/>
                </a:lnTo>
                <a:lnTo>
                  <a:pt x="0" y="698383"/>
                </a:lnTo>
                <a:lnTo>
                  <a:pt x="0" y="697784"/>
                </a:lnTo>
                <a:close/>
              </a:path>
            </a:pathLst>
          </a:custGeom>
          <a:solidFill>
            <a:srgbClr val="27A1BD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22" name="Text Placeholder 3"/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8798400" y="2735333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80748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515">
          <p15:clr>
            <a:srgbClr val="000000"/>
          </p15:clr>
        </p15:guide>
        <p15:guide id="3" pos="3833">
          <p15:clr>
            <a:srgbClr val="00000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tning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Grey"/>
          <p:cNvSpPr>
            <a:spLocks/>
          </p:cNvSpPr>
          <p:nvPr userDrawn="1"/>
        </p:nvSpPr>
        <p:spPr bwMode="auto">
          <a:xfrm>
            <a:off x="4037726" y="6129302"/>
            <a:ext cx="8154276" cy="728490"/>
          </a:xfrm>
          <a:custGeom>
            <a:avLst/>
            <a:gdLst>
              <a:gd name="connsiteX0" fmla="*/ 3051740 w 6115707"/>
              <a:gd name="connsiteY0" fmla="*/ 0 h 541429"/>
              <a:gd name="connsiteX1" fmla="*/ 6115707 w 6115707"/>
              <a:gd name="connsiteY1" fmla="*/ 541429 h 541429"/>
              <a:gd name="connsiteX2" fmla="*/ 0 w 6115707"/>
              <a:gd name="connsiteY2" fmla="*/ 541429 h 541429"/>
              <a:gd name="connsiteX3" fmla="*/ 0 w 6115707"/>
              <a:gd name="connsiteY3" fmla="*/ 538966 h 5414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15707" h="541429">
                <a:moveTo>
                  <a:pt x="3051740" y="0"/>
                </a:moveTo>
                <a:lnTo>
                  <a:pt x="6115707" y="541429"/>
                </a:lnTo>
                <a:lnTo>
                  <a:pt x="0" y="541429"/>
                </a:lnTo>
                <a:lnTo>
                  <a:pt x="0" y="53896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a-DK" sz="1800" dirty="0"/>
          </a:p>
        </p:txBody>
      </p:sp>
      <p:sp>
        <p:nvSpPr>
          <p:cNvPr id="27" name="Picture Placeholder 2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7792 h 6858000"/>
              <a:gd name="connsiteX3" fmla="*/ 8106713 w 12192000"/>
              <a:gd name="connsiteY3" fmla="*/ 6129302 h 6858000"/>
              <a:gd name="connsiteX4" fmla="*/ 4037726 w 12192000"/>
              <a:gd name="connsiteY4" fmla="*/ 6854478 h 6858000"/>
              <a:gd name="connsiteX5" fmla="*/ 4037726 w 12192000"/>
              <a:gd name="connsiteY5" fmla="*/ 6857792 h 6858000"/>
              <a:gd name="connsiteX6" fmla="*/ 12192000 w 12192000"/>
              <a:gd name="connsiteY6" fmla="*/ 6857792 h 6858000"/>
              <a:gd name="connsiteX7" fmla="*/ 12192000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7792"/>
                </a:lnTo>
                <a:lnTo>
                  <a:pt x="8106713" y="6129302"/>
                </a:lnTo>
                <a:lnTo>
                  <a:pt x="4037726" y="6854478"/>
                </a:lnTo>
                <a:lnTo>
                  <a:pt x="4037726" y="6857792"/>
                </a:lnTo>
                <a:lnTo>
                  <a:pt x="12192000" y="6857792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504000" bIns="1044000" anchor="ctr" anchorCtr="0">
            <a:noAutofit/>
          </a:bodyPr>
          <a:lstStyle>
            <a:lvl1pPr algn="l">
              <a:defRPr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&lt;</a:t>
            </a:r>
            <a:endParaRPr lang="da-DK"/>
          </a:p>
        </p:txBody>
      </p: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>
          <a:xfrm>
            <a:off x="8113185" y="1455410"/>
            <a:ext cx="4082400" cy="4671791"/>
          </a:xfrm>
          <a:custGeom>
            <a:avLst/>
            <a:gdLst>
              <a:gd name="connsiteX0" fmla="*/ 4054602 w 4078815"/>
              <a:gd name="connsiteY0" fmla="*/ 0 h 4671791"/>
              <a:gd name="connsiteX1" fmla="*/ 4078815 w 4078815"/>
              <a:gd name="connsiteY1" fmla="*/ 0 h 4671791"/>
              <a:gd name="connsiteX2" fmla="*/ 4075382 w 4078815"/>
              <a:gd name="connsiteY2" fmla="*/ 3976900 h 4671791"/>
              <a:gd name="connsiteX3" fmla="*/ 13427 w 4078815"/>
              <a:gd name="connsiteY3" fmla="*/ 4671791 h 4671791"/>
              <a:gd name="connsiteX4" fmla="*/ 0 w 4078815"/>
              <a:gd name="connsiteY4" fmla="*/ 4671791 h 4671791"/>
              <a:gd name="connsiteX5" fmla="*/ 0 w 4078815"/>
              <a:gd name="connsiteY5" fmla="*/ 694290 h 4671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78815" h="4671791">
                <a:moveTo>
                  <a:pt x="4054602" y="0"/>
                </a:moveTo>
                <a:lnTo>
                  <a:pt x="4078815" y="0"/>
                </a:lnTo>
                <a:cubicBezTo>
                  <a:pt x="4077671" y="1325634"/>
                  <a:pt x="4076526" y="2651266"/>
                  <a:pt x="4075382" y="3976900"/>
                </a:cubicBezTo>
                <a:lnTo>
                  <a:pt x="13427" y="4671791"/>
                </a:lnTo>
                <a:lnTo>
                  <a:pt x="0" y="4671791"/>
                </a:lnTo>
                <a:lnTo>
                  <a:pt x="0" y="694290"/>
                </a:lnTo>
                <a:close/>
              </a:path>
            </a:pathLst>
          </a:custGeom>
          <a:solidFill>
            <a:schemeClr val="accent3">
              <a:alpha val="90000"/>
            </a:schemeClr>
          </a:solidFill>
        </p:spPr>
        <p:txBody>
          <a:bodyPr wrap="square" lIns="684000" tIns="2109600" rIns="684000" bIns="0" anchor="t" anchorCtr="0">
            <a:noAutofit/>
          </a:bodyPr>
          <a:lstStyle>
            <a:lvl1pPr>
              <a:lnSpc>
                <a:spcPct val="92000"/>
              </a:lnSpc>
              <a:defRPr sz="12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5" name="USR_Name"/>
          <p:cNvSpPr>
            <a:spLocks noGrp="1"/>
          </p:cNvSpPr>
          <p:nvPr>
            <p:ph type="body" sz="quarter" idx="17" hasCustomPrompt="1"/>
          </p:nvPr>
        </p:nvSpPr>
        <p:spPr>
          <a:xfrm>
            <a:off x="8109589" y="3780000"/>
            <a:ext cx="4078800" cy="407904"/>
          </a:xfrm>
        </p:spPr>
        <p:txBody>
          <a:bodyPr lIns="684000" rIns="684000" anchor="b" anchorCtr="0"/>
          <a:lstStyle>
            <a:lvl1pPr marL="0" indent="0">
              <a:lnSpc>
                <a:spcPct val="110000"/>
              </a:lnSpc>
              <a:spcBef>
                <a:spcPts val="0"/>
              </a:spcBef>
              <a:defRPr sz="1200" cap="all" baseline="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spcBef>
                <a:spcPts val="300"/>
              </a:spcBef>
              <a:defRPr sz="1200" cap="all" baseline="0"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spcBef>
                <a:spcPts val="300"/>
              </a:spcBef>
              <a:defRPr sz="1200" cap="all" baseline="0"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spcBef>
                <a:spcPts val="300"/>
              </a:spcBef>
              <a:defRPr sz="1200" cap="all" baseline="0"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spcBef>
                <a:spcPts val="300"/>
              </a:spcBef>
              <a:defRPr sz="1200" cap="all" baseline="0">
                <a:solidFill>
                  <a:schemeClr val="bg1"/>
                </a:solidFill>
              </a:defRPr>
            </a:lvl5pPr>
            <a:lvl6pPr marL="648000" indent="0">
              <a:lnSpc>
                <a:spcPct val="110000"/>
              </a:lnSpc>
              <a:spcBef>
                <a:spcPts val="300"/>
              </a:spcBef>
              <a:buNone/>
              <a:defRPr cap="all" baseline="0">
                <a:solidFill>
                  <a:schemeClr val="bg1"/>
                </a:solidFill>
              </a:defRPr>
            </a:lvl6pPr>
            <a:lvl7pPr>
              <a:lnSpc>
                <a:spcPct val="110000"/>
              </a:lnSpc>
              <a:spcBef>
                <a:spcPts val="300"/>
              </a:spcBef>
              <a:defRPr>
                <a:solidFill>
                  <a:schemeClr val="bg1"/>
                </a:solidFill>
              </a:defRPr>
            </a:lvl7pPr>
            <a:lvl8pPr>
              <a:lnSpc>
                <a:spcPct val="110000"/>
              </a:lnSpc>
              <a:spcBef>
                <a:spcPts val="300"/>
              </a:spcBef>
              <a:defRPr>
                <a:solidFill>
                  <a:schemeClr val="bg1"/>
                </a:solidFill>
              </a:defRPr>
            </a:lvl8pPr>
            <a:lvl9pPr>
              <a:lnSpc>
                <a:spcPct val="110000"/>
              </a:lnSpc>
              <a:spcBef>
                <a:spcPts val="300"/>
              </a:spcBef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/>
              <a:t>Henrik Hommelgaard</a:t>
            </a:r>
          </a:p>
        </p:txBody>
      </p:sp>
      <p:sp>
        <p:nvSpPr>
          <p:cNvPr id="8" name="USR_DirectPhone"/>
          <p:cNvSpPr>
            <a:spLocks noGrp="1"/>
          </p:cNvSpPr>
          <p:nvPr>
            <p:ph type="body" sz="quarter" idx="20" hasCustomPrompt="1"/>
          </p:nvPr>
        </p:nvSpPr>
        <p:spPr>
          <a:xfrm>
            <a:off x="8109588" y="4201200"/>
            <a:ext cx="4078816" cy="233567"/>
          </a:xfrm>
        </p:spPr>
        <p:txBody>
          <a:bodyPr lIns="684000" rIns="684000"/>
          <a:lstStyle>
            <a:lvl1pPr marL="0" indent="0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+45 2270 9213</a:t>
            </a:r>
          </a:p>
        </p:txBody>
      </p:sp>
      <p:sp>
        <p:nvSpPr>
          <p:cNvPr id="14" name="USR_Email"/>
          <p:cNvSpPr>
            <a:spLocks noGrp="1"/>
          </p:cNvSpPr>
          <p:nvPr>
            <p:ph type="body" sz="quarter" idx="21" hasCustomPrompt="1"/>
          </p:nvPr>
        </p:nvSpPr>
        <p:spPr>
          <a:xfrm>
            <a:off x="8109588" y="4413600"/>
            <a:ext cx="4078816" cy="233567"/>
          </a:xfrm>
        </p:spPr>
        <p:txBody>
          <a:bodyPr lIns="684000" rIns="684000"/>
          <a:lstStyle>
            <a:lvl1pPr marL="0" indent="0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heh@mth.dk</a:t>
            </a:r>
          </a:p>
        </p:txBody>
      </p:sp>
      <p:sp>
        <p:nvSpPr>
          <p:cNvPr id="15" name="OFF_name"/>
          <p:cNvSpPr>
            <a:spLocks noGrp="1"/>
          </p:cNvSpPr>
          <p:nvPr>
            <p:ph type="body" sz="quarter" idx="22" hasCustomPrompt="1"/>
          </p:nvPr>
        </p:nvSpPr>
        <p:spPr>
          <a:xfrm>
            <a:off x="8109588" y="4852800"/>
            <a:ext cx="4078816" cy="233567"/>
          </a:xfrm>
        </p:spPr>
        <p:txBody>
          <a:bodyPr lIns="684000" rIns="684000"/>
          <a:lstStyle>
            <a:lvl1pPr marL="0" indent="0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MT Højgaard A/S</a:t>
            </a:r>
          </a:p>
        </p:txBody>
      </p:sp>
      <p:sp>
        <p:nvSpPr>
          <p:cNvPr id="16" name="OFF_phone"/>
          <p:cNvSpPr>
            <a:spLocks noGrp="1"/>
          </p:cNvSpPr>
          <p:nvPr>
            <p:ph type="body" sz="quarter" idx="23" hasCustomPrompt="1"/>
          </p:nvPr>
        </p:nvSpPr>
        <p:spPr>
          <a:xfrm>
            <a:off x="8109588" y="5061600"/>
            <a:ext cx="4078816" cy="233567"/>
          </a:xfrm>
        </p:spPr>
        <p:txBody>
          <a:bodyPr lIns="684000" rIns="684000"/>
          <a:lstStyle>
            <a:lvl1pPr marL="0" indent="0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+45 7012 2400</a:t>
            </a:r>
          </a:p>
        </p:txBody>
      </p:sp>
      <p:sp>
        <p:nvSpPr>
          <p:cNvPr id="17" name="OFF_web"/>
          <p:cNvSpPr>
            <a:spLocks noGrp="1"/>
          </p:cNvSpPr>
          <p:nvPr>
            <p:ph type="body" sz="quarter" idx="24" hasCustomPrompt="1"/>
          </p:nvPr>
        </p:nvSpPr>
        <p:spPr>
          <a:xfrm>
            <a:off x="8109588" y="5274000"/>
            <a:ext cx="4078816" cy="233567"/>
          </a:xfrm>
        </p:spPr>
        <p:txBody>
          <a:bodyPr lIns="684000" rIns="684000"/>
          <a:lstStyle>
            <a:lvl1pPr marL="0" indent="0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mth.dk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25" hasCustomPrompt="1"/>
          </p:nvPr>
        </p:nvSpPr>
        <p:spPr>
          <a:xfrm>
            <a:off x="8114400" y="5432400"/>
            <a:ext cx="4081216" cy="1425600"/>
          </a:xfrm>
          <a:custGeom>
            <a:avLst/>
            <a:gdLst>
              <a:gd name="connsiteX0" fmla="*/ 4078785 w 4081216"/>
              <a:gd name="connsiteY0" fmla="*/ 0 h 1425600"/>
              <a:gd name="connsiteX1" fmla="*/ 4079317 w 4081216"/>
              <a:gd name="connsiteY1" fmla="*/ 0 h 1425600"/>
              <a:gd name="connsiteX2" fmla="*/ 4081216 w 4081216"/>
              <a:gd name="connsiteY2" fmla="*/ 1425600 h 1425600"/>
              <a:gd name="connsiteX3" fmla="*/ 6666 w 4081216"/>
              <a:gd name="connsiteY3" fmla="*/ 703055 h 1425600"/>
              <a:gd name="connsiteX4" fmla="*/ 0 w 4081216"/>
              <a:gd name="connsiteY4" fmla="*/ 698383 h 1425600"/>
              <a:gd name="connsiteX5" fmla="*/ 0 w 4081216"/>
              <a:gd name="connsiteY5" fmla="*/ 697784 h 142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81216" h="1425600">
                <a:moveTo>
                  <a:pt x="4078785" y="0"/>
                </a:moveTo>
                <a:lnTo>
                  <a:pt x="4079317" y="0"/>
                </a:lnTo>
                <a:lnTo>
                  <a:pt x="4081216" y="1425600"/>
                </a:lnTo>
                <a:lnTo>
                  <a:pt x="6666" y="703055"/>
                </a:lnTo>
                <a:lnTo>
                  <a:pt x="0" y="698383"/>
                </a:lnTo>
                <a:lnTo>
                  <a:pt x="0" y="697784"/>
                </a:lnTo>
                <a:close/>
              </a:path>
            </a:pathLst>
          </a:custGeom>
          <a:solidFill>
            <a:srgbClr val="ECAD28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22" name="Text Placeholder 3"/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8798400" y="2735333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157242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515">
          <p15:clr>
            <a:srgbClr val="000000"/>
          </p15:clr>
        </p15:guide>
        <p15:guide id="3" pos="3833">
          <p15:clr>
            <a:srgbClr val="00000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tning 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Grey"/>
          <p:cNvSpPr>
            <a:spLocks/>
          </p:cNvSpPr>
          <p:nvPr userDrawn="1"/>
        </p:nvSpPr>
        <p:spPr bwMode="auto">
          <a:xfrm>
            <a:off x="4037726" y="6129302"/>
            <a:ext cx="8154276" cy="728490"/>
          </a:xfrm>
          <a:custGeom>
            <a:avLst/>
            <a:gdLst>
              <a:gd name="connsiteX0" fmla="*/ 3051740 w 6115707"/>
              <a:gd name="connsiteY0" fmla="*/ 0 h 541429"/>
              <a:gd name="connsiteX1" fmla="*/ 6115707 w 6115707"/>
              <a:gd name="connsiteY1" fmla="*/ 541429 h 541429"/>
              <a:gd name="connsiteX2" fmla="*/ 0 w 6115707"/>
              <a:gd name="connsiteY2" fmla="*/ 541429 h 541429"/>
              <a:gd name="connsiteX3" fmla="*/ 0 w 6115707"/>
              <a:gd name="connsiteY3" fmla="*/ 538966 h 5414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15707" h="541429">
                <a:moveTo>
                  <a:pt x="3051740" y="0"/>
                </a:moveTo>
                <a:lnTo>
                  <a:pt x="6115707" y="541429"/>
                </a:lnTo>
                <a:lnTo>
                  <a:pt x="0" y="541429"/>
                </a:lnTo>
                <a:lnTo>
                  <a:pt x="0" y="53896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a-DK" sz="1800" dirty="0"/>
          </a:p>
        </p:txBody>
      </p:sp>
      <p:sp>
        <p:nvSpPr>
          <p:cNvPr id="27" name="Picture Placeholder 2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7792 h 6858000"/>
              <a:gd name="connsiteX3" fmla="*/ 8106713 w 12192000"/>
              <a:gd name="connsiteY3" fmla="*/ 6129302 h 6858000"/>
              <a:gd name="connsiteX4" fmla="*/ 4037726 w 12192000"/>
              <a:gd name="connsiteY4" fmla="*/ 6854478 h 6858000"/>
              <a:gd name="connsiteX5" fmla="*/ 4037726 w 12192000"/>
              <a:gd name="connsiteY5" fmla="*/ 6857792 h 6858000"/>
              <a:gd name="connsiteX6" fmla="*/ 12192000 w 12192000"/>
              <a:gd name="connsiteY6" fmla="*/ 6857792 h 6858000"/>
              <a:gd name="connsiteX7" fmla="*/ 12192000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7792"/>
                </a:lnTo>
                <a:lnTo>
                  <a:pt x="8106713" y="6129302"/>
                </a:lnTo>
                <a:lnTo>
                  <a:pt x="4037726" y="6854478"/>
                </a:lnTo>
                <a:lnTo>
                  <a:pt x="4037726" y="6857792"/>
                </a:lnTo>
                <a:lnTo>
                  <a:pt x="12192000" y="6857792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504000" bIns="1044000" anchor="ctr" anchorCtr="0">
            <a:noAutofit/>
          </a:bodyPr>
          <a:lstStyle>
            <a:lvl1pPr algn="l">
              <a:defRPr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&lt;</a:t>
            </a:r>
            <a:endParaRPr lang="da-DK"/>
          </a:p>
        </p:txBody>
      </p: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>
          <a:xfrm>
            <a:off x="8113185" y="1455410"/>
            <a:ext cx="4082400" cy="4671791"/>
          </a:xfrm>
          <a:custGeom>
            <a:avLst/>
            <a:gdLst>
              <a:gd name="connsiteX0" fmla="*/ 4054602 w 4078815"/>
              <a:gd name="connsiteY0" fmla="*/ 0 h 4671791"/>
              <a:gd name="connsiteX1" fmla="*/ 4078815 w 4078815"/>
              <a:gd name="connsiteY1" fmla="*/ 0 h 4671791"/>
              <a:gd name="connsiteX2" fmla="*/ 4075382 w 4078815"/>
              <a:gd name="connsiteY2" fmla="*/ 3976900 h 4671791"/>
              <a:gd name="connsiteX3" fmla="*/ 13427 w 4078815"/>
              <a:gd name="connsiteY3" fmla="*/ 4671791 h 4671791"/>
              <a:gd name="connsiteX4" fmla="*/ 0 w 4078815"/>
              <a:gd name="connsiteY4" fmla="*/ 4671791 h 4671791"/>
              <a:gd name="connsiteX5" fmla="*/ 0 w 4078815"/>
              <a:gd name="connsiteY5" fmla="*/ 694290 h 4671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78815" h="4671791">
                <a:moveTo>
                  <a:pt x="4054602" y="0"/>
                </a:moveTo>
                <a:lnTo>
                  <a:pt x="4078815" y="0"/>
                </a:lnTo>
                <a:cubicBezTo>
                  <a:pt x="4077671" y="1325634"/>
                  <a:pt x="4076526" y="2651266"/>
                  <a:pt x="4075382" y="3976900"/>
                </a:cubicBezTo>
                <a:lnTo>
                  <a:pt x="13427" y="4671791"/>
                </a:lnTo>
                <a:lnTo>
                  <a:pt x="0" y="4671791"/>
                </a:lnTo>
                <a:lnTo>
                  <a:pt x="0" y="694290"/>
                </a:lnTo>
                <a:close/>
              </a:path>
            </a:pathLst>
          </a:custGeom>
          <a:solidFill>
            <a:schemeClr val="accent4">
              <a:alpha val="90000"/>
            </a:schemeClr>
          </a:solidFill>
        </p:spPr>
        <p:txBody>
          <a:bodyPr wrap="square" lIns="684000" tIns="2109600" rIns="684000" bIns="0" anchor="t" anchorCtr="0">
            <a:noAutofit/>
          </a:bodyPr>
          <a:lstStyle>
            <a:lvl1pPr>
              <a:lnSpc>
                <a:spcPct val="92000"/>
              </a:lnSpc>
              <a:defRPr sz="12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5" name="USR_Name"/>
          <p:cNvSpPr>
            <a:spLocks noGrp="1"/>
          </p:cNvSpPr>
          <p:nvPr>
            <p:ph type="body" sz="quarter" idx="17" hasCustomPrompt="1"/>
          </p:nvPr>
        </p:nvSpPr>
        <p:spPr>
          <a:xfrm>
            <a:off x="8109589" y="3780000"/>
            <a:ext cx="4078800" cy="407904"/>
          </a:xfrm>
        </p:spPr>
        <p:txBody>
          <a:bodyPr lIns="684000" rIns="684000" anchor="b" anchorCtr="0"/>
          <a:lstStyle>
            <a:lvl1pPr marL="0" indent="0">
              <a:lnSpc>
                <a:spcPct val="110000"/>
              </a:lnSpc>
              <a:spcBef>
                <a:spcPts val="0"/>
              </a:spcBef>
              <a:defRPr sz="1200" cap="all" baseline="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spcBef>
                <a:spcPts val="300"/>
              </a:spcBef>
              <a:defRPr sz="1200" cap="all" baseline="0"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spcBef>
                <a:spcPts val="300"/>
              </a:spcBef>
              <a:defRPr sz="1200" cap="all" baseline="0"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spcBef>
                <a:spcPts val="300"/>
              </a:spcBef>
              <a:defRPr sz="1200" cap="all" baseline="0"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spcBef>
                <a:spcPts val="300"/>
              </a:spcBef>
              <a:defRPr sz="1200" cap="all" baseline="0">
                <a:solidFill>
                  <a:schemeClr val="bg1"/>
                </a:solidFill>
              </a:defRPr>
            </a:lvl5pPr>
            <a:lvl6pPr marL="648000" indent="0">
              <a:lnSpc>
                <a:spcPct val="110000"/>
              </a:lnSpc>
              <a:spcBef>
                <a:spcPts val="300"/>
              </a:spcBef>
              <a:buNone/>
              <a:defRPr cap="all" baseline="0">
                <a:solidFill>
                  <a:schemeClr val="bg1"/>
                </a:solidFill>
              </a:defRPr>
            </a:lvl6pPr>
            <a:lvl7pPr>
              <a:lnSpc>
                <a:spcPct val="110000"/>
              </a:lnSpc>
              <a:spcBef>
                <a:spcPts val="300"/>
              </a:spcBef>
              <a:defRPr>
                <a:solidFill>
                  <a:schemeClr val="bg1"/>
                </a:solidFill>
              </a:defRPr>
            </a:lvl7pPr>
            <a:lvl8pPr>
              <a:lnSpc>
                <a:spcPct val="110000"/>
              </a:lnSpc>
              <a:spcBef>
                <a:spcPts val="300"/>
              </a:spcBef>
              <a:defRPr>
                <a:solidFill>
                  <a:schemeClr val="bg1"/>
                </a:solidFill>
              </a:defRPr>
            </a:lvl8pPr>
            <a:lvl9pPr>
              <a:lnSpc>
                <a:spcPct val="110000"/>
              </a:lnSpc>
              <a:spcBef>
                <a:spcPts val="300"/>
              </a:spcBef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/>
              <a:t>Henrik Hommelgaard</a:t>
            </a:r>
          </a:p>
        </p:txBody>
      </p:sp>
      <p:sp>
        <p:nvSpPr>
          <p:cNvPr id="8" name="USR_DirectPhone"/>
          <p:cNvSpPr>
            <a:spLocks noGrp="1"/>
          </p:cNvSpPr>
          <p:nvPr>
            <p:ph type="body" sz="quarter" idx="20" hasCustomPrompt="1"/>
          </p:nvPr>
        </p:nvSpPr>
        <p:spPr>
          <a:xfrm>
            <a:off x="8109588" y="4201200"/>
            <a:ext cx="4078816" cy="233567"/>
          </a:xfrm>
        </p:spPr>
        <p:txBody>
          <a:bodyPr lIns="684000" rIns="684000"/>
          <a:lstStyle>
            <a:lvl1pPr marL="0" indent="0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+45 2270 9213</a:t>
            </a:r>
          </a:p>
        </p:txBody>
      </p:sp>
      <p:sp>
        <p:nvSpPr>
          <p:cNvPr id="14" name="USR_Email"/>
          <p:cNvSpPr>
            <a:spLocks noGrp="1"/>
          </p:cNvSpPr>
          <p:nvPr>
            <p:ph type="body" sz="quarter" idx="21" hasCustomPrompt="1"/>
          </p:nvPr>
        </p:nvSpPr>
        <p:spPr>
          <a:xfrm>
            <a:off x="8109588" y="4413600"/>
            <a:ext cx="4078816" cy="233567"/>
          </a:xfrm>
        </p:spPr>
        <p:txBody>
          <a:bodyPr lIns="684000" rIns="684000"/>
          <a:lstStyle>
            <a:lvl1pPr marL="0" indent="0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heh@mth.dk</a:t>
            </a:r>
          </a:p>
        </p:txBody>
      </p:sp>
      <p:sp>
        <p:nvSpPr>
          <p:cNvPr id="15" name="OFF_name"/>
          <p:cNvSpPr>
            <a:spLocks noGrp="1"/>
          </p:cNvSpPr>
          <p:nvPr>
            <p:ph type="body" sz="quarter" idx="22" hasCustomPrompt="1"/>
          </p:nvPr>
        </p:nvSpPr>
        <p:spPr>
          <a:xfrm>
            <a:off x="8109588" y="4852800"/>
            <a:ext cx="4078816" cy="233567"/>
          </a:xfrm>
        </p:spPr>
        <p:txBody>
          <a:bodyPr lIns="684000" rIns="684000"/>
          <a:lstStyle>
            <a:lvl1pPr marL="0" indent="0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MT Højgaard A/S</a:t>
            </a:r>
          </a:p>
        </p:txBody>
      </p:sp>
      <p:sp>
        <p:nvSpPr>
          <p:cNvPr id="16" name="OFF_phone"/>
          <p:cNvSpPr>
            <a:spLocks noGrp="1"/>
          </p:cNvSpPr>
          <p:nvPr>
            <p:ph type="body" sz="quarter" idx="23" hasCustomPrompt="1"/>
          </p:nvPr>
        </p:nvSpPr>
        <p:spPr>
          <a:xfrm>
            <a:off x="8109588" y="5061600"/>
            <a:ext cx="4078816" cy="233567"/>
          </a:xfrm>
        </p:spPr>
        <p:txBody>
          <a:bodyPr lIns="684000" rIns="684000"/>
          <a:lstStyle>
            <a:lvl1pPr marL="0" indent="0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+45 7012 2400</a:t>
            </a:r>
          </a:p>
        </p:txBody>
      </p:sp>
      <p:sp>
        <p:nvSpPr>
          <p:cNvPr id="17" name="OFF_web"/>
          <p:cNvSpPr>
            <a:spLocks noGrp="1"/>
          </p:cNvSpPr>
          <p:nvPr>
            <p:ph type="body" sz="quarter" idx="24" hasCustomPrompt="1"/>
          </p:nvPr>
        </p:nvSpPr>
        <p:spPr>
          <a:xfrm>
            <a:off x="8109588" y="5274000"/>
            <a:ext cx="4078816" cy="233567"/>
          </a:xfrm>
        </p:spPr>
        <p:txBody>
          <a:bodyPr lIns="684000" rIns="684000"/>
          <a:lstStyle>
            <a:lvl1pPr marL="0" indent="0">
              <a:lnSpc>
                <a:spcPct val="100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  <a:lvl3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3pPr>
            <a:lvl4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4pPr>
            <a:lvl5pPr indent="0">
              <a:lnSpc>
                <a:spcPct val="11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mth.dk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25" hasCustomPrompt="1"/>
          </p:nvPr>
        </p:nvSpPr>
        <p:spPr>
          <a:xfrm>
            <a:off x="8114400" y="5432400"/>
            <a:ext cx="4081216" cy="1425600"/>
          </a:xfrm>
          <a:custGeom>
            <a:avLst/>
            <a:gdLst>
              <a:gd name="connsiteX0" fmla="*/ 4078785 w 4081216"/>
              <a:gd name="connsiteY0" fmla="*/ 0 h 1425600"/>
              <a:gd name="connsiteX1" fmla="*/ 4079317 w 4081216"/>
              <a:gd name="connsiteY1" fmla="*/ 0 h 1425600"/>
              <a:gd name="connsiteX2" fmla="*/ 4081216 w 4081216"/>
              <a:gd name="connsiteY2" fmla="*/ 1425600 h 1425600"/>
              <a:gd name="connsiteX3" fmla="*/ 6666 w 4081216"/>
              <a:gd name="connsiteY3" fmla="*/ 703055 h 1425600"/>
              <a:gd name="connsiteX4" fmla="*/ 0 w 4081216"/>
              <a:gd name="connsiteY4" fmla="*/ 698383 h 1425600"/>
              <a:gd name="connsiteX5" fmla="*/ 0 w 4081216"/>
              <a:gd name="connsiteY5" fmla="*/ 697784 h 142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81216" h="1425600">
                <a:moveTo>
                  <a:pt x="4078785" y="0"/>
                </a:moveTo>
                <a:lnTo>
                  <a:pt x="4079317" y="0"/>
                </a:lnTo>
                <a:lnTo>
                  <a:pt x="4081216" y="1425600"/>
                </a:lnTo>
                <a:lnTo>
                  <a:pt x="6666" y="703055"/>
                </a:lnTo>
                <a:lnTo>
                  <a:pt x="0" y="698383"/>
                </a:lnTo>
                <a:lnTo>
                  <a:pt x="0" y="697784"/>
                </a:lnTo>
                <a:close/>
              </a:path>
            </a:pathLst>
          </a:custGeom>
          <a:solidFill>
            <a:srgbClr val="EB4430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22" name="Text Placeholder 3"/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8798400" y="2735333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778784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515">
          <p15:clr>
            <a:srgbClr val="000000"/>
          </p15:clr>
        </p15:guide>
        <p15:guide id="3" pos="3833">
          <p15:clr>
            <a:srgbClr val="00000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a-DK" dirty="0"/>
              <a:t>Klik, og tilføj titel</a:t>
            </a:r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a-DK"/>
              <a:t>29. august 2019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74038405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iasnumm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" name="Date_DateCustomA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a-DK"/>
              <a:t>29. august 2019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31861928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unktopstilling /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675630" y="1324212"/>
            <a:ext cx="9803458" cy="900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Klik, og tilføj overskrift i maksimum to linj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84000" y="2553539"/>
            <a:ext cx="9795088" cy="33027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Klik her for at tilføje tekst</a:t>
            </a:r>
            <a:endParaRPr lang="en-GB" noProof="0"/>
          </a:p>
          <a:p>
            <a:pPr lvl="1"/>
            <a:r>
              <a:rPr lang="en-GB" noProof="0"/>
              <a:t>Second level</a:t>
            </a:r>
            <a:endParaRPr lang="en-GB"/>
          </a:p>
          <a:p>
            <a:pPr lvl="2"/>
            <a:r>
              <a:rPr lang="en-GB" noProof="0"/>
              <a:t>Third level</a:t>
            </a:r>
            <a:endParaRPr lang="en-GB"/>
          </a:p>
          <a:p>
            <a:pPr lvl="3"/>
            <a:r>
              <a:rPr lang="en-GB" noProof="0"/>
              <a:t>Fourth level</a:t>
            </a:r>
            <a:endParaRPr lang="en-GB"/>
          </a:p>
          <a:p>
            <a:pPr lvl="4"/>
            <a:r>
              <a:rPr lang="en-GB" noProof="0"/>
              <a:t>Fifth level</a:t>
            </a:r>
            <a:endParaRPr lang="en-GB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noProof="0"/>
              <a:t>29. august 2019</a:t>
            </a:r>
            <a:endParaRPr lang="en-GB" noProof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‹nr.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03273494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o tekst /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Klik, og tilføj overskrift i maksimum to linj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82625" y="2552400"/>
            <a:ext cx="5072063" cy="33038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37312" y="2552400"/>
            <a:ext cx="5067301" cy="33038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14253400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rå top"/>
          <p:cNvSpPr/>
          <p:nvPr userDrawn="1"/>
        </p:nvSpPr>
        <p:spPr>
          <a:xfrm>
            <a:off x="-1" y="427"/>
            <a:ext cx="12189600" cy="936000"/>
          </a:xfrm>
          <a:prstGeom prst="rect">
            <a:avLst/>
          </a:prstGeom>
          <a:solidFill>
            <a:srgbClr val="DDDD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2" name="Grøn top"/>
          <p:cNvSpPr/>
          <p:nvPr userDrawn="1"/>
        </p:nvSpPr>
        <p:spPr>
          <a:xfrm>
            <a:off x="0" y="0"/>
            <a:ext cx="12189600" cy="43561"/>
          </a:xfrm>
          <a:prstGeom prst="rect">
            <a:avLst/>
          </a:prstGeom>
          <a:solidFill>
            <a:srgbClr val="009E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9" name="Hvid top"/>
          <p:cNvSpPr/>
          <p:nvPr userDrawn="1"/>
        </p:nvSpPr>
        <p:spPr>
          <a:xfrm>
            <a:off x="0" y="936000"/>
            <a:ext cx="12189600" cy="20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8" name="Pladsholder til billede 17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1141200"/>
            <a:ext cx="12189600" cy="5716371"/>
          </a:xfrm>
          <a:custGeom>
            <a:avLst/>
            <a:gdLst>
              <a:gd name="connsiteX0" fmla="*/ 0 w 12189600"/>
              <a:gd name="connsiteY0" fmla="*/ 0 h 5678271"/>
              <a:gd name="connsiteX1" fmla="*/ 12189600 w 12189600"/>
              <a:gd name="connsiteY1" fmla="*/ 0 h 5678271"/>
              <a:gd name="connsiteX2" fmla="*/ 12189600 w 12189600"/>
              <a:gd name="connsiteY2" fmla="*/ 3156813 h 5678271"/>
              <a:gd name="connsiteX3" fmla="*/ 1 w 12189600"/>
              <a:gd name="connsiteY3" fmla="*/ 3156813 h 5678271"/>
              <a:gd name="connsiteX4" fmla="*/ 1 w 12189600"/>
              <a:gd name="connsiteY4" fmla="*/ 3166338 h 5678271"/>
              <a:gd name="connsiteX5" fmla="*/ 12189600 w 12189600"/>
              <a:gd name="connsiteY5" fmla="*/ 3166338 h 5678271"/>
              <a:gd name="connsiteX6" fmla="*/ 12189600 w 12189600"/>
              <a:gd name="connsiteY6" fmla="*/ 5489359 h 5678271"/>
              <a:gd name="connsiteX7" fmla="*/ 1 w 12189600"/>
              <a:gd name="connsiteY7" fmla="*/ 5489359 h 5678271"/>
              <a:gd name="connsiteX8" fmla="*/ 1 w 12189600"/>
              <a:gd name="connsiteY8" fmla="*/ 5498884 h 5678271"/>
              <a:gd name="connsiteX9" fmla="*/ 12189600 w 12189600"/>
              <a:gd name="connsiteY9" fmla="*/ 5498884 h 5678271"/>
              <a:gd name="connsiteX10" fmla="*/ 12189600 w 12189600"/>
              <a:gd name="connsiteY10" fmla="*/ 5678271 h 5678271"/>
              <a:gd name="connsiteX11" fmla="*/ 0 w 12189600"/>
              <a:gd name="connsiteY11" fmla="*/ 5678271 h 56782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89600" h="5678271">
                <a:moveTo>
                  <a:pt x="0" y="0"/>
                </a:moveTo>
                <a:lnTo>
                  <a:pt x="12189600" y="0"/>
                </a:lnTo>
                <a:lnTo>
                  <a:pt x="12189600" y="3156813"/>
                </a:lnTo>
                <a:lnTo>
                  <a:pt x="1" y="3156813"/>
                </a:lnTo>
                <a:lnTo>
                  <a:pt x="1" y="3166338"/>
                </a:lnTo>
                <a:lnTo>
                  <a:pt x="12189600" y="3166338"/>
                </a:lnTo>
                <a:lnTo>
                  <a:pt x="12189600" y="5489359"/>
                </a:lnTo>
                <a:lnTo>
                  <a:pt x="1" y="5489359"/>
                </a:lnTo>
                <a:lnTo>
                  <a:pt x="1" y="5498884"/>
                </a:lnTo>
                <a:lnTo>
                  <a:pt x="12189600" y="5498884"/>
                </a:lnTo>
                <a:lnTo>
                  <a:pt x="12189600" y="5678271"/>
                </a:lnTo>
                <a:lnTo>
                  <a:pt x="0" y="5678271"/>
                </a:lnTo>
                <a:close/>
              </a:path>
            </a:pathLst>
          </a:custGeom>
          <a:solidFill>
            <a:srgbClr val="DDDDDE"/>
          </a:solidFill>
        </p:spPr>
        <p:txBody>
          <a:bodyPr wrap="square" bIns="576000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0" y="4476750"/>
            <a:ext cx="12189600" cy="2380821"/>
          </a:xfrm>
          <a:custGeom>
            <a:avLst/>
            <a:gdLst>
              <a:gd name="connsiteX0" fmla="*/ 0 w 12189600"/>
              <a:gd name="connsiteY0" fmla="*/ 2201434 h 2380821"/>
              <a:gd name="connsiteX1" fmla="*/ 12189600 w 12189600"/>
              <a:gd name="connsiteY1" fmla="*/ 2201434 h 2380821"/>
              <a:gd name="connsiteX2" fmla="*/ 12189600 w 12189600"/>
              <a:gd name="connsiteY2" fmla="*/ 2380821 h 2380821"/>
              <a:gd name="connsiteX3" fmla="*/ 0 w 12189600"/>
              <a:gd name="connsiteY3" fmla="*/ 2380821 h 2380821"/>
              <a:gd name="connsiteX4" fmla="*/ 0 w 12189600"/>
              <a:gd name="connsiteY4" fmla="*/ 0 h 2380821"/>
              <a:gd name="connsiteX5" fmla="*/ 12189600 w 12189600"/>
              <a:gd name="connsiteY5" fmla="*/ 0 h 2380821"/>
              <a:gd name="connsiteX6" fmla="*/ 12189600 w 12189600"/>
              <a:gd name="connsiteY6" fmla="*/ 2191909 h 2380821"/>
              <a:gd name="connsiteX7" fmla="*/ 0 w 12189600"/>
              <a:gd name="connsiteY7" fmla="*/ 2191909 h 2380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89600" h="2380821">
                <a:moveTo>
                  <a:pt x="0" y="2201434"/>
                </a:moveTo>
                <a:lnTo>
                  <a:pt x="12189600" y="2201434"/>
                </a:lnTo>
                <a:lnTo>
                  <a:pt x="12189600" y="2380821"/>
                </a:lnTo>
                <a:lnTo>
                  <a:pt x="0" y="2380821"/>
                </a:lnTo>
                <a:close/>
                <a:moveTo>
                  <a:pt x="0" y="0"/>
                </a:moveTo>
                <a:lnTo>
                  <a:pt x="12189600" y="0"/>
                </a:lnTo>
                <a:lnTo>
                  <a:pt x="12189600" y="2191909"/>
                </a:lnTo>
                <a:lnTo>
                  <a:pt x="0" y="2191909"/>
                </a:ln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/>
        </p:spPr>
        <p:txBody>
          <a:bodyPr wrap="square" lIns="684000" tIns="216000" rIns="1692000" bIns="0" anchor="t" anchorCtr="0">
            <a:noAutofit/>
          </a:bodyPr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2626" y="5901345"/>
            <a:ext cx="9796462" cy="269076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>
                <a:solidFill>
                  <a:schemeClr val="bg1"/>
                </a:solidFill>
              </a:defRPr>
            </a:lvl9pPr>
          </a:lstStyle>
          <a:p>
            <a:r>
              <a:rPr lang="da-DK" noProof="0" dirty="0"/>
              <a:t>Klik, og tilføj eventuelt undertitel til præsentationen</a:t>
            </a:r>
            <a:endParaRPr lang="da-DK"/>
          </a:p>
        </p:txBody>
      </p:sp>
      <p:sp>
        <p:nvSpPr>
          <p:cNvPr id="11" name="Pladsholder til tekst 10"/>
          <p:cNvSpPr>
            <a:spLocks noGrp="1"/>
          </p:cNvSpPr>
          <p:nvPr>
            <p:ph type="body" sz="quarter" idx="15" hasCustomPrompt="1"/>
          </p:nvPr>
        </p:nvSpPr>
        <p:spPr>
          <a:xfrm>
            <a:off x="682626" y="6170420"/>
            <a:ext cx="9796462" cy="305691"/>
          </a:xfrm>
        </p:spPr>
        <p:txBody>
          <a:bodyPr/>
          <a:lstStyle>
            <a:lvl1pPr>
              <a:lnSpc>
                <a:spcPct val="110000"/>
              </a:lnSpc>
              <a:defRPr sz="16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da-DK" dirty="0"/>
              <a:t>Klik, og tilføj titel og navn</a:t>
            </a:r>
            <a:endParaRPr lang="da-DK"/>
          </a:p>
          <a:p>
            <a:pPr lvl="1"/>
            <a:endParaRPr lang="da-DK" dirty="0"/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1141200"/>
            <a:ext cx="12189600" cy="75600"/>
          </a:xfrm>
          <a:solidFill>
            <a:schemeClr val="bg1">
              <a:alpha val="50000"/>
            </a:schemeClr>
          </a:solidFill>
        </p:spPr>
        <p:txBody>
          <a:bodyPr/>
          <a:lstStyle>
            <a:lvl1pPr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DDDDDE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DDDDDE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DDDDDE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710F8C41-3A8D-440A-8577-8E268FFC53D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4000" y="403550"/>
            <a:ext cx="3090740" cy="1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339226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uden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  <p:sp>
        <p:nvSpPr>
          <p:cNvPr id="21" name="Grå bund"/>
          <p:cNvSpPr/>
          <p:nvPr userDrawn="1"/>
        </p:nvSpPr>
        <p:spPr>
          <a:xfrm>
            <a:off x="-1" y="428"/>
            <a:ext cx="12189600" cy="6858000"/>
          </a:xfrm>
          <a:prstGeom prst="rect">
            <a:avLst/>
          </a:prstGeom>
          <a:solidFill>
            <a:srgbClr val="DDDD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7" name="Mørk grå 55-51-52"/>
          <p:cNvSpPr/>
          <p:nvPr userDrawn="1"/>
        </p:nvSpPr>
        <p:spPr>
          <a:xfrm>
            <a:off x="-1" y="1141200"/>
            <a:ext cx="12189600" cy="3877609"/>
          </a:xfrm>
          <a:prstGeom prst="rect">
            <a:avLst/>
          </a:prstGeom>
          <a:solidFill>
            <a:srgbClr val="3733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2" name="Grøn top"/>
          <p:cNvSpPr/>
          <p:nvPr userDrawn="1"/>
        </p:nvSpPr>
        <p:spPr>
          <a:xfrm>
            <a:off x="0" y="0"/>
            <a:ext cx="12189600" cy="43561"/>
          </a:xfrm>
          <a:prstGeom prst="rect">
            <a:avLst/>
          </a:prstGeom>
          <a:solidFill>
            <a:srgbClr val="009E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9" name="Hvid top"/>
          <p:cNvSpPr/>
          <p:nvPr userDrawn="1"/>
        </p:nvSpPr>
        <p:spPr>
          <a:xfrm>
            <a:off x="0" y="936000"/>
            <a:ext cx="12189600" cy="20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0" name="Titel 19"/>
          <p:cNvSpPr>
            <a:spLocks noGrp="1"/>
          </p:cNvSpPr>
          <p:nvPr>
            <p:ph type="title" hasCustomPrompt="1"/>
          </p:nvPr>
        </p:nvSpPr>
        <p:spPr>
          <a:xfrm>
            <a:off x="684000" y="1431924"/>
            <a:ext cx="9795087" cy="1145217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/>
        </p:spPr>
        <p:txBody>
          <a:bodyPr wrap="square" lIns="0" rIns="0" bIns="0" anchor="b" anchorCtr="0">
            <a:noAutofit/>
          </a:bodyPr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2626" y="2646357"/>
            <a:ext cx="9796462" cy="574767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>
                <a:solidFill>
                  <a:schemeClr val="bg1"/>
                </a:solidFill>
              </a:defRPr>
            </a:lvl9pPr>
          </a:lstStyle>
          <a:p>
            <a:r>
              <a:rPr lang="da-DK" dirty="0" err="1"/>
              <a:t>Klik</a:t>
            </a:r>
            <a:r>
              <a:rPr lang="da-DK" dirty="0"/>
              <a:t>, </a:t>
            </a:r>
            <a:r>
              <a:rPr lang="da-DK" dirty="0" err="1"/>
              <a:t>og</a:t>
            </a:r>
            <a:r>
              <a:rPr lang="da-DK" dirty="0"/>
              <a:t> </a:t>
            </a:r>
            <a:r>
              <a:rPr lang="da-DK" dirty="0" err="1"/>
              <a:t>tilføj</a:t>
            </a:r>
            <a:r>
              <a:rPr lang="da-DK" dirty="0"/>
              <a:t> </a:t>
            </a:r>
            <a:r>
              <a:rPr lang="da-DK" dirty="0" err="1"/>
              <a:t>eventuelt</a:t>
            </a:r>
            <a:r>
              <a:rPr lang="da-DK" dirty="0"/>
              <a:t> </a:t>
            </a:r>
            <a:r>
              <a:rPr lang="da-DK" dirty="0" err="1"/>
              <a:t>undertitel</a:t>
            </a:r>
            <a:r>
              <a:rPr lang="da-DK" dirty="0"/>
              <a:t> </a:t>
            </a:r>
            <a:r>
              <a:rPr lang="da-DK" dirty="0" err="1"/>
              <a:t>til</a:t>
            </a:r>
            <a:r>
              <a:rPr lang="da-DK" dirty="0"/>
              <a:t> </a:t>
            </a:r>
            <a:r>
              <a:rPr lang="da-DK" dirty="0" err="1"/>
              <a:t>præsentationen</a:t>
            </a:r>
            <a:endParaRPr lang="da-DK" dirty="0"/>
          </a:p>
        </p:txBody>
      </p:sp>
      <p:sp>
        <p:nvSpPr>
          <p:cNvPr id="13" name="Pladsholder til tekst 10"/>
          <p:cNvSpPr>
            <a:spLocks noGrp="1"/>
          </p:cNvSpPr>
          <p:nvPr>
            <p:ph type="body" sz="quarter" idx="15" hasCustomPrompt="1"/>
          </p:nvPr>
        </p:nvSpPr>
        <p:spPr>
          <a:xfrm>
            <a:off x="682626" y="2915433"/>
            <a:ext cx="9796462" cy="305691"/>
          </a:xfrm>
        </p:spPr>
        <p:txBody>
          <a:bodyPr/>
          <a:lstStyle>
            <a:lvl1pPr>
              <a:lnSpc>
                <a:spcPct val="110000"/>
              </a:lnSpc>
              <a:defRPr sz="16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da-DK" dirty="0"/>
              <a:t>Klik, og tilføj titel og navn</a:t>
            </a:r>
            <a:endParaRPr lang="da-DK"/>
          </a:p>
          <a:p>
            <a:pPr lvl="1"/>
            <a:endParaRPr lang="da-DK" dirty="0"/>
          </a:p>
        </p:txBody>
      </p:sp>
      <p:sp>
        <p:nvSpPr>
          <p:cNvPr id="11" name="Linje 1"/>
          <p:cNvSpPr/>
          <p:nvPr userDrawn="1"/>
        </p:nvSpPr>
        <p:spPr>
          <a:xfrm>
            <a:off x="0" y="5591647"/>
            <a:ext cx="12189600" cy="95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6" name="Linje 2"/>
          <p:cNvSpPr/>
          <p:nvPr userDrawn="1"/>
        </p:nvSpPr>
        <p:spPr>
          <a:xfrm>
            <a:off x="0" y="6100150"/>
            <a:ext cx="12189600" cy="95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7" name="Linje 3"/>
          <p:cNvSpPr/>
          <p:nvPr userDrawn="1"/>
        </p:nvSpPr>
        <p:spPr>
          <a:xfrm>
            <a:off x="0" y="6471079"/>
            <a:ext cx="12189600" cy="95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DDDDDE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DDDDDE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DDDDDE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8" name="Billede 17">
            <a:extLst>
              <a:ext uri="{FF2B5EF4-FFF2-40B4-BE49-F238E27FC236}">
                <a16:creationId xmlns:a16="http://schemas.microsoft.com/office/drawing/2014/main" id="{D876B081-5778-44C3-B98A-552414056EB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4000" y="403550"/>
            <a:ext cx="3090740" cy="1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58491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dsholder til billede 1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43200"/>
            <a:ext cx="12189600" cy="6814800"/>
          </a:xfrm>
          <a:solidFill>
            <a:schemeClr val="bg1">
              <a:lumMod val="95000"/>
            </a:schemeClr>
          </a:solidFill>
        </p:spPr>
        <p:txBody>
          <a:bodyPr tIns="720000" anchor="ctr" anchorCtr="0"/>
          <a:lstStyle>
            <a:lvl1pPr algn="ctr">
              <a:buFontTx/>
              <a:buNone/>
              <a:defRPr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526162" y="1040107"/>
            <a:ext cx="2978452" cy="130320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  <a:effectLst>
            <a:outerShdw dist="144000" dir="5400000" algn="t" rotWithShape="0">
              <a:srgbClr val="DDDDDE"/>
            </a:outerShdw>
          </a:effectLst>
        </p:spPr>
        <p:txBody>
          <a:bodyPr lIns="237600" tIns="237600" rIns="237600" bIns="396000" anchor="t" anchorCtr="0">
            <a:spAutoFit/>
          </a:bodyPr>
          <a:lstStyle>
            <a:lvl1pPr algn="l">
              <a:lnSpc>
                <a:spcPct val="106000"/>
              </a:lnSpc>
              <a:defRPr sz="2200"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Klik</a:t>
            </a:r>
            <a:r>
              <a:rPr lang="da-DK" dirty="0"/>
              <a:t>, </a:t>
            </a:r>
            <a:r>
              <a:rPr lang="da-DK" dirty="0" err="1"/>
              <a:t>og</a:t>
            </a:r>
            <a:r>
              <a:rPr lang="da-DK" dirty="0"/>
              <a:t> </a:t>
            </a:r>
            <a:r>
              <a:rPr lang="da-DK" dirty="0" err="1"/>
              <a:t>tilføj</a:t>
            </a:r>
            <a:r>
              <a:rPr lang="da-DK" dirty="0"/>
              <a:t> </a:t>
            </a:r>
            <a:r>
              <a:rPr lang="da-DK" dirty="0" err="1"/>
              <a:t>overskrift</a:t>
            </a:r>
            <a:r>
              <a:rPr lang="da-DK" dirty="0"/>
              <a:t> </a:t>
            </a:r>
            <a:endParaRPr lang="da-DK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Grøn top"/>
          <p:cNvSpPr/>
          <p:nvPr userDrawn="1"/>
        </p:nvSpPr>
        <p:spPr>
          <a:xfrm>
            <a:off x="0" y="0"/>
            <a:ext cx="12189600" cy="43561"/>
          </a:xfrm>
          <a:prstGeom prst="rect">
            <a:avLst/>
          </a:prstGeom>
          <a:solidFill>
            <a:srgbClr val="009E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7" name="Pladsholder til tekst 18"/>
          <p:cNvSpPr>
            <a:spLocks noGrp="1"/>
          </p:cNvSpPr>
          <p:nvPr>
            <p:ph type="body" sz="quarter" idx="16" hasCustomPrompt="1"/>
          </p:nvPr>
        </p:nvSpPr>
        <p:spPr>
          <a:xfrm>
            <a:off x="8524800" y="983827"/>
            <a:ext cx="2977200" cy="54000"/>
          </a:xfrm>
          <a:solidFill>
            <a:srgbClr val="DDDDDE"/>
          </a:solidFill>
        </p:spPr>
        <p:txBody>
          <a:bodyPr/>
          <a:lstStyle>
            <a:lvl1pPr>
              <a:buNone/>
              <a:defRPr sz="100"/>
            </a:lvl1pPr>
            <a:lvl2pPr marL="0" indent="0">
              <a:buNone/>
              <a:defRPr sz="100"/>
            </a:lvl2pPr>
            <a:lvl3pPr marL="216000" indent="0">
              <a:buNone/>
              <a:defRPr sz="100"/>
            </a:lvl3pPr>
            <a:lvl4pPr marL="432000" indent="0">
              <a:buNone/>
              <a:defRPr sz="100"/>
            </a:lvl4pPr>
            <a:lvl5pPr marL="648000" indent="0">
              <a:buNone/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19" name="Pladsholder til tekst 18">
            <a:extLst>
              <a:ext uri="{FF2B5EF4-FFF2-40B4-BE49-F238E27FC236}">
                <a16:creationId xmlns:a16="http://schemas.microsoft.com/office/drawing/2014/main" id="{A6ABB9CE-9835-48C5-BC15-DAB9D3C590D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82626" y="403200"/>
            <a:ext cx="3090740" cy="198000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79095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icture Placeholder 38"/>
          <p:cNvSpPr>
            <a:spLocks noGrp="1"/>
          </p:cNvSpPr>
          <p:nvPr>
            <p:ph type="pic" sz="quarter" idx="13" hasCustomPrompt="1"/>
          </p:nvPr>
        </p:nvSpPr>
        <p:spPr>
          <a:xfrm>
            <a:off x="-4800" y="-3600"/>
            <a:ext cx="12206400" cy="6865200"/>
          </a:xfrm>
          <a:prstGeom prst="rect">
            <a:avLst/>
          </a:prstGeom>
          <a:solidFill>
            <a:schemeClr val="bg2"/>
          </a:solidFill>
        </p:spPr>
        <p:txBody>
          <a:bodyPr wrap="square" lIns="108000" tIns="108000" rIns="8496000" bIns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4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4079874" y="0"/>
            <a:ext cx="8112125" cy="6858000"/>
          </a:xfrm>
          <a:custGeom>
            <a:avLst/>
            <a:gdLst>
              <a:gd name="connsiteX0" fmla="*/ 0 w 8112125"/>
              <a:gd name="connsiteY0" fmla="*/ 6853584 h 6858000"/>
              <a:gd name="connsiteX1" fmla="*/ 8112125 w 8112125"/>
              <a:gd name="connsiteY1" fmla="*/ 6855002 h 6858000"/>
              <a:gd name="connsiteX2" fmla="*/ 8112125 w 8112125"/>
              <a:gd name="connsiteY2" fmla="*/ 6858000 h 6858000"/>
              <a:gd name="connsiteX3" fmla="*/ 0 w 8112125"/>
              <a:gd name="connsiteY3" fmla="*/ 6858000 h 6858000"/>
              <a:gd name="connsiteX4" fmla="*/ 8099855 w 8112125"/>
              <a:gd name="connsiteY4" fmla="*/ 6852814 h 6858000"/>
              <a:gd name="connsiteX5" fmla="*/ 8112125 w 8112125"/>
              <a:gd name="connsiteY5" fmla="*/ 6852816 h 6858000"/>
              <a:gd name="connsiteX6" fmla="*/ 8112125 w 8112125"/>
              <a:gd name="connsiteY6" fmla="*/ 6855002 h 6858000"/>
              <a:gd name="connsiteX7" fmla="*/ 0 w 8112125"/>
              <a:gd name="connsiteY7" fmla="*/ 0 h 6858000"/>
              <a:gd name="connsiteX8" fmla="*/ 8112125 w 8112125"/>
              <a:gd name="connsiteY8" fmla="*/ 0 h 6858000"/>
              <a:gd name="connsiteX9" fmla="*/ 8112125 w 8112125"/>
              <a:gd name="connsiteY9" fmla="*/ 6852816 h 6858000"/>
              <a:gd name="connsiteX10" fmla="*/ 8063369 w 8112125"/>
              <a:gd name="connsiteY10" fmla="*/ 6846308 h 6858000"/>
              <a:gd name="connsiteX11" fmla="*/ 0 w 8112125"/>
              <a:gd name="connsiteY11" fmla="*/ 5408521 h 6858000"/>
              <a:gd name="connsiteX0" fmla="*/ 0 w 8112125"/>
              <a:gd name="connsiteY0" fmla="*/ 6858000 h 6858000"/>
              <a:gd name="connsiteX1" fmla="*/ 8112125 w 8112125"/>
              <a:gd name="connsiteY1" fmla="*/ 6855002 h 6858000"/>
              <a:gd name="connsiteX2" fmla="*/ 8112125 w 8112125"/>
              <a:gd name="connsiteY2" fmla="*/ 6858000 h 6858000"/>
              <a:gd name="connsiteX3" fmla="*/ 0 w 8112125"/>
              <a:gd name="connsiteY3" fmla="*/ 6858000 h 6858000"/>
              <a:gd name="connsiteX4" fmla="*/ 8099855 w 8112125"/>
              <a:gd name="connsiteY4" fmla="*/ 6852814 h 6858000"/>
              <a:gd name="connsiteX5" fmla="*/ 8112125 w 8112125"/>
              <a:gd name="connsiteY5" fmla="*/ 6852816 h 6858000"/>
              <a:gd name="connsiteX6" fmla="*/ 8112125 w 8112125"/>
              <a:gd name="connsiteY6" fmla="*/ 6855002 h 6858000"/>
              <a:gd name="connsiteX7" fmla="*/ 8099855 w 8112125"/>
              <a:gd name="connsiteY7" fmla="*/ 6852814 h 6858000"/>
              <a:gd name="connsiteX8" fmla="*/ 0 w 8112125"/>
              <a:gd name="connsiteY8" fmla="*/ 0 h 6858000"/>
              <a:gd name="connsiteX9" fmla="*/ 8112125 w 8112125"/>
              <a:gd name="connsiteY9" fmla="*/ 0 h 6858000"/>
              <a:gd name="connsiteX10" fmla="*/ 8112125 w 8112125"/>
              <a:gd name="connsiteY10" fmla="*/ 6852816 h 6858000"/>
              <a:gd name="connsiteX11" fmla="*/ 8063369 w 8112125"/>
              <a:gd name="connsiteY11" fmla="*/ 6846308 h 6858000"/>
              <a:gd name="connsiteX12" fmla="*/ 0 w 8112125"/>
              <a:gd name="connsiteY12" fmla="*/ 5408521 h 6858000"/>
              <a:gd name="connsiteX13" fmla="*/ 0 w 8112125"/>
              <a:gd name="connsiteY13" fmla="*/ 0 h 6858000"/>
              <a:gd name="connsiteX0" fmla="*/ 0 w 8112125"/>
              <a:gd name="connsiteY0" fmla="*/ 6858000 h 6858000"/>
              <a:gd name="connsiteX1" fmla="*/ 8112125 w 8112125"/>
              <a:gd name="connsiteY1" fmla="*/ 6855002 h 6858000"/>
              <a:gd name="connsiteX2" fmla="*/ 8112125 w 8112125"/>
              <a:gd name="connsiteY2" fmla="*/ 6858000 h 6858000"/>
              <a:gd name="connsiteX3" fmla="*/ 0 w 8112125"/>
              <a:gd name="connsiteY3" fmla="*/ 6858000 h 6858000"/>
              <a:gd name="connsiteX4" fmla="*/ 8112125 w 8112125"/>
              <a:gd name="connsiteY4" fmla="*/ 6855002 h 6858000"/>
              <a:gd name="connsiteX5" fmla="*/ 8112125 w 8112125"/>
              <a:gd name="connsiteY5" fmla="*/ 6852816 h 6858000"/>
              <a:gd name="connsiteX6" fmla="*/ 8112125 w 8112125"/>
              <a:gd name="connsiteY6" fmla="*/ 6855002 h 6858000"/>
              <a:gd name="connsiteX7" fmla="*/ 0 w 8112125"/>
              <a:gd name="connsiteY7" fmla="*/ 0 h 6858000"/>
              <a:gd name="connsiteX8" fmla="*/ 8112125 w 8112125"/>
              <a:gd name="connsiteY8" fmla="*/ 0 h 6858000"/>
              <a:gd name="connsiteX9" fmla="*/ 8112125 w 8112125"/>
              <a:gd name="connsiteY9" fmla="*/ 6852816 h 6858000"/>
              <a:gd name="connsiteX10" fmla="*/ 8063369 w 8112125"/>
              <a:gd name="connsiteY10" fmla="*/ 6846308 h 6858000"/>
              <a:gd name="connsiteX11" fmla="*/ 0 w 8112125"/>
              <a:gd name="connsiteY11" fmla="*/ 5408521 h 6858000"/>
              <a:gd name="connsiteX12" fmla="*/ 0 w 8112125"/>
              <a:gd name="connsiteY1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112125" h="6858000">
                <a:moveTo>
                  <a:pt x="0" y="6858000"/>
                </a:moveTo>
                <a:lnTo>
                  <a:pt x="8112125" y="6855002"/>
                </a:lnTo>
                <a:lnTo>
                  <a:pt x="8112125" y="6858000"/>
                </a:lnTo>
                <a:lnTo>
                  <a:pt x="0" y="6858000"/>
                </a:lnTo>
                <a:close/>
                <a:moveTo>
                  <a:pt x="8112125" y="6855002"/>
                </a:moveTo>
                <a:lnTo>
                  <a:pt x="8112125" y="6852816"/>
                </a:lnTo>
                <a:lnTo>
                  <a:pt x="8112125" y="6855002"/>
                </a:lnTo>
                <a:close/>
                <a:moveTo>
                  <a:pt x="0" y="0"/>
                </a:moveTo>
                <a:lnTo>
                  <a:pt x="8112125" y="0"/>
                </a:lnTo>
                <a:lnTo>
                  <a:pt x="8112125" y="6852816"/>
                </a:lnTo>
                <a:lnTo>
                  <a:pt x="8063369" y="6846308"/>
                </a:lnTo>
                <a:lnTo>
                  <a:pt x="0" y="540852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90000"/>
            </a:schemeClr>
          </a:solidFill>
        </p:spPr>
        <p:txBody>
          <a:bodyPr wrap="square" lIns="655200" tIns="2304000" rIns="630000" bIns="2538000" anchor="t" anchorCtr="0">
            <a:noAutofit/>
          </a:bodyPr>
          <a:lstStyle>
            <a:lvl1pPr>
              <a:lnSpc>
                <a:spcPct val="87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Præsentationstitel i maksimum to linjer</a:t>
            </a:r>
            <a:endParaRPr lang="da-DK"/>
          </a:p>
        </p:txBody>
      </p:sp>
      <p:sp>
        <p:nvSpPr>
          <p:cNvPr id="3" name="Undertitel 2"/>
          <p:cNvSpPr>
            <a:spLocks noGrp="1"/>
          </p:cNvSpPr>
          <p:nvPr>
            <p:ph type="subTitle" idx="1" hasCustomPrompt="1"/>
          </p:nvPr>
        </p:nvSpPr>
        <p:spPr>
          <a:xfrm>
            <a:off x="4067909" y="3512736"/>
            <a:ext cx="7450992" cy="498834"/>
          </a:xfrm>
        </p:spPr>
        <p:txBody>
          <a:bodyPr lIns="702000" rIns="511200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Klik, og tilføj undertitel</a:t>
            </a:r>
            <a:endParaRPr lang="da-DK"/>
          </a:p>
        </p:txBody>
      </p:sp>
      <p:sp>
        <p:nvSpPr>
          <p:cNvPr id="6" name="Indsæt TitleName"/>
          <p:cNvSpPr>
            <a:spLocks noGrp="1"/>
          </p:cNvSpPr>
          <p:nvPr>
            <p:ph type="body" sz="quarter" idx="14" hasCustomPrompt="1"/>
          </p:nvPr>
        </p:nvSpPr>
        <p:spPr>
          <a:xfrm>
            <a:off x="4079875" y="1345848"/>
            <a:ext cx="7439026" cy="360040"/>
          </a:xfrm>
        </p:spPr>
        <p:txBody>
          <a:bodyPr lIns="684000" anchor="b" anchorCtr="0"/>
          <a:lstStyle>
            <a:lvl1pPr>
              <a:lnSpc>
                <a:spcPct val="110000"/>
              </a:lnSpc>
              <a:defRPr sz="10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Indsæt titel, navn</a:t>
            </a:r>
            <a:endParaRPr lang="da-DK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408614"/>
            <a:ext cx="12192000" cy="1447802"/>
          </a:xfrm>
          <a:custGeom>
            <a:avLst/>
            <a:gdLst>
              <a:gd name="connsiteX0" fmla="*/ 3054350 w 9144000"/>
              <a:gd name="connsiteY0" fmla="*/ 0 h 1077913"/>
              <a:gd name="connsiteX1" fmla="*/ 9144000 w 9144000"/>
              <a:gd name="connsiteY1" fmla="*/ 1077913 h 1077913"/>
              <a:gd name="connsiteX2" fmla="*/ 0 w 9144000"/>
              <a:gd name="connsiteY2" fmla="*/ 1076326 h 1077913"/>
              <a:gd name="connsiteX3" fmla="*/ 0 w 9144000"/>
              <a:gd name="connsiteY3" fmla="*/ 538163 h 1077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1077913">
                <a:moveTo>
                  <a:pt x="3054350" y="0"/>
                </a:moveTo>
                <a:lnTo>
                  <a:pt x="9144000" y="1077913"/>
                </a:lnTo>
                <a:lnTo>
                  <a:pt x="0" y="1076326"/>
                </a:lnTo>
                <a:lnTo>
                  <a:pt x="0" y="538163"/>
                </a:lnTo>
                <a:close/>
              </a:path>
            </a:pathLst>
          </a:custGeom>
          <a:solidFill>
            <a:schemeClr val="accent1">
              <a:alpha val="6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071600" y="3960000"/>
            <a:ext cx="8118000" cy="2901600"/>
          </a:xfrm>
          <a:custGeom>
            <a:avLst/>
            <a:gdLst>
              <a:gd name="connsiteX0" fmla="*/ 6116484 w 6118225"/>
              <a:gd name="connsiteY0" fmla="*/ 0 h 2159720"/>
              <a:gd name="connsiteX1" fmla="*/ 6118225 w 6118225"/>
              <a:gd name="connsiteY1" fmla="*/ 0 h 2159720"/>
              <a:gd name="connsiteX2" fmla="*/ 6118225 w 6118225"/>
              <a:gd name="connsiteY2" fmla="*/ 2159720 h 2159720"/>
              <a:gd name="connsiteX3" fmla="*/ 0 w 6118225"/>
              <a:gd name="connsiteY3" fmla="*/ 1078913 h 2159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18225" h="2159720">
                <a:moveTo>
                  <a:pt x="6116484" y="0"/>
                </a:moveTo>
                <a:lnTo>
                  <a:pt x="6118225" y="0"/>
                </a:lnTo>
                <a:lnTo>
                  <a:pt x="6118225" y="2159720"/>
                </a:lnTo>
                <a:lnTo>
                  <a:pt x="0" y="1078913"/>
                </a:lnTo>
                <a:close/>
              </a:path>
            </a:pathLst>
          </a:custGeom>
          <a:solidFill>
            <a:srgbClr val="061C48"/>
          </a:solidFill>
        </p:spPr>
        <p:txBody>
          <a:bodyPr wrap="square">
            <a:noAutofit/>
          </a:bodyPr>
          <a:lstStyle>
            <a:lvl1pPr marL="0" indent="0">
              <a:buNone/>
              <a:defRPr sz="100"/>
            </a:lvl1pPr>
            <a:lvl2pPr marL="0" indent="0">
              <a:buNone/>
              <a:defRPr sz="100"/>
            </a:lvl2pPr>
            <a:lvl3pPr marL="216000" indent="0">
              <a:buNone/>
              <a:defRPr sz="100"/>
            </a:lvl3pPr>
            <a:lvl4pPr marL="432000" indent="0">
              <a:buNone/>
              <a:defRPr sz="100"/>
            </a:lvl4pPr>
            <a:lvl5pPr marL="648000" indent="0">
              <a:buNone/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17" name="Text Placeholder 3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4764088" y="345600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9" name="TextBox 8"/>
          <p:cNvSpPr txBox="1"/>
          <p:nvPr userDrawn="1"/>
        </p:nvSpPr>
        <p:spPr>
          <a:xfrm>
            <a:off x="-14179" y="-214438"/>
            <a:ext cx="122064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noProof="0" dirty="0">
                <a:solidFill>
                  <a:schemeClr val="accent1"/>
                </a:solidFill>
              </a:rPr>
              <a:t>Bemærk</a:t>
            </a:r>
            <a:r>
              <a:rPr lang="da-DK" sz="1100" noProof="0" dirty="0">
                <a:solidFill>
                  <a:schemeClr val="accent1"/>
                </a:solidFill>
              </a:rPr>
              <a:t> at billedet ses under boksen som er transparent. Derfor skal billedet fylde hele siden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60885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01" userDrawn="1">
          <p15:clr>
            <a:srgbClr val="FBAE40"/>
          </p15:clr>
        </p15:guide>
        <p15:guide id="2" pos="2570" userDrawn="1">
          <p15:clr>
            <a:srgbClr val="FBAE40"/>
          </p15:clr>
        </p15:guide>
        <p15:guide id="3" orient="horz" pos="3407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med kass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dsholder til billede 1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43200"/>
            <a:ext cx="12189600" cy="6814800"/>
          </a:xfrm>
          <a:solidFill>
            <a:schemeClr val="tx1">
              <a:lumMod val="95000"/>
            </a:schemeClr>
          </a:solidFill>
        </p:spPr>
        <p:txBody>
          <a:bodyPr tIns="0" rIns="6336000" anchor="ctr" anchorCtr="0"/>
          <a:lstStyle>
            <a:lvl1pPr algn="r">
              <a:buFontTx/>
              <a:buNone/>
              <a:defRPr sz="1400">
                <a:solidFill>
                  <a:schemeClr val="bg2"/>
                </a:solidFill>
              </a:defRPr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8" name="Grøn top"/>
          <p:cNvSpPr/>
          <p:nvPr userDrawn="1"/>
        </p:nvSpPr>
        <p:spPr>
          <a:xfrm>
            <a:off x="0" y="0"/>
            <a:ext cx="12189600" cy="43561"/>
          </a:xfrm>
          <a:prstGeom prst="rect">
            <a:avLst/>
          </a:prstGeom>
          <a:solidFill>
            <a:srgbClr val="009E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7" name="Pladsholder til tekst 16"/>
          <p:cNvSpPr>
            <a:spLocks noGrp="1"/>
          </p:cNvSpPr>
          <p:nvPr>
            <p:ph type="body" sz="quarter" idx="15" hasCustomPrompt="1"/>
          </p:nvPr>
        </p:nvSpPr>
        <p:spPr>
          <a:xfrm>
            <a:off x="6437312" y="1039091"/>
            <a:ext cx="5068287" cy="3844800"/>
          </a:xfrm>
          <a:solidFill>
            <a:srgbClr val="373334"/>
          </a:solidFill>
          <a:effectLst>
            <a:outerShdw dist="144000" dir="5400000" algn="t" rotWithShape="0">
              <a:srgbClr val="DDDDDE"/>
            </a:outerShdw>
          </a:effectLst>
        </p:spPr>
        <p:txBody>
          <a:bodyPr/>
          <a:lstStyle>
            <a:lvl1pPr>
              <a:defRPr>
                <a:solidFill>
                  <a:srgbClr val="373334"/>
                </a:solidFill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15" name="Pladsholder til indhold 14"/>
          <p:cNvSpPr>
            <a:spLocks noGrp="1"/>
          </p:cNvSpPr>
          <p:nvPr>
            <p:ph sz="quarter" idx="14" hasCustomPrompt="1"/>
          </p:nvPr>
        </p:nvSpPr>
        <p:spPr>
          <a:xfrm>
            <a:off x="6652800" y="1301749"/>
            <a:ext cx="4640400" cy="3149113"/>
          </a:xfrm>
        </p:spPr>
        <p:txBody>
          <a:bodyPr/>
          <a:lstStyle>
            <a:lvl1pPr>
              <a:lnSpc>
                <a:spcPct val="140000"/>
              </a:lnSpc>
              <a:defRPr sz="1000" baseline="0"/>
            </a:lvl1pPr>
            <a:lvl2pPr>
              <a:lnSpc>
                <a:spcPct val="140000"/>
              </a:lnSpc>
              <a:defRPr sz="1000"/>
            </a:lvl2pPr>
            <a:lvl3pPr>
              <a:lnSpc>
                <a:spcPct val="140000"/>
              </a:lnSpc>
              <a:defRPr sz="1000"/>
            </a:lvl3pPr>
            <a:lvl4pPr>
              <a:lnSpc>
                <a:spcPct val="140000"/>
              </a:lnSpc>
              <a:defRPr sz="1000"/>
            </a:lvl4pPr>
            <a:lvl5pPr>
              <a:lnSpc>
                <a:spcPct val="140000"/>
              </a:lnSpc>
              <a:defRPr sz="1000"/>
            </a:lvl5pPr>
          </a:lstStyle>
          <a:p>
            <a:pPr lvl="0"/>
            <a:r>
              <a:rPr lang="da-DK" dirty="0"/>
              <a:t>Indsæt tabel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19" name="Pladsholder til tekst 18"/>
          <p:cNvSpPr>
            <a:spLocks noGrp="1"/>
          </p:cNvSpPr>
          <p:nvPr>
            <p:ph type="body" sz="quarter" idx="16" hasCustomPrompt="1"/>
          </p:nvPr>
        </p:nvSpPr>
        <p:spPr>
          <a:xfrm>
            <a:off x="6437312" y="983827"/>
            <a:ext cx="5068800" cy="54000"/>
          </a:xfrm>
          <a:solidFill>
            <a:srgbClr val="DDDDDE"/>
          </a:solidFill>
        </p:spPr>
        <p:txBody>
          <a:bodyPr/>
          <a:lstStyle>
            <a:lvl1pPr>
              <a:buNone/>
              <a:defRPr sz="100"/>
            </a:lvl1pPr>
            <a:lvl2pPr marL="0" indent="0">
              <a:buNone/>
              <a:defRPr sz="100"/>
            </a:lvl2pPr>
            <a:lvl3pPr marL="216000" indent="0">
              <a:buNone/>
              <a:defRPr sz="100"/>
            </a:lvl3pPr>
            <a:lvl4pPr marL="432000" indent="0">
              <a:buNone/>
              <a:defRPr sz="100"/>
            </a:lvl4pPr>
            <a:lvl5pPr marL="648000" indent="0">
              <a:buNone/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21" name="Pladsholder til tekst 20"/>
          <p:cNvSpPr>
            <a:spLocks noGrp="1"/>
          </p:cNvSpPr>
          <p:nvPr>
            <p:ph type="body" sz="quarter" idx="17" hasCustomPrompt="1"/>
          </p:nvPr>
        </p:nvSpPr>
        <p:spPr>
          <a:xfrm>
            <a:off x="6437313" y="4737637"/>
            <a:ext cx="5068800" cy="6350"/>
          </a:xfrm>
          <a:solidFill>
            <a:schemeClr val="tx1"/>
          </a:solidFill>
        </p:spPr>
        <p:txBody>
          <a:bodyPr/>
          <a:lstStyle>
            <a:lvl1pPr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3" name="Pladsholder til tekst 18">
            <a:extLst>
              <a:ext uri="{FF2B5EF4-FFF2-40B4-BE49-F238E27FC236}">
                <a16:creationId xmlns:a16="http://schemas.microsoft.com/office/drawing/2014/main" id="{12924540-DEE7-48BB-8125-D42B7712776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82626" y="403200"/>
            <a:ext cx="3090740" cy="198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pPr lvl="0"/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7123650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675630" y="1324212"/>
            <a:ext cx="9803458" cy="900000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, og tilføj agenda overskrift</a:t>
            </a:r>
            <a:endParaRPr lang="da-DK"/>
          </a:p>
        </p:txBody>
      </p:sp>
      <p:sp>
        <p:nvSpPr>
          <p:cNvPr id="9" name="Pladsholder til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682624" y="2481666"/>
            <a:ext cx="9796464" cy="3374621"/>
          </a:xfrm>
        </p:spPr>
        <p:txBody>
          <a:bodyPr/>
          <a:lstStyle>
            <a:lvl1pPr marL="180000" indent="-180000">
              <a:lnSpc>
                <a:spcPct val="135000"/>
              </a:lnSpc>
              <a:buFont typeface="Verdana" panose="020B0604030504040204" pitchFamily="34" charset="0"/>
              <a:buChar char="·"/>
              <a:defRPr sz="2200"/>
            </a:lvl1pPr>
            <a:lvl2pPr marL="360000" indent="-180000">
              <a:lnSpc>
                <a:spcPct val="135000"/>
              </a:lnSpc>
              <a:defRPr sz="2200"/>
            </a:lvl2pPr>
            <a:lvl3pPr marL="540000" indent="-180000">
              <a:lnSpc>
                <a:spcPct val="135000"/>
              </a:lnSpc>
              <a:defRPr sz="2200"/>
            </a:lvl3pPr>
            <a:lvl4pPr marL="720000" indent="-180000">
              <a:lnSpc>
                <a:spcPct val="135000"/>
              </a:lnSpc>
              <a:defRPr sz="2200"/>
            </a:lvl4pPr>
            <a:lvl5pPr marL="900000" indent="-180000">
              <a:lnSpc>
                <a:spcPct val="135000"/>
              </a:lnSpc>
              <a:defRPr sz="2200"/>
            </a:lvl5pPr>
            <a:lvl6pPr>
              <a:lnSpc>
                <a:spcPct val="135000"/>
              </a:lnSpc>
              <a:defRPr sz="2200"/>
            </a:lvl6pPr>
            <a:lvl7pPr>
              <a:lnSpc>
                <a:spcPct val="135000"/>
              </a:lnSpc>
              <a:defRPr sz="2200"/>
            </a:lvl7pPr>
            <a:lvl8pPr>
              <a:lnSpc>
                <a:spcPct val="135000"/>
              </a:lnSpc>
              <a:defRPr sz="2200"/>
            </a:lvl8pPr>
            <a:lvl9pPr>
              <a:lnSpc>
                <a:spcPct val="135000"/>
              </a:lnSpc>
              <a:defRPr sz="22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noProof="0"/>
              <a:t>29. august 2019</a:t>
            </a:r>
            <a:endParaRPr lang="da-DK" noProof="0" dirty="0"/>
          </a:p>
        </p:txBody>
      </p:sp>
      <p:sp>
        <p:nvSpPr>
          <p:cNvPr id="4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noProof="0" smtClean="0"/>
              <a:pPr/>
              <a:t>‹nr.›</a:t>
            </a:fld>
            <a:endParaRPr lang="da-DK" noProof="0" dirty="0"/>
          </a:p>
        </p:txBody>
      </p:sp>
    </p:spTree>
    <p:extLst>
      <p:ext uri="{BB962C8B-B14F-4D97-AF65-F5344CB8AC3E}">
        <p14:creationId xmlns:p14="http://schemas.microsoft.com/office/powerpoint/2010/main" val="79955250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ørk grå 55-51-52"/>
          <p:cNvSpPr/>
          <p:nvPr userDrawn="1"/>
        </p:nvSpPr>
        <p:spPr>
          <a:xfrm>
            <a:off x="-1" y="1141200"/>
            <a:ext cx="12189600" cy="5716800"/>
          </a:xfrm>
          <a:prstGeom prst="rect">
            <a:avLst/>
          </a:prstGeom>
          <a:solidFill>
            <a:srgbClr val="3733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675630" y="1324212"/>
            <a:ext cx="9803458" cy="90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, og tilføj agenda overskrift</a:t>
            </a:r>
            <a:endParaRPr lang="da-DK"/>
          </a:p>
        </p:txBody>
      </p:sp>
      <p:sp>
        <p:nvSpPr>
          <p:cNvPr id="9" name="Pladsholder til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682624" y="2481666"/>
            <a:ext cx="9796464" cy="3374621"/>
          </a:xfrm>
        </p:spPr>
        <p:txBody>
          <a:bodyPr/>
          <a:lstStyle>
            <a:lvl1pPr marL="180000" indent="-180000">
              <a:lnSpc>
                <a:spcPct val="135000"/>
              </a:lnSpc>
              <a:buFont typeface="Verdana" panose="020B0604030504040204" pitchFamily="34" charset="0"/>
              <a:buChar char="·"/>
              <a:defRPr sz="2200">
                <a:solidFill>
                  <a:schemeClr val="bg1"/>
                </a:solidFill>
              </a:defRPr>
            </a:lvl1pPr>
            <a:lvl2pPr marL="360000" indent="-180000">
              <a:lnSpc>
                <a:spcPct val="135000"/>
              </a:lnSpc>
              <a:defRPr sz="2200">
                <a:solidFill>
                  <a:schemeClr val="bg1"/>
                </a:solidFill>
              </a:defRPr>
            </a:lvl2pPr>
            <a:lvl3pPr marL="540000" indent="-180000">
              <a:lnSpc>
                <a:spcPct val="135000"/>
              </a:lnSpc>
              <a:defRPr sz="2200">
                <a:solidFill>
                  <a:schemeClr val="bg1"/>
                </a:solidFill>
              </a:defRPr>
            </a:lvl3pPr>
            <a:lvl4pPr marL="720000" indent="-180000">
              <a:lnSpc>
                <a:spcPct val="135000"/>
              </a:lnSpc>
              <a:defRPr sz="2200">
                <a:solidFill>
                  <a:schemeClr val="bg1"/>
                </a:solidFill>
              </a:defRPr>
            </a:lvl4pPr>
            <a:lvl5pPr marL="900000" indent="-180000">
              <a:lnSpc>
                <a:spcPct val="135000"/>
              </a:lnSpc>
              <a:defRPr sz="2200">
                <a:solidFill>
                  <a:schemeClr val="bg1"/>
                </a:solidFill>
              </a:defRPr>
            </a:lvl5pPr>
            <a:lvl6pPr>
              <a:lnSpc>
                <a:spcPct val="135000"/>
              </a:lnSpc>
              <a:defRPr sz="2200"/>
            </a:lvl6pPr>
            <a:lvl7pPr>
              <a:lnSpc>
                <a:spcPct val="135000"/>
              </a:lnSpc>
              <a:defRPr sz="2200"/>
            </a:lvl7pPr>
            <a:lvl8pPr>
              <a:lnSpc>
                <a:spcPct val="135000"/>
              </a:lnSpc>
              <a:defRPr sz="2200"/>
            </a:lvl8pPr>
            <a:lvl9pPr>
              <a:lnSpc>
                <a:spcPct val="135000"/>
              </a:lnSpc>
              <a:defRPr sz="2200"/>
            </a:lvl9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noProof="0"/>
              <a:t>29. august 2019</a:t>
            </a:r>
            <a:endParaRPr lang="da-DK" noProof="0" dirty="0"/>
          </a:p>
        </p:txBody>
      </p:sp>
      <p:sp>
        <p:nvSpPr>
          <p:cNvPr id="4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noProof="0" smtClean="0"/>
              <a:pPr/>
              <a:t>‹nr.›</a:t>
            </a:fld>
            <a:endParaRPr lang="da-DK" noProof="0" dirty="0"/>
          </a:p>
        </p:txBody>
      </p:sp>
      <p:cxnSp>
        <p:nvCxnSpPr>
          <p:cNvPr id="8" name="Lige forbindelse 7"/>
          <p:cNvCxnSpPr/>
          <p:nvPr userDrawn="1"/>
        </p:nvCxnSpPr>
        <p:spPr>
          <a:xfrm>
            <a:off x="0" y="6675369"/>
            <a:ext cx="121920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6755280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nktopstilling /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675630" y="1324212"/>
            <a:ext cx="9803458" cy="900000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84000" y="2553539"/>
            <a:ext cx="9795088" cy="33027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  <a:endParaRPr lang="da-DK" noProof="0" dirty="0"/>
          </a:p>
          <a:p>
            <a:pPr lvl="1"/>
            <a:r>
              <a:rPr lang="da-DK" noProof="0" dirty="0"/>
              <a:t>Second level</a:t>
            </a:r>
            <a:endParaRPr lang="da-DK"/>
          </a:p>
          <a:p>
            <a:pPr lvl="2"/>
            <a:r>
              <a:rPr lang="da-DK" noProof="0" dirty="0"/>
              <a:t>Third level</a:t>
            </a:r>
            <a:endParaRPr lang="da-DK"/>
          </a:p>
          <a:p>
            <a:pPr lvl="3"/>
            <a:r>
              <a:rPr lang="da-DK" noProof="0" dirty="0"/>
              <a:t>Fourth level</a:t>
            </a:r>
            <a:endParaRPr lang="da-DK"/>
          </a:p>
          <a:p>
            <a:pPr lvl="4"/>
            <a:r>
              <a:rPr lang="da-DK" noProof="0" dirty="0"/>
              <a:t>Fifth level</a:t>
            </a:r>
            <a:endParaRPr lang="da-DK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noProof="0"/>
              <a:t>29. august 2019</a:t>
            </a:r>
            <a:endParaRPr lang="da-DK" noProof="0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da-DK" noProof="0" smtClean="0"/>
              <a:t>‹nr.›</a:t>
            </a:fld>
            <a:endParaRPr lang="da-DK" noProof="0" dirty="0"/>
          </a:p>
        </p:txBody>
      </p:sp>
    </p:spTree>
    <p:extLst>
      <p:ext uri="{BB962C8B-B14F-4D97-AF65-F5344CB8AC3E}">
        <p14:creationId xmlns:p14="http://schemas.microsoft.com/office/powerpoint/2010/main" val="299070106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6437312" y="43200"/>
            <a:ext cx="5754688" cy="6814800"/>
          </a:xfrm>
        </p:spPr>
        <p:txBody>
          <a:bodyPr tIns="648000" anchor="ctr" anchorCtr="0"/>
          <a:lstStyle>
            <a:lvl1pPr marL="0" indent="0" algn="ctr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675630" y="1324212"/>
            <a:ext cx="5079058" cy="900000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11" name="Pladsholder til tekst 10"/>
          <p:cNvSpPr>
            <a:spLocks noGrp="1"/>
          </p:cNvSpPr>
          <p:nvPr>
            <p:ph type="body" sz="quarter" idx="13" hasCustomPrompt="1"/>
          </p:nvPr>
        </p:nvSpPr>
        <p:spPr>
          <a:xfrm>
            <a:off x="682625" y="2552400"/>
            <a:ext cx="5072063" cy="33038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19179175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kas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4"/>
          <p:cNvGrpSpPr>
            <a:grpSpLocks noChangeAspect="1"/>
          </p:cNvGrpSpPr>
          <p:nvPr userDrawn="1"/>
        </p:nvGrpSpPr>
        <p:grpSpPr bwMode="auto">
          <a:xfrm>
            <a:off x="6436099" y="982800"/>
            <a:ext cx="5070511" cy="5319235"/>
            <a:chOff x="1788" y="0"/>
            <a:chExt cx="4118" cy="4320"/>
          </a:xfrm>
        </p:grpSpPr>
        <p:sp>
          <p:nvSpPr>
            <p:cNvPr id="17" name="Rectangle 5"/>
            <p:cNvSpPr>
              <a:spLocks noChangeArrowheads="1"/>
            </p:cNvSpPr>
            <p:nvPr userDrawn="1"/>
          </p:nvSpPr>
          <p:spPr bwMode="auto">
            <a:xfrm>
              <a:off x="1789" y="43"/>
              <a:ext cx="4116" cy="4147"/>
            </a:xfrm>
            <a:prstGeom prst="rect">
              <a:avLst/>
            </a:prstGeom>
            <a:solidFill>
              <a:srgbClr val="3733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" name="Rectangle 6"/>
            <p:cNvSpPr>
              <a:spLocks noChangeArrowheads="1"/>
            </p:cNvSpPr>
            <p:nvPr userDrawn="1"/>
          </p:nvSpPr>
          <p:spPr bwMode="auto">
            <a:xfrm>
              <a:off x="1788" y="4190"/>
              <a:ext cx="4117" cy="130"/>
            </a:xfrm>
            <a:prstGeom prst="rect">
              <a:avLst/>
            </a:prstGeom>
            <a:solidFill>
              <a:srgbClr val="DBDC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1788" y="0"/>
              <a:ext cx="4117" cy="43"/>
            </a:xfrm>
            <a:prstGeom prst="rect">
              <a:avLst/>
            </a:prstGeom>
            <a:solidFill>
              <a:srgbClr val="DBDC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" name="Rectangle 8"/>
            <p:cNvSpPr>
              <a:spLocks noChangeArrowheads="1"/>
            </p:cNvSpPr>
            <p:nvPr userDrawn="1"/>
          </p:nvSpPr>
          <p:spPr bwMode="auto">
            <a:xfrm>
              <a:off x="1789" y="4064"/>
              <a:ext cx="4117" cy="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675630" y="1324212"/>
            <a:ext cx="5079058" cy="900000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11" name="Pladsholder til tekst 10"/>
          <p:cNvSpPr>
            <a:spLocks noGrp="1"/>
          </p:cNvSpPr>
          <p:nvPr>
            <p:ph type="body" sz="quarter" idx="13" hasCustomPrompt="1"/>
          </p:nvPr>
        </p:nvSpPr>
        <p:spPr>
          <a:xfrm>
            <a:off x="682625" y="2552400"/>
            <a:ext cx="5072063" cy="33038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23" name="Pladsholder til tekst 22"/>
          <p:cNvSpPr>
            <a:spLocks noGrp="1"/>
          </p:cNvSpPr>
          <p:nvPr>
            <p:ph type="body" sz="quarter" idx="14" hasCustomPrompt="1"/>
          </p:nvPr>
        </p:nvSpPr>
        <p:spPr>
          <a:xfrm>
            <a:off x="6674400" y="1323975"/>
            <a:ext cx="4593600" cy="605186"/>
          </a:xfrm>
        </p:spPr>
        <p:txBody>
          <a:bodyPr/>
          <a:lstStyle>
            <a:lvl1pPr>
              <a:lnSpc>
                <a:spcPct val="100000"/>
              </a:lnSpc>
              <a:buFontTx/>
              <a:buNone/>
              <a:defRPr sz="1800" b="1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FontTx/>
              <a:buNone/>
              <a:defRPr sz="1800" b="1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FontTx/>
              <a:buNone/>
              <a:defRPr sz="1800" b="1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FontTx/>
              <a:buNone/>
              <a:defRPr sz="1800" b="1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buFontTx/>
              <a:buNone/>
              <a:defRPr sz="1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27" name="Pladsholder til tekst 26"/>
          <p:cNvSpPr>
            <a:spLocks noGrp="1"/>
          </p:cNvSpPr>
          <p:nvPr>
            <p:ph type="body" sz="quarter" idx="15" hasCustomPrompt="1"/>
          </p:nvPr>
        </p:nvSpPr>
        <p:spPr>
          <a:xfrm>
            <a:off x="6674400" y="2085724"/>
            <a:ext cx="4593600" cy="377056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  <a:lvl2pPr>
              <a:lnSpc>
                <a:spcPct val="125000"/>
              </a:lnSpc>
              <a:defRPr sz="1200">
                <a:solidFill>
                  <a:schemeClr val="bg1"/>
                </a:solidFill>
              </a:defRPr>
            </a:lvl2pPr>
            <a:lvl3pPr>
              <a:lnSpc>
                <a:spcPct val="125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25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25000"/>
              </a:lnSpc>
              <a:defRPr sz="1200">
                <a:solidFill>
                  <a:schemeClr val="bg1"/>
                </a:solidFill>
              </a:defRPr>
            </a:lvl5pPr>
            <a:lvl6pPr>
              <a:lnSpc>
                <a:spcPct val="125000"/>
              </a:lnSpc>
              <a:defRPr sz="1200">
                <a:solidFill>
                  <a:schemeClr val="bg1"/>
                </a:solidFill>
              </a:defRPr>
            </a:lvl6pPr>
            <a:lvl7pPr>
              <a:lnSpc>
                <a:spcPct val="125000"/>
              </a:lnSpc>
              <a:defRPr sz="1200">
                <a:solidFill>
                  <a:schemeClr val="bg1"/>
                </a:solidFill>
              </a:defRPr>
            </a:lvl7pPr>
            <a:lvl8pPr>
              <a:lnSpc>
                <a:spcPct val="125000"/>
              </a:lnSpc>
              <a:defRPr sz="1200">
                <a:solidFill>
                  <a:schemeClr val="bg1"/>
                </a:solidFill>
              </a:defRPr>
            </a:lvl8pPr>
            <a:lvl9pPr>
              <a:lnSpc>
                <a:spcPct val="125000"/>
              </a:lnSpc>
              <a:defRPr sz="1200">
                <a:solidFill>
                  <a:schemeClr val="bg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  <a:p>
            <a:pPr lvl="5"/>
            <a:endParaRPr lang="da-DK" dirty="0"/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5516414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tekst /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Klik, og tilføj overskrift i maksimum to linj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82625" y="2552400"/>
            <a:ext cx="5072063" cy="33038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37312" y="2552400"/>
            <a:ext cx="5067301" cy="33038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Second level</a:t>
            </a:r>
            <a:endParaRPr lang="da-DK"/>
          </a:p>
          <a:p>
            <a:pPr lvl="2"/>
            <a:r>
              <a:rPr lang="da-DK" dirty="0"/>
              <a:t>Third level</a:t>
            </a:r>
            <a:endParaRPr lang="da-DK"/>
          </a:p>
          <a:p>
            <a:pPr lvl="3"/>
            <a:r>
              <a:rPr lang="da-DK" dirty="0"/>
              <a:t>Fourth level</a:t>
            </a:r>
            <a:endParaRPr lang="da-DK"/>
          </a:p>
          <a:p>
            <a:pPr lvl="4"/>
            <a:r>
              <a:rPr lang="da-DK" dirty="0"/>
              <a:t>Fifth level</a:t>
            </a:r>
            <a:endParaRPr lang="da-DK"/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10773343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7" name="Pladsholder til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682624" y="2552400"/>
            <a:ext cx="5072063" cy="33038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9" name="Pladsholder til tabel 8"/>
          <p:cNvSpPr>
            <a:spLocks noGrp="1"/>
          </p:cNvSpPr>
          <p:nvPr>
            <p:ph type="tbl" sz="quarter" idx="14" hasCustomPrompt="1"/>
          </p:nvPr>
        </p:nvSpPr>
        <p:spPr>
          <a:xfrm>
            <a:off x="6437313" y="2600324"/>
            <a:ext cx="5067300" cy="3255964"/>
          </a:xfrm>
        </p:spPr>
        <p:txBody>
          <a:bodyPr/>
          <a:lstStyle>
            <a:lvl1pPr algn="ctr">
              <a:defRPr/>
            </a:lvl1pPr>
          </a:lstStyle>
          <a:p>
            <a:r>
              <a:rPr lang="da-DK" dirty="0"/>
              <a:t>Indsæt tabel</a:t>
            </a:r>
            <a:endParaRPr lang="da-DK"/>
          </a:p>
        </p:txBody>
      </p:sp>
      <p:sp>
        <p:nvSpPr>
          <p:cNvPr id="12" name="Pladsholder til tekst 11"/>
          <p:cNvSpPr>
            <a:spLocks noGrp="1"/>
          </p:cNvSpPr>
          <p:nvPr>
            <p:ph type="body" sz="quarter" idx="15" hasCustomPrompt="1"/>
          </p:nvPr>
        </p:nvSpPr>
        <p:spPr>
          <a:xfrm>
            <a:off x="6437313" y="5975575"/>
            <a:ext cx="5067300" cy="269582"/>
          </a:xfrm>
        </p:spPr>
        <p:txBody>
          <a:bodyPr/>
          <a:lstStyle>
            <a:lvl1pPr algn="r">
              <a:lnSpc>
                <a:spcPct val="110000"/>
              </a:lnSpc>
              <a:buNone/>
              <a:defRPr sz="700"/>
            </a:lvl1pPr>
            <a:lvl2pPr marL="0" indent="0" algn="r">
              <a:lnSpc>
                <a:spcPct val="110000"/>
              </a:lnSpc>
              <a:buNone/>
              <a:defRPr sz="700"/>
            </a:lvl2pPr>
            <a:lvl3pPr marL="216000" indent="0" algn="r">
              <a:lnSpc>
                <a:spcPct val="110000"/>
              </a:lnSpc>
              <a:buNone/>
              <a:defRPr sz="700"/>
            </a:lvl3pPr>
            <a:lvl4pPr marL="432000" indent="0" algn="r">
              <a:lnSpc>
                <a:spcPct val="110000"/>
              </a:lnSpc>
              <a:buNone/>
              <a:defRPr sz="700"/>
            </a:lvl4pPr>
            <a:lvl5pPr marL="648000" indent="0" algn="r">
              <a:lnSpc>
                <a:spcPct val="110000"/>
              </a:lnSpc>
              <a:buNone/>
              <a:defRPr sz="700"/>
            </a:lvl5pPr>
          </a:lstStyle>
          <a:p>
            <a:pPr lvl="0"/>
            <a:r>
              <a:rPr lang="da-DK" dirty="0"/>
              <a:t>Klik her for at tilføje kildetekst</a:t>
            </a:r>
            <a:endParaRPr lang="da-DK"/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9290800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75630" y="1324212"/>
            <a:ext cx="5079057" cy="900000"/>
          </a:xfrm>
        </p:spPr>
        <p:txBody>
          <a:bodyPr/>
          <a:lstStyle/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7" name="Pladsholder til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682624" y="2552400"/>
            <a:ext cx="5072063" cy="33038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</p:txBody>
      </p:sp>
      <p:sp>
        <p:nvSpPr>
          <p:cNvPr id="12" name="Pladsholder til tekst 11"/>
          <p:cNvSpPr>
            <a:spLocks noGrp="1"/>
          </p:cNvSpPr>
          <p:nvPr>
            <p:ph type="body" sz="quarter" idx="15" hasCustomPrompt="1"/>
          </p:nvPr>
        </p:nvSpPr>
        <p:spPr>
          <a:xfrm>
            <a:off x="6437313" y="5975575"/>
            <a:ext cx="5067300" cy="269582"/>
          </a:xfrm>
        </p:spPr>
        <p:txBody>
          <a:bodyPr/>
          <a:lstStyle>
            <a:lvl1pPr algn="r">
              <a:lnSpc>
                <a:spcPct val="110000"/>
              </a:lnSpc>
              <a:buNone/>
              <a:defRPr sz="700"/>
            </a:lvl1pPr>
            <a:lvl2pPr marL="0" indent="0" algn="r">
              <a:lnSpc>
                <a:spcPct val="110000"/>
              </a:lnSpc>
              <a:buNone/>
              <a:defRPr sz="700"/>
            </a:lvl2pPr>
            <a:lvl3pPr marL="216000" indent="0" algn="r">
              <a:lnSpc>
                <a:spcPct val="110000"/>
              </a:lnSpc>
              <a:buNone/>
              <a:defRPr sz="700"/>
            </a:lvl3pPr>
            <a:lvl4pPr marL="432000" indent="0" algn="r">
              <a:lnSpc>
                <a:spcPct val="110000"/>
              </a:lnSpc>
              <a:buNone/>
              <a:defRPr sz="700"/>
            </a:lvl4pPr>
            <a:lvl5pPr marL="648000" indent="0" algn="r">
              <a:lnSpc>
                <a:spcPct val="110000"/>
              </a:lnSpc>
              <a:buNone/>
              <a:defRPr sz="700"/>
            </a:lvl5pPr>
          </a:lstStyle>
          <a:p>
            <a:pPr lvl="0"/>
            <a:r>
              <a:rPr lang="da-DK" dirty="0"/>
              <a:t>Klik her for at tilføje kildetekst</a:t>
            </a:r>
            <a:endParaRPr lang="da-DK"/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7" hasCustomPrompt="1"/>
          </p:nvPr>
        </p:nvSpPr>
        <p:spPr>
          <a:xfrm>
            <a:off x="6437313" y="1431925"/>
            <a:ext cx="5067300" cy="473075"/>
          </a:xfrm>
        </p:spPr>
        <p:txBody>
          <a:bodyPr anchor="b" anchorCtr="0"/>
          <a:lstStyle>
            <a:lvl1pPr>
              <a:lnSpc>
                <a:spcPct val="100000"/>
              </a:lnSpc>
              <a:defRPr sz="1200" b="1" baseline="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1200"/>
            </a:lvl3pPr>
            <a:lvl4pPr>
              <a:lnSpc>
                <a:spcPct val="100000"/>
              </a:lnSpc>
              <a:defRPr sz="1200"/>
            </a:lvl4pPr>
            <a:lvl5pPr>
              <a:lnSpc>
                <a:spcPct val="100000"/>
              </a:lnSpc>
              <a:defRPr sz="1200"/>
            </a:lvl5pPr>
          </a:lstStyle>
          <a:p>
            <a:pPr lvl="0"/>
            <a:r>
              <a:rPr lang="da-DK" dirty="0"/>
              <a:t>Klik her for at tilføje diagram titel</a:t>
            </a:r>
            <a:endParaRPr lang="da-DK"/>
          </a:p>
        </p:txBody>
      </p:sp>
      <p:sp>
        <p:nvSpPr>
          <p:cNvPr id="15" name="Pladsholder til tekst 14"/>
          <p:cNvSpPr>
            <a:spLocks noGrp="1"/>
          </p:cNvSpPr>
          <p:nvPr>
            <p:ph type="body" sz="quarter" idx="18" hasCustomPrompt="1"/>
          </p:nvPr>
        </p:nvSpPr>
        <p:spPr>
          <a:xfrm>
            <a:off x="6437313" y="1914525"/>
            <a:ext cx="5067300" cy="309687"/>
          </a:xfrm>
        </p:spPr>
        <p:txBody>
          <a:bodyPr/>
          <a:lstStyle>
            <a:lvl1pPr>
              <a:defRPr sz="1200" baseline="0"/>
            </a:lvl1pPr>
            <a:lvl2pPr marL="0" indent="0">
              <a:buNone/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a-DK" dirty="0"/>
              <a:t>Klik her for at tilføje diagram undertitel</a:t>
            </a:r>
            <a:endParaRPr lang="da-DK"/>
          </a:p>
        </p:txBody>
      </p:sp>
      <p:sp>
        <p:nvSpPr>
          <p:cNvPr id="8" name="Pladsholder til diagram 7"/>
          <p:cNvSpPr>
            <a:spLocks noGrp="1"/>
          </p:cNvSpPr>
          <p:nvPr>
            <p:ph type="chart" sz="quarter" idx="16" hasCustomPrompt="1"/>
          </p:nvPr>
        </p:nvSpPr>
        <p:spPr>
          <a:xfrm>
            <a:off x="6437313" y="2600324"/>
            <a:ext cx="5067300" cy="3255963"/>
          </a:xfrm>
        </p:spPr>
        <p:txBody>
          <a:bodyPr/>
          <a:lstStyle>
            <a:lvl1pPr algn="ctr">
              <a:defRPr/>
            </a:lvl1pPr>
          </a:lstStyle>
          <a:p>
            <a:r>
              <a:rPr lang="da-DK" dirty="0"/>
              <a:t>Indsæt graf</a:t>
            </a:r>
            <a:endParaRPr lang="da-DK"/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42706006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dirty="0"/>
              <a:t>Klik, og tilføj overskrift i maksimum to linjer</a:t>
            </a:r>
          </a:p>
        </p:txBody>
      </p:sp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4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49805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B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icture Placeholder 38"/>
          <p:cNvSpPr>
            <a:spLocks noGrp="1"/>
          </p:cNvSpPr>
          <p:nvPr>
            <p:ph type="pic" sz="quarter" idx="13" hasCustomPrompt="1"/>
          </p:nvPr>
        </p:nvSpPr>
        <p:spPr>
          <a:xfrm>
            <a:off x="-4800" y="-3600"/>
            <a:ext cx="12206400" cy="6865200"/>
          </a:xfrm>
          <a:prstGeom prst="rect">
            <a:avLst/>
          </a:prstGeom>
          <a:solidFill>
            <a:schemeClr val="bg2"/>
          </a:solidFill>
        </p:spPr>
        <p:txBody>
          <a:bodyPr wrap="square" lIns="108000" tIns="108000" rIns="8496000" bIns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4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4079874" y="0"/>
            <a:ext cx="8112125" cy="6858000"/>
          </a:xfrm>
          <a:custGeom>
            <a:avLst/>
            <a:gdLst>
              <a:gd name="connsiteX0" fmla="*/ 0 w 8112125"/>
              <a:gd name="connsiteY0" fmla="*/ 6853584 h 6858000"/>
              <a:gd name="connsiteX1" fmla="*/ 8112125 w 8112125"/>
              <a:gd name="connsiteY1" fmla="*/ 6855002 h 6858000"/>
              <a:gd name="connsiteX2" fmla="*/ 8112125 w 8112125"/>
              <a:gd name="connsiteY2" fmla="*/ 6858000 h 6858000"/>
              <a:gd name="connsiteX3" fmla="*/ 0 w 8112125"/>
              <a:gd name="connsiteY3" fmla="*/ 6858000 h 6858000"/>
              <a:gd name="connsiteX4" fmla="*/ 8099855 w 8112125"/>
              <a:gd name="connsiteY4" fmla="*/ 6852814 h 6858000"/>
              <a:gd name="connsiteX5" fmla="*/ 8112125 w 8112125"/>
              <a:gd name="connsiteY5" fmla="*/ 6852816 h 6858000"/>
              <a:gd name="connsiteX6" fmla="*/ 8112125 w 8112125"/>
              <a:gd name="connsiteY6" fmla="*/ 6855002 h 6858000"/>
              <a:gd name="connsiteX7" fmla="*/ 0 w 8112125"/>
              <a:gd name="connsiteY7" fmla="*/ 0 h 6858000"/>
              <a:gd name="connsiteX8" fmla="*/ 8112125 w 8112125"/>
              <a:gd name="connsiteY8" fmla="*/ 0 h 6858000"/>
              <a:gd name="connsiteX9" fmla="*/ 8112125 w 8112125"/>
              <a:gd name="connsiteY9" fmla="*/ 6852816 h 6858000"/>
              <a:gd name="connsiteX10" fmla="*/ 8063369 w 8112125"/>
              <a:gd name="connsiteY10" fmla="*/ 6846308 h 6858000"/>
              <a:gd name="connsiteX11" fmla="*/ 0 w 8112125"/>
              <a:gd name="connsiteY11" fmla="*/ 5408521 h 6858000"/>
              <a:gd name="connsiteX0" fmla="*/ 0 w 8112125"/>
              <a:gd name="connsiteY0" fmla="*/ 6858000 h 6858000"/>
              <a:gd name="connsiteX1" fmla="*/ 8112125 w 8112125"/>
              <a:gd name="connsiteY1" fmla="*/ 6855002 h 6858000"/>
              <a:gd name="connsiteX2" fmla="*/ 8112125 w 8112125"/>
              <a:gd name="connsiteY2" fmla="*/ 6858000 h 6858000"/>
              <a:gd name="connsiteX3" fmla="*/ 0 w 8112125"/>
              <a:gd name="connsiteY3" fmla="*/ 6858000 h 6858000"/>
              <a:gd name="connsiteX4" fmla="*/ 8099855 w 8112125"/>
              <a:gd name="connsiteY4" fmla="*/ 6852814 h 6858000"/>
              <a:gd name="connsiteX5" fmla="*/ 8112125 w 8112125"/>
              <a:gd name="connsiteY5" fmla="*/ 6852816 h 6858000"/>
              <a:gd name="connsiteX6" fmla="*/ 8112125 w 8112125"/>
              <a:gd name="connsiteY6" fmla="*/ 6855002 h 6858000"/>
              <a:gd name="connsiteX7" fmla="*/ 8099855 w 8112125"/>
              <a:gd name="connsiteY7" fmla="*/ 6852814 h 6858000"/>
              <a:gd name="connsiteX8" fmla="*/ 0 w 8112125"/>
              <a:gd name="connsiteY8" fmla="*/ 0 h 6858000"/>
              <a:gd name="connsiteX9" fmla="*/ 8112125 w 8112125"/>
              <a:gd name="connsiteY9" fmla="*/ 0 h 6858000"/>
              <a:gd name="connsiteX10" fmla="*/ 8112125 w 8112125"/>
              <a:gd name="connsiteY10" fmla="*/ 6852816 h 6858000"/>
              <a:gd name="connsiteX11" fmla="*/ 8063369 w 8112125"/>
              <a:gd name="connsiteY11" fmla="*/ 6846308 h 6858000"/>
              <a:gd name="connsiteX12" fmla="*/ 0 w 8112125"/>
              <a:gd name="connsiteY12" fmla="*/ 5408521 h 6858000"/>
              <a:gd name="connsiteX13" fmla="*/ 0 w 8112125"/>
              <a:gd name="connsiteY13" fmla="*/ 0 h 6858000"/>
              <a:gd name="connsiteX0" fmla="*/ 0 w 8112125"/>
              <a:gd name="connsiteY0" fmla="*/ 6858000 h 6858000"/>
              <a:gd name="connsiteX1" fmla="*/ 8112125 w 8112125"/>
              <a:gd name="connsiteY1" fmla="*/ 6855002 h 6858000"/>
              <a:gd name="connsiteX2" fmla="*/ 8112125 w 8112125"/>
              <a:gd name="connsiteY2" fmla="*/ 6858000 h 6858000"/>
              <a:gd name="connsiteX3" fmla="*/ 0 w 8112125"/>
              <a:gd name="connsiteY3" fmla="*/ 6858000 h 6858000"/>
              <a:gd name="connsiteX4" fmla="*/ 8112125 w 8112125"/>
              <a:gd name="connsiteY4" fmla="*/ 6855002 h 6858000"/>
              <a:gd name="connsiteX5" fmla="*/ 8112125 w 8112125"/>
              <a:gd name="connsiteY5" fmla="*/ 6852816 h 6858000"/>
              <a:gd name="connsiteX6" fmla="*/ 8112125 w 8112125"/>
              <a:gd name="connsiteY6" fmla="*/ 6855002 h 6858000"/>
              <a:gd name="connsiteX7" fmla="*/ 0 w 8112125"/>
              <a:gd name="connsiteY7" fmla="*/ 0 h 6858000"/>
              <a:gd name="connsiteX8" fmla="*/ 8112125 w 8112125"/>
              <a:gd name="connsiteY8" fmla="*/ 0 h 6858000"/>
              <a:gd name="connsiteX9" fmla="*/ 8112125 w 8112125"/>
              <a:gd name="connsiteY9" fmla="*/ 6852816 h 6858000"/>
              <a:gd name="connsiteX10" fmla="*/ 8063369 w 8112125"/>
              <a:gd name="connsiteY10" fmla="*/ 6846308 h 6858000"/>
              <a:gd name="connsiteX11" fmla="*/ 0 w 8112125"/>
              <a:gd name="connsiteY11" fmla="*/ 5408521 h 6858000"/>
              <a:gd name="connsiteX12" fmla="*/ 0 w 8112125"/>
              <a:gd name="connsiteY1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112125" h="6858000">
                <a:moveTo>
                  <a:pt x="0" y="6858000"/>
                </a:moveTo>
                <a:lnTo>
                  <a:pt x="8112125" y="6855002"/>
                </a:lnTo>
                <a:lnTo>
                  <a:pt x="8112125" y="6858000"/>
                </a:lnTo>
                <a:lnTo>
                  <a:pt x="0" y="6858000"/>
                </a:lnTo>
                <a:close/>
                <a:moveTo>
                  <a:pt x="8112125" y="6855002"/>
                </a:moveTo>
                <a:lnTo>
                  <a:pt x="8112125" y="6852816"/>
                </a:lnTo>
                <a:lnTo>
                  <a:pt x="8112125" y="6855002"/>
                </a:lnTo>
                <a:close/>
                <a:moveTo>
                  <a:pt x="0" y="0"/>
                </a:moveTo>
                <a:lnTo>
                  <a:pt x="8112125" y="0"/>
                </a:lnTo>
                <a:lnTo>
                  <a:pt x="8112125" y="6852816"/>
                </a:lnTo>
                <a:lnTo>
                  <a:pt x="8063369" y="6846308"/>
                </a:lnTo>
                <a:lnTo>
                  <a:pt x="0" y="540852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alpha val="90000"/>
            </a:schemeClr>
          </a:solidFill>
        </p:spPr>
        <p:txBody>
          <a:bodyPr wrap="square" lIns="655200" tIns="2304000" rIns="630000" bIns="2538000" anchor="t" anchorCtr="0">
            <a:noAutofit/>
          </a:bodyPr>
          <a:lstStyle>
            <a:lvl1pPr>
              <a:lnSpc>
                <a:spcPct val="87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Præsentationstitel i maksimum to linjer</a:t>
            </a:r>
            <a:endParaRPr lang="da-DK"/>
          </a:p>
        </p:txBody>
      </p:sp>
      <p:sp>
        <p:nvSpPr>
          <p:cNvPr id="3" name="Undertitel 2"/>
          <p:cNvSpPr>
            <a:spLocks noGrp="1"/>
          </p:cNvSpPr>
          <p:nvPr>
            <p:ph type="subTitle" idx="1" hasCustomPrompt="1"/>
          </p:nvPr>
        </p:nvSpPr>
        <p:spPr>
          <a:xfrm>
            <a:off x="4067909" y="3512736"/>
            <a:ext cx="7450992" cy="498834"/>
          </a:xfrm>
        </p:spPr>
        <p:txBody>
          <a:bodyPr lIns="702000" rIns="511200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Klik, og tilføj undertitel</a:t>
            </a:r>
            <a:endParaRPr lang="da-DK"/>
          </a:p>
        </p:txBody>
      </p:sp>
      <p:sp>
        <p:nvSpPr>
          <p:cNvPr id="6" name="Indsæt TitleName"/>
          <p:cNvSpPr>
            <a:spLocks noGrp="1"/>
          </p:cNvSpPr>
          <p:nvPr>
            <p:ph type="body" sz="quarter" idx="14" hasCustomPrompt="1"/>
          </p:nvPr>
        </p:nvSpPr>
        <p:spPr>
          <a:xfrm>
            <a:off x="4079875" y="1345848"/>
            <a:ext cx="7439026" cy="360040"/>
          </a:xfrm>
        </p:spPr>
        <p:txBody>
          <a:bodyPr lIns="684000" anchor="b" anchorCtr="0"/>
          <a:lstStyle>
            <a:lvl1pPr>
              <a:lnSpc>
                <a:spcPct val="110000"/>
              </a:lnSpc>
              <a:defRPr sz="10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Indsæt titel, navn</a:t>
            </a:r>
            <a:endParaRPr lang="da-DK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408614"/>
            <a:ext cx="12192000" cy="1447802"/>
          </a:xfrm>
          <a:custGeom>
            <a:avLst/>
            <a:gdLst>
              <a:gd name="connsiteX0" fmla="*/ 3054350 w 9144000"/>
              <a:gd name="connsiteY0" fmla="*/ 0 h 1077913"/>
              <a:gd name="connsiteX1" fmla="*/ 9144000 w 9144000"/>
              <a:gd name="connsiteY1" fmla="*/ 1077913 h 1077913"/>
              <a:gd name="connsiteX2" fmla="*/ 0 w 9144000"/>
              <a:gd name="connsiteY2" fmla="*/ 1076326 h 1077913"/>
              <a:gd name="connsiteX3" fmla="*/ 0 w 9144000"/>
              <a:gd name="connsiteY3" fmla="*/ 538163 h 1077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1077913">
                <a:moveTo>
                  <a:pt x="3054350" y="0"/>
                </a:moveTo>
                <a:lnTo>
                  <a:pt x="9144000" y="1077913"/>
                </a:lnTo>
                <a:lnTo>
                  <a:pt x="0" y="1076326"/>
                </a:lnTo>
                <a:lnTo>
                  <a:pt x="0" y="538163"/>
                </a:lnTo>
                <a:close/>
              </a:path>
            </a:pathLst>
          </a:custGeom>
          <a:solidFill>
            <a:schemeClr val="accent2">
              <a:alpha val="6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071600" y="3960000"/>
            <a:ext cx="8118000" cy="2901600"/>
          </a:xfrm>
          <a:custGeom>
            <a:avLst/>
            <a:gdLst>
              <a:gd name="connsiteX0" fmla="*/ 6116484 w 6118225"/>
              <a:gd name="connsiteY0" fmla="*/ 0 h 2159720"/>
              <a:gd name="connsiteX1" fmla="*/ 6118225 w 6118225"/>
              <a:gd name="connsiteY1" fmla="*/ 0 h 2159720"/>
              <a:gd name="connsiteX2" fmla="*/ 6118225 w 6118225"/>
              <a:gd name="connsiteY2" fmla="*/ 2159720 h 2159720"/>
              <a:gd name="connsiteX3" fmla="*/ 0 w 6118225"/>
              <a:gd name="connsiteY3" fmla="*/ 1078913 h 2159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18225" h="2159720">
                <a:moveTo>
                  <a:pt x="6116484" y="0"/>
                </a:moveTo>
                <a:lnTo>
                  <a:pt x="6118225" y="0"/>
                </a:lnTo>
                <a:lnTo>
                  <a:pt x="6118225" y="2159720"/>
                </a:lnTo>
                <a:lnTo>
                  <a:pt x="0" y="1078913"/>
                </a:lnTo>
                <a:close/>
              </a:path>
            </a:pathLst>
          </a:custGeom>
          <a:solidFill>
            <a:srgbClr val="27A1BD"/>
          </a:solidFill>
        </p:spPr>
        <p:txBody>
          <a:bodyPr wrap="square">
            <a:noAutofit/>
          </a:bodyPr>
          <a:lstStyle>
            <a:lvl1pPr marL="0" indent="0">
              <a:buNone/>
              <a:defRPr sz="100"/>
            </a:lvl1pPr>
            <a:lvl2pPr marL="0" indent="0">
              <a:buNone/>
              <a:defRPr sz="100"/>
            </a:lvl2pPr>
            <a:lvl3pPr marL="216000" indent="0">
              <a:buNone/>
              <a:defRPr sz="100"/>
            </a:lvl3pPr>
            <a:lvl4pPr marL="432000" indent="0">
              <a:buNone/>
              <a:defRPr sz="100"/>
            </a:lvl4pPr>
            <a:lvl5pPr marL="648000" indent="0">
              <a:buNone/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17" name="Text Placeholder 3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4764088" y="345600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9" name="TextBox 8"/>
          <p:cNvSpPr txBox="1"/>
          <p:nvPr userDrawn="1"/>
        </p:nvSpPr>
        <p:spPr>
          <a:xfrm>
            <a:off x="-14179" y="-214438"/>
            <a:ext cx="122064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noProof="0" dirty="0">
                <a:solidFill>
                  <a:schemeClr val="accent1"/>
                </a:solidFill>
              </a:rPr>
              <a:t>Bemærk</a:t>
            </a:r>
            <a:r>
              <a:rPr lang="da-DK" sz="1100" noProof="0" dirty="0">
                <a:solidFill>
                  <a:schemeClr val="accent1"/>
                </a:solidFill>
              </a:rPr>
              <a:t> at billedet ses under boksen som er transparent. Derfor skal billedet fylde hele siden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980722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01">
          <p15:clr>
            <a:srgbClr val="FBAE40"/>
          </p15:clr>
        </p15:guide>
        <p15:guide id="2" pos="2570">
          <p15:clr>
            <a:srgbClr val="FBAE40"/>
          </p15:clr>
        </p15:guide>
        <p15:guide id="3" orient="horz" pos="3407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ogo, dato og sidenum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3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82205739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lska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ladsholder til billede 32"/>
          <p:cNvSpPr>
            <a:spLocks noGrp="1"/>
          </p:cNvSpPr>
          <p:nvPr>
            <p:ph type="pic" sz="quarter" idx="13"/>
          </p:nvPr>
        </p:nvSpPr>
        <p:spPr>
          <a:xfrm>
            <a:off x="3049587" y="2455200"/>
            <a:ext cx="6091200" cy="3668038"/>
          </a:xfrm>
          <a:custGeom>
            <a:avLst/>
            <a:gdLst>
              <a:gd name="connsiteX0" fmla="*/ 0 w 6091200"/>
              <a:gd name="connsiteY0" fmla="*/ 0 h 3668038"/>
              <a:gd name="connsiteX1" fmla="*/ 6091200 w 6091200"/>
              <a:gd name="connsiteY1" fmla="*/ 0 h 3668038"/>
              <a:gd name="connsiteX2" fmla="*/ 6091200 w 6091200"/>
              <a:gd name="connsiteY2" fmla="*/ 3668038 h 3668038"/>
              <a:gd name="connsiteX3" fmla="*/ 3047613 w 6091200"/>
              <a:gd name="connsiteY3" fmla="*/ 3668038 h 3668038"/>
              <a:gd name="connsiteX4" fmla="*/ 3047613 w 6091200"/>
              <a:gd name="connsiteY4" fmla="*/ 2199600 h 3668038"/>
              <a:gd name="connsiteX5" fmla="*/ 0 w 6091200"/>
              <a:gd name="connsiteY5" fmla="*/ 2199600 h 3668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1200" h="3668038">
                <a:moveTo>
                  <a:pt x="0" y="0"/>
                </a:moveTo>
                <a:lnTo>
                  <a:pt x="6091200" y="0"/>
                </a:lnTo>
                <a:lnTo>
                  <a:pt x="6091200" y="3668038"/>
                </a:lnTo>
                <a:lnTo>
                  <a:pt x="3047613" y="3668038"/>
                </a:lnTo>
                <a:lnTo>
                  <a:pt x="3047613" y="2199600"/>
                </a:lnTo>
                <a:lnTo>
                  <a:pt x="0" y="21996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bIns="612000" anchor="ctr" anchorCtr="0">
            <a:noAutofit/>
          </a:bodyPr>
          <a:lstStyle>
            <a:lvl1pPr algn="ctr">
              <a:defRPr/>
            </a:lvl1pPr>
          </a:lstStyle>
          <a:p>
            <a:endParaRPr lang="da-DK" dirty="0"/>
          </a:p>
        </p:txBody>
      </p:sp>
      <p:sp>
        <p:nvSpPr>
          <p:cNvPr id="25" name="Grå kasse (1)"/>
          <p:cNvSpPr>
            <a:spLocks noChangeArrowheads="1"/>
          </p:cNvSpPr>
          <p:nvPr userDrawn="1"/>
        </p:nvSpPr>
        <p:spPr bwMode="auto">
          <a:xfrm>
            <a:off x="-1" y="1720849"/>
            <a:ext cx="3049200" cy="1468800"/>
          </a:xfrm>
          <a:prstGeom prst="rect">
            <a:avLst/>
          </a:prstGeom>
          <a:solidFill>
            <a:srgbClr val="DDDDDE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pic>
        <p:nvPicPr>
          <p:cNvPr id="28" name="Enemærke &amp; Petersen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762" y="2155827"/>
            <a:ext cx="1557675" cy="595308"/>
          </a:xfrm>
          <a:prstGeom prst="rect">
            <a:avLst/>
          </a:prstGeom>
        </p:spPr>
      </p:pic>
      <p:sp>
        <p:nvSpPr>
          <p:cNvPr id="22" name="Grøn kasse (1)"/>
          <p:cNvSpPr>
            <a:spLocks noChangeArrowheads="1"/>
          </p:cNvSpPr>
          <p:nvPr userDrawn="1"/>
        </p:nvSpPr>
        <p:spPr bwMode="auto">
          <a:xfrm>
            <a:off x="-1" y="3186113"/>
            <a:ext cx="3049200" cy="1468438"/>
          </a:xfrm>
          <a:prstGeom prst="rect">
            <a:avLst/>
          </a:prstGeom>
          <a:solidFill>
            <a:srgbClr val="009E8E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pic>
        <p:nvPicPr>
          <p:cNvPr id="27" name="ajos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807" y="3670558"/>
            <a:ext cx="1063125" cy="499548"/>
          </a:xfrm>
          <a:prstGeom prst="rect">
            <a:avLst/>
          </a:prstGeom>
        </p:spPr>
      </p:pic>
      <p:sp>
        <p:nvSpPr>
          <p:cNvPr id="18" name="Sort kasse (1)"/>
          <p:cNvSpPr>
            <a:spLocks noChangeArrowheads="1"/>
          </p:cNvSpPr>
          <p:nvPr userDrawn="1"/>
        </p:nvSpPr>
        <p:spPr bwMode="auto">
          <a:xfrm>
            <a:off x="-1" y="5387975"/>
            <a:ext cx="3049200" cy="1468438"/>
          </a:xfrm>
          <a:prstGeom prst="rect">
            <a:avLst/>
          </a:prstGeom>
          <a:solidFill>
            <a:srgbClr val="37333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pic>
        <p:nvPicPr>
          <p:cNvPr id="30" name="Lindpro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5312" y="5935462"/>
            <a:ext cx="1198575" cy="373464"/>
          </a:xfrm>
          <a:prstGeom prst="rect">
            <a:avLst/>
          </a:prstGeom>
        </p:spPr>
      </p:pic>
      <p:sp>
        <p:nvSpPr>
          <p:cNvPr id="34" name="Grå kasse (2)"/>
          <p:cNvSpPr>
            <a:spLocks noChangeArrowheads="1"/>
          </p:cNvSpPr>
          <p:nvPr userDrawn="1"/>
        </p:nvSpPr>
        <p:spPr bwMode="auto">
          <a:xfrm>
            <a:off x="3049200" y="4654800"/>
            <a:ext cx="3048000" cy="1468438"/>
          </a:xfrm>
          <a:prstGeom prst="rect">
            <a:avLst/>
          </a:prstGeom>
          <a:solidFill>
            <a:srgbClr val="DDDDDE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pic>
        <p:nvPicPr>
          <p:cNvPr id="31" name="Scandibyg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52638" y="5236601"/>
            <a:ext cx="1441125" cy="304836"/>
          </a:xfrm>
          <a:prstGeom prst="rect">
            <a:avLst/>
          </a:prstGeom>
        </p:spPr>
      </p:pic>
      <p:sp>
        <p:nvSpPr>
          <p:cNvPr id="20" name="Grøn kasse (3)"/>
          <p:cNvSpPr>
            <a:spLocks noChangeArrowheads="1"/>
          </p:cNvSpPr>
          <p:nvPr userDrawn="1"/>
        </p:nvSpPr>
        <p:spPr bwMode="auto">
          <a:xfrm>
            <a:off x="6094413" y="1720800"/>
            <a:ext cx="3046413" cy="1468438"/>
          </a:xfrm>
          <a:prstGeom prst="rect">
            <a:avLst/>
          </a:prstGeom>
          <a:solidFill>
            <a:srgbClr val="009E8E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dirty="0"/>
          </a:p>
        </p:txBody>
      </p:sp>
      <p:sp>
        <p:nvSpPr>
          <p:cNvPr id="40" name="Grøn kasse (3) plh"/>
          <p:cNvSpPr>
            <a:spLocks noGrp="1"/>
          </p:cNvSpPr>
          <p:nvPr>
            <p:ph type="body" sz="quarter" idx="14" hasCustomPrompt="1"/>
          </p:nvPr>
        </p:nvSpPr>
        <p:spPr>
          <a:xfrm>
            <a:off x="6093618" y="1720800"/>
            <a:ext cx="3045600" cy="1468800"/>
          </a:xfrm>
          <a:solidFill>
            <a:srgbClr val="009E8E">
              <a:alpha val="80000"/>
            </a:srgbClr>
          </a:solidFill>
        </p:spPr>
        <p:txBody>
          <a:bodyPr/>
          <a:lstStyle>
            <a:lvl1pPr>
              <a:buFontTx/>
              <a:buNone/>
              <a:defRPr sz="100"/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42" name="MTHøjgaard"/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6568307" y="2253681"/>
            <a:ext cx="2086489" cy="381600"/>
          </a:xfr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23" name="Sort kasse (4)"/>
          <p:cNvSpPr>
            <a:spLocks noChangeArrowheads="1"/>
          </p:cNvSpPr>
          <p:nvPr userDrawn="1"/>
        </p:nvSpPr>
        <p:spPr bwMode="auto">
          <a:xfrm>
            <a:off x="9140400" y="3186113"/>
            <a:ext cx="3052800" cy="1468438"/>
          </a:xfrm>
          <a:prstGeom prst="rect">
            <a:avLst/>
          </a:prstGeom>
          <a:solidFill>
            <a:srgbClr val="37333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pic>
        <p:nvPicPr>
          <p:cNvPr id="29" name="Greenland Contractors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39858" y="3613792"/>
            <a:ext cx="2049085" cy="613080"/>
          </a:xfrm>
          <a:prstGeom prst="rect">
            <a:avLst/>
          </a:prstGeom>
        </p:spPr>
      </p:pic>
      <p:sp>
        <p:nvSpPr>
          <p:cNvPr id="24" name="Grøn kasse (4)"/>
          <p:cNvSpPr>
            <a:spLocks noChangeArrowheads="1"/>
          </p:cNvSpPr>
          <p:nvPr userDrawn="1"/>
        </p:nvSpPr>
        <p:spPr bwMode="auto">
          <a:xfrm>
            <a:off x="9140400" y="5387975"/>
            <a:ext cx="3052800" cy="1468438"/>
          </a:xfrm>
          <a:prstGeom prst="rect">
            <a:avLst/>
          </a:prstGeom>
          <a:solidFill>
            <a:srgbClr val="009A8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dirty="0"/>
          </a:p>
        </p:txBody>
      </p:sp>
      <p:pic>
        <p:nvPicPr>
          <p:cNvPr id="32" name="Seth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84425" y="5880400"/>
            <a:ext cx="1360800" cy="483588"/>
          </a:xfrm>
          <a:prstGeom prst="rect">
            <a:avLst/>
          </a:prstGeom>
        </p:spPr>
      </p:pic>
      <p:sp>
        <p:nvSpPr>
          <p:cNvPr id="3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94155628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 with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DC3550CC-F12C-42D4-BBBD-189321D3EA2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916988" y="0"/>
            <a:ext cx="3275012" cy="6858000"/>
          </a:xfrm>
          <a:solidFill>
            <a:schemeClr val="bg2"/>
          </a:solidFill>
        </p:spPr>
        <p:txBody>
          <a:bodyPr/>
          <a:lstStyle>
            <a:lvl1pPr>
              <a:buNone/>
              <a:defRPr sz="100">
                <a:noFill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774" y="358775"/>
            <a:ext cx="7769225" cy="1196975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8774" y="1676401"/>
            <a:ext cx="7769225" cy="4502732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  <a:lvl2pPr>
              <a:defRPr>
                <a:solidFill>
                  <a:schemeClr val="accent3"/>
                </a:solidFill>
              </a:defRPr>
            </a:lvl2pPr>
            <a:lvl3pPr>
              <a:defRPr>
                <a:solidFill>
                  <a:schemeClr val="accent3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  <a:lvl5pPr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9097962" y="535708"/>
            <a:ext cx="2559843" cy="56939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/>
              <a:t>Click to add text, graph or table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A1F65EA-4E89-4F39-867B-88DB4D4784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5. november, 2020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BA2A32-B643-4AC5-ADF3-C75F91D7AB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Q3-2020 præsentation, ABG Sundal Colli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E38685-09A9-4E79-9EB9-F6B003CC3A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DBFD722-F00E-4B67-AA8B-F4BDA9CE66E3}"/>
              </a:ext>
            </a:extLst>
          </p:cNvPr>
          <p:cNvSpPr txBox="1"/>
          <p:nvPr userDrawn="1"/>
        </p:nvSpPr>
        <p:spPr>
          <a:xfrm>
            <a:off x="12372974" y="660400"/>
            <a:ext cx="1397000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100"/>
              <a:t>Change the box color by clicking on the box and choose new Fill color from the color theme or use the Eyedropper here: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C9E34CE-FCBD-4232-9EE1-55977E57FAC3}"/>
              </a:ext>
            </a:extLst>
          </p:cNvPr>
          <p:cNvSpPr/>
          <p:nvPr userDrawn="1"/>
        </p:nvSpPr>
        <p:spPr>
          <a:xfrm>
            <a:off x="12395993" y="1834357"/>
            <a:ext cx="180000" cy="14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8E5F869-E5F6-4C60-8C40-9950BE7CB4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68933"/>
          <a:stretch/>
        </p:blipFill>
        <p:spPr>
          <a:xfrm>
            <a:off x="13492161" y="1464614"/>
            <a:ext cx="228601" cy="182272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732B7CEC-DFBC-4234-B87A-315E0F40622C}"/>
              </a:ext>
            </a:extLst>
          </p:cNvPr>
          <p:cNvSpPr/>
          <p:nvPr userDrawn="1"/>
        </p:nvSpPr>
        <p:spPr>
          <a:xfrm>
            <a:off x="12621599" y="1834357"/>
            <a:ext cx="180000" cy="14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03A0EB2-5F32-48DB-900B-0E06AA1E67A2}"/>
              </a:ext>
            </a:extLst>
          </p:cNvPr>
          <p:cNvSpPr/>
          <p:nvPr userDrawn="1"/>
        </p:nvSpPr>
        <p:spPr>
          <a:xfrm>
            <a:off x="12847205" y="1834357"/>
            <a:ext cx="180000" cy="144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5D0B410-E68A-4F84-839A-213F0374C9E3}"/>
              </a:ext>
            </a:extLst>
          </p:cNvPr>
          <p:cNvSpPr/>
          <p:nvPr userDrawn="1"/>
        </p:nvSpPr>
        <p:spPr>
          <a:xfrm>
            <a:off x="13071474" y="1834357"/>
            <a:ext cx="180000" cy="144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AC63809-AD08-4BAC-8E15-4524E56D0216}"/>
              </a:ext>
            </a:extLst>
          </p:cNvPr>
          <p:cNvSpPr/>
          <p:nvPr userDrawn="1"/>
        </p:nvSpPr>
        <p:spPr>
          <a:xfrm>
            <a:off x="13295743" y="1834357"/>
            <a:ext cx="180000" cy="144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EA85527-E4F5-43B3-80C2-5861FACC4E3D}"/>
              </a:ext>
            </a:extLst>
          </p:cNvPr>
          <p:cNvSpPr/>
          <p:nvPr userDrawn="1"/>
        </p:nvSpPr>
        <p:spPr>
          <a:xfrm>
            <a:off x="12395993" y="2008295"/>
            <a:ext cx="180000" cy="144000"/>
          </a:xfrm>
          <a:prstGeom prst="rect">
            <a:avLst/>
          </a:prstGeom>
          <a:solidFill>
            <a:srgbClr val="F266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7DF8FB2-5524-461F-88BE-ADDBB03CC36B}"/>
              </a:ext>
            </a:extLst>
          </p:cNvPr>
          <p:cNvSpPr/>
          <p:nvPr userDrawn="1"/>
        </p:nvSpPr>
        <p:spPr>
          <a:xfrm>
            <a:off x="12621599" y="2008295"/>
            <a:ext cx="180000" cy="144000"/>
          </a:xfrm>
          <a:prstGeom prst="rect">
            <a:avLst/>
          </a:prstGeom>
          <a:solidFill>
            <a:srgbClr val="6567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CB1C208-DC2E-4959-AB63-CBAB62551898}"/>
              </a:ext>
            </a:extLst>
          </p:cNvPr>
          <p:cNvSpPr/>
          <p:nvPr userDrawn="1"/>
        </p:nvSpPr>
        <p:spPr>
          <a:xfrm>
            <a:off x="12847205" y="2008295"/>
            <a:ext cx="180000" cy="144000"/>
          </a:xfrm>
          <a:prstGeom prst="rect">
            <a:avLst/>
          </a:prstGeom>
          <a:solidFill>
            <a:srgbClr val="1D1D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6B9424A-3A63-4629-AA0E-4ED5132D7515}"/>
              </a:ext>
            </a:extLst>
          </p:cNvPr>
          <p:cNvSpPr/>
          <p:nvPr userDrawn="1"/>
        </p:nvSpPr>
        <p:spPr>
          <a:xfrm>
            <a:off x="13071474" y="2008295"/>
            <a:ext cx="180000" cy="144000"/>
          </a:xfrm>
          <a:prstGeom prst="rect">
            <a:avLst/>
          </a:prstGeom>
          <a:solidFill>
            <a:srgbClr val="0172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3E804C7-7CD0-42C7-A37D-3E2400A38230}"/>
              </a:ext>
            </a:extLst>
          </p:cNvPr>
          <p:cNvSpPr/>
          <p:nvPr userDrawn="1"/>
        </p:nvSpPr>
        <p:spPr>
          <a:xfrm>
            <a:off x="13295743" y="2008295"/>
            <a:ext cx="180000" cy="144000"/>
          </a:xfrm>
          <a:prstGeom prst="rect">
            <a:avLst/>
          </a:prstGeom>
          <a:solidFill>
            <a:srgbClr val="2E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C601323-D67D-4CE9-9D6D-06158EE3F651}"/>
              </a:ext>
            </a:extLst>
          </p:cNvPr>
          <p:cNvSpPr/>
          <p:nvPr userDrawn="1"/>
        </p:nvSpPr>
        <p:spPr>
          <a:xfrm>
            <a:off x="13516461" y="1834357"/>
            <a:ext cx="180000" cy="144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5782CE3-682C-45C7-B0B0-6F8564DF21FB}"/>
              </a:ext>
            </a:extLst>
          </p:cNvPr>
          <p:cNvSpPr/>
          <p:nvPr userDrawn="1"/>
        </p:nvSpPr>
        <p:spPr>
          <a:xfrm>
            <a:off x="13516461" y="2008295"/>
            <a:ext cx="180000" cy="144000"/>
          </a:xfrm>
          <a:prstGeom prst="rect">
            <a:avLst/>
          </a:prstGeom>
          <a:solidFill>
            <a:srgbClr val="39B5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</p:spTree>
    <p:extLst>
      <p:ext uri="{BB962C8B-B14F-4D97-AF65-F5344CB8AC3E}">
        <p14:creationId xmlns:p14="http://schemas.microsoft.com/office/powerpoint/2010/main" val="394148612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icture Placeholder 38"/>
          <p:cNvSpPr>
            <a:spLocks noGrp="1"/>
          </p:cNvSpPr>
          <p:nvPr>
            <p:ph type="pic" sz="quarter" idx="13" hasCustomPrompt="1"/>
          </p:nvPr>
        </p:nvSpPr>
        <p:spPr>
          <a:xfrm>
            <a:off x="-4800" y="-3600"/>
            <a:ext cx="12206400" cy="6865200"/>
          </a:xfrm>
          <a:prstGeom prst="rect">
            <a:avLst/>
          </a:prstGeom>
          <a:solidFill>
            <a:schemeClr val="bg2"/>
          </a:solidFill>
        </p:spPr>
        <p:txBody>
          <a:bodyPr wrap="square" lIns="108000" tIns="108000" rIns="4824000" bIns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4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6096000" y="0"/>
            <a:ext cx="6105600" cy="6861600"/>
          </a:xfrm>
          <a:custGeom>
            <a:avLst/>
            <a:gdLst>
              <a:gd name="connsiteX0" fmla="*/ 0 w 6105600"/>
              <a:gd name="connsiteY0" fmla="*/ 0 h 6861600"/>
              <a:gd name="connsiteX1" fmla="*/ 6105600 w 6105600"/>
              <a:gd name="connsiteY1" fmla="*/ 0 h 6861600"/>
              <a:gd name="connsiteX2" fmla="*/ 6105600 w 6105600"/>
              <a:gd name="connsiteY2" fmla="*/ 6861600 h 6861600"/>
              <a:gd name="connsiteX3" fmla="*/ 0 w 6105600"/>
              <a:gd name="connsiteY3" fmla="*/ 6861600 h 6861600"/>
              <a:gd name="connsiteX4" fmla="*/ 0 w 6105600"/>
              <a:gd name="connsiteY4" fmla="*/ 6858001 h 6861600"/>
              <a:gd name="connsiteX5" fmla="*/ 6096000 w 6105600"/>
              <a:gd name="connsiteY5" fmla="*/ 6858001 h 6861600"/>
              <a:gd name="connsiteX6" fmla="*/ 6095992 w 6105600"/>
              <a:gd name="connsiteY6" fmla="*/ 6858000 h 6861600"/>
              <a:gd name="connsiteX7" fmla="*/ 6096000 w 6105600"/>
              <a:gd name="connsiteY7" fmla="*/ 6858000 h 6861600"/>
              <a:gd name="connsiteX8" fmla="*/ 0 w 6105600"/>
              <a:gd name="connsiteY8" fmla="*/ 5805851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05600" h="6861600">
                <a:moveTo>
                  <a:pt x="0" y="0"/>
                </a:moveTo>
                <a:lnTo>
                  <a:pt x="6105600" y="0"/>
                </a:lnTo>
                <a:lnTo>
                  <a:pt x="6105600" y="6861600"/>
                </a:lnTo>
                <a:lnTo>
                  <a:pt x="0" y="6861600"/>
                </a:lnTo>
                <a:lnTo>
                  <a:pt x="0" y="6858001"/>
                </a:lnTo>
                <a:lnTo>
                  <a:pt x="6096000" y="6858001"/>
                </a:lnTo>
                <a:lnTo>
                  <a:pt x="6095992" y="6858000"/>
                </a:lnTo>
                <a:lnTo>
                  <a:pt x="6096000" y="6858000"/>
                </a:lnTo>
                <a:lnTo>
                  <a:pt x="0" y="5805851"/>
                </a:lnTo>
                <a:close/>
              </a:path>
            </a:pathLst>
          </a:custGeom>
          <a:solidFill>
            <a:schemeClr val="accent1">
              <a:alpha val="90000"/>
            </a:schemeClr>
          </a:solidFill>
        </p:spPr>
        <p:txBody>
          <a:bodyPr wrap="square" lIns="630000" tIns="3780000" rIns="630000" bIns="4788000" anchor="t" anchorCtr="0">
            <a:noAutofit/>
          </a:bodyPr>
          <a:lstStyle>
            <a:lvl1pPr>
              <a:lnSpc>
                <a:spcPct val="87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Præsentationstitel i </a:t>
            </a:r>
            <a:r>
              <a:rPr lang="da-DK" dirty="0" err="1"/>
              <a:t>maks</a:t>
            </a:r>
            <a:r>
              <a:rPr lang="da-DK" dirty="0"/>
              <a:t> to linjer</a:t>
            </a:r>
            <a:endParaRPr lang="da-DK"/>
          </a:p>
        </p:txBody>
      </p:sp>
      <p:sp>
        <p:nvSpPr>
          <p:cNvPr id="3" name="Undertitel 2"/>
          <p:cNvSpPr>
            <a:spLocks noGrp="1"/>
          </p:cNvSpPr>
          <p:nvPr>
            <p:ph type="subTitle" idx="1" hasCustomPrompt="1"/>
          </p:nvPr>
        </p:nvSpPr>
        <p:spPr>
          <a:xfrm>
            <a:off x="6096001" y="4132800"/>
            <a:ext cx="5422900" cy="498834"/>
          </a:xfrm>
        </p:spPr>
        <p:txBody>
          <a:bodyPr lIns="640800" rIns="511200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Klik, og tilføj undertitel</a:t>
            </a:r>
            <a:endParaRPr lang="da-DK"/>
          </a:p>
        </p:txBody>
      </p:sp>
      <p:sp>
        <p:nvSpPr>
          <p:cNvPr id="6" name="Indsæt TitleName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1" y="1922400"/>
            <a:ext cx="5422900" cy="360040"/>
          </a:xfrm>
        </p:spPr>
        <p:txBody>
          <a:bodyPr lIns="684000" anchor="b" anchorCtr="0"/>
          <a:lstStyle>
            <a:lvl1pPr>
              <a:lnSpc>
                <a:spcPct val="115000"/>
              </a:lnSpc>
              <a:defRPr sz="10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Indsæt titel, navn</a:t>
            </a:r>
            <a:endParaRPr lang="da-DK"/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805489"/>
            <a:ext cx="12192000" cy="1052514"/>
          </a:xfrm>
          <a:custGeom>
            <a:avLst/>
            <a:gdLst>
              <a:gd name="connsiteX0" fmla="*/ 4570413 w 9144000"/>
              <a:gd name="connsiteY0" fmla="*/ 0 h 809625"/>
              <a:gd name="connsiteX1" fmla="*/ 9144000 w 9144000"/>
              <a:gd name="connsiteY1" fmla="*/ 809625 h 809625"/>
              <a:gd name="connsiteX2" fmla="*/ 0 w 9144000"/>
              <a:gd name="connsiteY2" fmla="*/ 809625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144000" h="809625">
                <a:moveTo>
                  <a:pt x="4570413" y="0"/>
                </a:moveTo>
                <a:lnTo>
                  <a:pt x="9144000" y="809625"/>
                </a:lnTo>
                <a:lnTo>
                  <a:pt x="0" y="809625"/>
                </a:lnTo>
                <a:close/>
              </a:path>
            </a:pathLst>
          </a:custGeom>
          <a:solidFill>
            <a:schemeClr val="accent1">
              <a:alpha val="6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16" hasCustomPrompt="1"/>
          </p:nvPr>
        </p:nvSpPr>
        <p:spPr>
          <a:xfrm>
            <a:off x="6095999" y="4761148"/>
            <a:ext cx="6096001" cy="2094419"/>
          </a:xfrm>
          <a:custGeom>
            <a:avLst/>
            <a:gdLst>
              <a:gd name="connsiteX0" fmla="*/ 4572000 w 4572000"/>
              <a:gd name="connsiteY0" fmla="*/ 0 h 1615884"/>
              <a:gd name="connsiteX1" fmla="*/ 4572000 w 4572000"/>
              <a:gd name="connsiteY1" fmla="*/ 1615884 h 1615884"/>
              <a:gd name="connsiteX2" fmla="*/ 0 w 4572000"/>
              <a:gd name="connsiteY2" fmla="*/ 808222 h 1615884"/>
              <a:gd name="connsiteX3" fmla="*/ 0 w 4572000"/>
              <a:gd name="connsiteY3" fmla="*/ 807661 h 1615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72000" h="1615884">
                <a:moveTo>
                  <a:pt x="4572000" y="0"/>
                </a:moveTo>
                <a:lnTo>
                  <a:pt x="4572000" y="1615884"/>
                </a:lnTo>
                <a:lnTo>
                  <a:pt x="0" y="808222"/>
                </a:lnTo>
                <a:lnTo>
                  <a:pt x="0" y="807661"/>
                </a:lnTo>
                <a:close/>
              </a:path>
            </a:pathLst>
          </a:custGeom>
          <a:solidFill>
            <a:srgbClr val="061C48"/>
          </a:solidFill>
        </p:spPr>
        <p:txBody>
          <a:bodyPr wrap="square">
            <a:noAutofit/>
          </a:bodyPr>
          <a:lstStyle>
            <a:lvl1pPr marL="0" indent="0">
              <a:buNone/>
              <a:defRPr sz="100"/>
            </a:lvl1pPr>
            <a:lvl2pPr marL="0" indent="0">
              <a:buNone/>
              <a:defRPr sz="100"/>
            </a:lvl2pPr>
            <a:lvl3pPr marL="216000" indent="0">
              <a:buNone/>
              <a:defRPr sz="100"/>
            </a:lvl3pPr>
            <a:lvl4pPr marL="432000" indent="0">
              <a:buNone/>
              <a:defRPr sz="100"/>
            </a:lvl4pPr>
            <a:lvl5pPr marL="648000" indent="0">
              <a:buNone/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10" name="TextBox 9"/>
          <p:cNvSpPr txBox="1"/>
          <p:nvPr userDrawn="1"/>
        </p:nvSpPr>
        <p:spPr>
          <a:xfrm>
            <a:off x="-14179" y="-214438"/>
            <a:ext cx="122064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noProof="0" dirty="0">
                <a:solidFill>
                  <a:schemeClr val="accent1"/>
                </a:solidFill>
              </a:rPr>
              <a:t>Bemærk</a:t>
            </a:r>
            <a:r>
              <a:rPr lang="da-DK" sz="1100" noProof="0" dirty="0">
                <a:solidFill>
                  <a:schemeClr val="accent1"/>
                </a:solidFill>
              </a:rPr>
              <a:t> at billedet ses under boksen som er transparent. Derfor skal billedet fylde hele siden.</a:t>
            </a:r>
            <a:endParaRPr lang="da-DK"/>
          </a:p>
        </p:txBody>
      </p:sp>
      <p:sp>
        <p:nvSpPr>
          <p:cNvPr id="17" name="Text Placeholder 3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6743700" y="345600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4444863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icture Placeholder 38"/>
          <p:cNvSpPr>
            <a:spLocks noGrp="1"/>
          </p:cNvSpPr>
          <p:nvPr>
            <p:ph type="pic" sz="quarter" idx="13" hasCustomPrompt="1"/>
          </p:nvPr>
        </p:nvSpPr>
        <p:spPr>
          <a:xfrm>
            <a:off x="-4800" y="-3600"/>
            <a:ext cx="12206400" cy="6865200"/>
          </a:xfrm>
          <a:prstGeom prst="rect">
            <a:avLst/>
          </a:prstGeom>
          <a:solidFill>
            <a:schemeClr val="bg2"/>
          </a:solidFill>
        </p:spPr>
        <p:txBody>
          <a:bodyPr wrap="square" lIns="108000" tIns="108000" rIns="4824000" bIns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4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6096000" y="0"/>
            <a:ext cx="6105600" cy="6861600"/>
          </a:xfrm>
          <a:custGeom>
            <a:avLst/>
            <a:gdLst>
              <a:gd name="connsiteX0" fmla="*/ 0 w 6105600"/>
              <a:gd name="connsiteY0" fmla="*/ 0 h 6861600"/>
              <a:gd name="connsiteX1" fmla="*/ 6105600 w 6105600"/>
              <a:gd name="connsiteY1" fmla="*/ 0 h 6861600"/>
              <a:gd name="connsiteX2" fmla="*/ 6105600 w 6105600"/>
              <a:gd name="connsiteY2" fmla="*/ 6861600 h 6861600"/>
              <a:gd name="connsiteX3" fmla="*/ 0 w 6105600"/>
              <a:gd name="connsiteY3" fmla="*/ 6861600 h 6861600"/>
              <a:gd name="connsiteX4" fmla="*/ 0 w 6105600"/>
              <a:gd name="connsiteY4" fmla="*/ 6858001 h 6861600"/>
              <a:gd name="connsiteX5" fmla="*/ 6096000 w 6105600"/>
              <a:gd name="connsiteY5" fmla="*/ 6858001 h 6861600"/>
              <a:gd name="connsiteX6" fmla="*/ 6095992 w 6105600"/>
              <a:gd name="connsiteY6" fmla="*/ 6858000 h 6861600"/>
              <a:gd name="connsiteX7" fmla="*/ 6096000 w 6105600"/>
              <a:gd name="connsiteY7" fmla="*/ 6858000 h 6861600"/>
              <a:gd name="connsiteX8" fmla="*/ 0 w 6105600"/>
              <a:gd name="connsiteY8" fmla="*/ 5805851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05600" h="6861600">
                <a:moveTo>
                  <a:pt x="0" y="0"/>
                </a:moveTo>
                <a:lnTo>
                  <a:pt x="6105600" y="0"/>
                </a:lnTo>
                <a:lnTo>
                  <a:pt x="6105600" y="6861600"/>
                </a:lnTo>
                <a:lnTo>
                  <a:pt x="0" y="6861600"/>
                </a:lnTo>
                <a:lnTo>
                  <a:pt x="0" y="6858001"/>
                </a:lnTo>
                <a:lnTo>
                  <a:pt x="6096000" y="6858001"/>
                </a:lnTo>
                <a:lnTo>
                  <a:pt x="6095992" y="6858000"/>
                </a:lnTo>
                <a:lnTo>
                  <a:pt x="6096000" y="6858000"/>
                </a:lnTo>
                <a:lnTo>
                  <a:pt x="0" y="5805851"/>
                </a:lnTo>
                <a:close/>
              </a:path>
            </a:pathLst>
          </a:custGeom>
          <a:solidFill>
            <a:schemeClr val="accent2">
              <a:alpha val="90000"/>
            </a:schemeClr>
          </a:solidFill>
        </p:spPr>
        <p:txBody>
          <a:bodyPr wrap="square" lIns="630000" tIns="3780000" rIns="630000" bIns="4788000" anchor="t" anchorCtr="0">
            <a:noAutofit/>
          </a:bodyPr>
          <a:lstStyle>
            <a:lvl1pPr>
              <a:lnSpc>
                <a:spcPct val="87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Præsentationstitel i </a:t>
            </a:r>
            <a:r>
              <a:rPr lang="da-DK" dirty="0" err="1"/>
              <a:t>maks</a:t>
            </a:r>
            <a:r>
              <a:rPr lang="da-DK" dirty="0"/>
              <a:t> to linjer</a:t>
            </a:r>
            <a:endParaRPr lang="da-DK"/>
          </a:p>
        </p:txBody>
      </p:sp>
      <p:sp>
        <p:nvSpPr>
          <p:cNvPr id="3" name="Undertitel 2"/>
          <p:cNvSpPr>
            <a:spLocks noGrp="1"/>
          </p:cNvSpPr>
          <p:nvPr>
            <p:ph type="subTitle" idx="1" hasCustomPrompt="1"/>
          </p:nvPr>
        </p:nvSpPr>
        <p:spPr>
          <a:xfrm>
            <a:off x="6096001" y="4132800"/>
            <a:ext cx="5422900" cy="498834"/>
          </a:xfrm>
        </p:spPr>
        <p:txBody>
          <a:bodyPr lIns="640800" rIns="511200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Klik, og tilføj undertitel</a:t>
            </a:r>
            <a:endParaRPr lang="da-DK"/>
          </a:p>
        </p:txBody>
      </p:sp>
      <p:sp>
        <p:nvSpPr>
          <p:cNvPr id="6" name="Indsæt TitleName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1" y="1922400"/>
            <a:ext cx="5422900" cy="360040"/>
          </a:xfrm>
        </p:spPr>
        <p:txBody>
          <a:bodyPr lIns="684000" anchor="b" anchorCtr="0"/>
          <a:lstStyle>
            <a:lvl1pPr>
              <a:lnSpc>
                <a:spcPct val="115000"/>
              </a:lnSpc>
              <a:defRPr sz="10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Indsæt titel, navn</a:t>
            </a:r>
            <a:endParaRPr lang="da-DK"/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805489"/>
            <a:ext cx="12192000" cy="1052514"/>
          </a:xfrm>
          <a:custGeom>
            <a:avLst/>
            <a:gdLst>
              <a:gd name="connsiteX0" fmla="*/ 4570413 w 9144000"/>
              <a:gd name="connsiteY0" fmla="*/ 0 h 809625"/>
              <a:gd name="connsiteX1" fmla="*/ 9144000 w 9144000"/>
              <a:gd name="connsiteY1" fmla="*/ 809625 h 809625"/>
              <a:gd name="connsiteX2" fmla="*/ 0 w 9144000"/>
              <a:gd name="connsiteY2" fmla="*/ 809625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144000" h="809625">
                <a:moveTo>
                  <a:pt x="4570413" y="0"/>
                </a:moveTo>
                <a:lnTo>
                  <a:pt x="9144000" y="809625"/>
                </a:lnTo>
                <a:lnTo>
                  <a:pt x="0" y="809625"/>
                </a:lnTo>
                <a:close/>
              </a:path>
            </a:pathLst>
          </a:custGeom>
          <a:solidFill>
            <a:schemeClr val="accent2">
              <a:alpha val="6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16" hasCustomPrompt="1"/>
          </p:nvPr>
        </p:nvSpPr>
        <p:spPr>
          <a:xfrm>
            <a:off x="6095999" y="4761148"/>
            <a:ext cx="6096001" cy="2094419"/>
          </a:xfrm>
          <a:custGeom>
            <a:avLst/>
            <a:gdLst>
              <a:gd name="connsiteX0" fmla="*/ 4572000 w 4572000"/>
              <a:gd name="connsiteY0" fmla="*/ 0 h 1615884"/>
              <a:gd name="connsiteX1" fmla="*/ 4572000 w 4572000"/>
              <a:gd name="connsiteY1" fmla="*/ 1615884 h 1615884"/>
              <a:gd name="connsiteX2" fmla="*/ 0 w 4572000"/>
              <a:gd name="connsiteY2" fmla="*/ 808222 h 1615884"/>
              <a:gd name="connsiteX3" fmla="*/ 0 w 4572000"/>
              <a:gd name="connsiteY3" fmla="*/ 807661 h 1615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72000" h="1615884">
                <a:moveTo>
                  <a:pt x="4572000" y="0"/>
                </a:moveTo>
                <a:lnTo>
                  <a:pt x="4572000" y="1615884"/>
                </a:lnTo>
                <a:lnTo>
                  <a:pt x="0" y="808222"/>
                </a:lnTo>
                <a:lnTo>
                  <a:pt x="0" y="807661"/>
                </a:lnTo>
                <a:close/>
              </a:path>
            </a:pathLst>
          </a:custGeom>
          <a:solidFill>
            <a:srgbClr val="27A1BD"/>
          </a:solidFill>
        </p:spPr>
        <p:txBody>
          <a:bodyPr wrap="square">
            <a:noAutofit/>
          </a:bodyPr>
          <a:lstStyle>
            <a:lvl1pPr marL="0" indent="0">
              <a:buNone/>
              <a:defRPr sz="100"/>
            </a:lvl1pPr>
            <a:lvl2pPr marL="0" indent="0">
              <a:buNone/>
              <a:defRPr sz="100"/>
            </a:lvl2pPr>
            <a:lvl3pPr marL="216000" indent="0">
              <a:buNone/>
              <a:defRPr sz="100"/>
            </a:lvl3pPr>
            <a:lvl4pPr marL="432000" indent="0">
              <a:buNone/>
              <a:defRPr sz="100"/>
            </a:lvl4pPr>
            <a:lvl5pPr marL="648000" indent="0">
              <a:buNone/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10" name="TextBox 9"/>
          <p:cNvSpPr txBox="1"/>
          <p:nvPr userDrawn="1"/>
        </p:nvSpPr>
        <p:spPr>
          <a:xfrm>
            <a:off x="-14179" y="-214438"/>
            <a:ext cx="122064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noProof="0" dirty="0">
                <a:solidFill>
                  <a:schemeClr val="accent1"/>
                </a:solidFill>
              </a:rPr>
              <a:t>Bemærk</a:t>
            </a:r>
            <a:r>
              <a:rPr lang="da-DK" sz="1100" noProof="0" dirty="0">
                <a:solidFill>
                  <a:schemeClr val="accent1"/>
                </a:solidFill>
              </a:rPr>
              <a:t> at billedet ses under boksen som er transparent. Derfor skal billedet fylde hele siden.</a:t>
            </a:r>
            <a:endParaRPr lang="da-DK"/>
          </a:p>
        </p:txBody>
      </p:sp>
      <p:sp>
        <p:nvSpPr>
          <p:cNvPr id="17" name="Text Placeholder 3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6743700" y="345600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8586654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A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icture Placeholder 38"/>
          <p:cNvSpPr>
            <a:spLocks noGrp="1"/>
          </p:cNvSpPr>
          <p:nvPr>
            <p:ph type="pic" sz="quarter" idx="13" hasCustomPrompt="1"/>
          </p:nvPr>
        </p:nvSpPr>
        <p:spPr>
          <a:xfrm>
            <a:off x="-4800" y="-3600"/>
            <a:ext cx="12206400" cy="6865200"/>
          </a:xfrm>
          <a:prstGeom prst="rect">
            <a:avLst/>
          </a:prstGeom>
          <a:solidFill>
            <a:schemeClr val="bg2"/>
          </a:solidFill>
        </p:spPr>
        <p:txBody>
          <a:bodyPr wrap="square" lIns="108000" tIns="108000" rIns="4824000" bIns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4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6096000" y="0"/>
            <a:ext cx="6105600" cy="6861600"/>
          </a:xfrm>
          <a:custGeom>
            <a:avLst/>
            <a:gdLst>
              <a:gd name="connsiteX0" fmla="*/ 0 w 6105600"/>
              <a:gd name="connsiteY0" fmla="*/ 0 h 6861600"/>
              <a:gd name="connsiteX1" fmla="*/ 6105600 w 6105600"/>
              <a:gd name="connsiteY1" fmla="*/ 0 h 6861600"/>
              <a:gd name="connsiteX2" fmla="*/ 6105600 w 6105600"/>
              <a:gd name="connsiteY2" fmla="*/ 6861600 h 6861600"/>
              <a:gd name="connsiteX3" fmla="*/ 0 w 6105600"/>
              <a:gd name="connsiteY3" fmla="*/ 6861600 h 6861600"/>
              <a:gd name="connsiteX4" fmla="*/ 0 w 6105600"/>
              <a:gd name="connsiteY4" fmla="*/ 6858001 h 6861600"/>
              <a:gd name="connsiteX5" fmla="*/ 6096000 w 6105600"/>
              <a:gd name="connsiteY5" fmla="*/ 6858001 h 6861600"/>
              <a:gd name="connsiteX6" fmla="*/ 6095992 w 6105600"/>
              <a:gd name="connsiteY6" fmla="*/ 6858000 h 6861600"/>
              <a:gd name="connsiteX7" fmla="*/ 6096000 w 6105600"/>
              <a:gd name="connsiteY7" fmla="*/ 6858000 h 6861600"/>
              <a:gd name="connsiteX8" fmla="*/ 0 w 6105600"/>
              <a:gd name="connsiteY8" fmla="*/ 5805851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05600" h="6861600">
                <a:moveTo>
                  <a:pt x="0" y="0"/>
                </a:moveTo>
                <a:lnTo>
                  <a:pt x="6105600" y="0"/>
                </a:lnTo>
                <a:lnTo>
                  <a:pt x="6105600" y="6861600"/>
                </a:lnTo>
                <a:lnTo>
                  <a:pt x="0" y="6861600"/>
                </a:lnTo>
                <a:lnTo>
                  <a:pt x="0" y="6858001"/>
                </a:lnTo>
                <a:lnTo>
                  <a:pt x="6096000" y="6858001"/>
                </a:lnTo>
                <a:lnTo>
                  <a:pt x="6095992" y="6858000"/>
                </a:lnTo>
                <a:lnTo>
                  <a:pt x="6096000" y="6858000"/>
                </a:lnTo>
                <a:lnTo>
                  <a:pt x="0" y="5805851"/>
                </a:lnTo>
                <a:close/>
              </a:path>
            </a:pathLst>
          </a:custGeom>
          <a:solidFill>
            <a:schemeClr val="accent3">
              <a:alpha val="90000"/>
            </a:schemeClr>
          </a:solidFill>
        </p:spPr>
        <p:txBody>
          <a:bodyPr wrap="square" lIns="630000" tIns="3780000" rIns="630000" bIns="4788000" anchor="t" anchorCtr="0">
            <a:noAutofit/>
          </a:bodyPr>
          <a:lstStyle>
            <a:lvl1pPr>
              <a:lnSpc>
                <a:spcPct val="87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Præsentationstitel i </a:t>
            </a:r>
            <a:r>
              <a:rPr lang="da-DK" dirty="0" err="1"/>
              <a:t>maks</a:t>
            </a:r>
            <a:r>
              <a:rPr lang="da-DK" dirty="0"/>
              <a:t> to linjer</a:t>
            </a:r>
            <a:endParaRPr lang="da-DK"/>
          </a:p>
        </p:txBody>
      </p:sp>
      <p:sp>
        <p:nvSpPr>
          <p:cNvPr id="3" name="Undertitel 2"/>
          <p:cNvSpPr>
            <a:spLocks noGrp="1"/>
          </p:cNvSpPr>
          <p:nvPr>
            <p:ph type="subTitle" idx="1" hasCustomPrompt="1"/>
          </p:nvPr>
        </p:nvSpPr>
        <p:spPr>
          <a:xfrm>
            <a:off x="6096001" y="4132800"/>
            <a:ext cx="5422900" cy="498834"/>
          </a:xfrm>
        </p:spPr>
        <p:txBody>
          <a:bodyPr lIns="640800" rIns="511200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Klik, og tilføj undertitel</a:t>
            </a:r>
            <a:endParaRPr lang="da-DK"/>
          </a:p>
        </p:txBody>
      </p:sp>
      <p:sp>
        <p:nvSpPr>
          <p:cNvPr id="6" name="Indsæt TitleName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1" y="1922400"/>
            <a:ext cx="5422900" cy="360040"/>
          </a:xfrm>
        </p:spPr>
        <p:txBody>
          <a:bodyPr lIns="684000" anchor="b" anchorCtr="0"/>
          <a:lstStyle>
            <a:lvl1pPr>
              <a:lnSpc>
                <a:spcPct val="115000"/>
              </a:lnSpc>
              <a:defRPr sz="10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Indsæt titel, navn</a:t>
            </a:r>
            <a:endParaRPr lang="da-DK"/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805489"/>
            <a:ext cx="12192000" cy="1052514"/>
          </a:xfrm>
          <a:custGeom>
            <a:avLst/>
            <a:gdLst>
              <a:gd name="connsiteX0" fmla="*/ 4570413 w 9144000"/>
              <a:gd name="connsiteY0" fmla="*/ 0 h 809625"/>
              <a:gd name="connsiteX1" fmla="*/ 9144000 w 9144000"/>
              <a:gd name="connsiteY1" fmla="*/ 809625 h 809625"/>
              <a:gd name="connsiteX2" fmla="*/ 0 w 9144000"/>
              <a:gd name="connsiteY2" fmla="*/ 809625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144000" h="809625">
                <a:moveTo>
                  <a:pt x="4570413" y="0"/>
                </a:moveTo>
                <a:lnTo>
                  <a:pt x="9144000" y="809625"/>
                </a:lnTo>
                <a:lnTo>
                  <a:pt x="0" y="809625"/>
                </a:lnTo>
                <a:close/>
              </a:path>
            </a:pathLst>
          </a:custGeom>
          <a:solidFill>
            <a:schemeClr val="accent3">
              <a:alpha val="6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16" hasCustomPrompt="1"/>
          </p:nvPr>
        </p:nvSpPr>
        <p:spPr>
          <a:xfrm>
            <a:off x="6095999" y="4761148"/>
            <a:ext cx="6096001" cy="2094419"/>
          </a:xfrm>
          <a:custGeom>
            <a:avLst/>
            <a:gdLst>
              <a:gd name="connsiteX0" fmla="*/ 4572000 w 4572000"/>
              <a:gd name="connsiteY0" fmla="*/ 0 h 1615884"/>
              <a:gd name="connsiteX1" fmla="*/ 4572000 w 4572000"/>
              <a:gd name="connsiteY1" fmla="*/ 1615884 h 1615884"/>
              <a:gd name="connsiteX2" fmla="*/ 0 w 4572000"/>
              <a:gd name="connsiteY2" fmla="*/ 808222 h 1615884"/>
              <a:gd name="connsiteX3" fmla="*/ 0 w 4572000"/>
              <a:gd name="connsiteY3" fmla="*/ 807661 h 1615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72000" h="1615884">
                <a:moveTo>
                  <a:pt x="4572000" y="0"/>
                </a:moveTo>
                <a:lnTo>
                  <a:pt x="4572000" y="1615884"/>
                </a:lnTo>
                <a:lnTo>
                  <a:pt x="0" y="808222"/>
                </a:lnTo>
                <a:lnTo>
                  <a:pt x="0" y="807661"/>
                </a:lnTo>
                <a:close/>
              </a:path>
            </a:pathLst>
          </a:custGeom>
          <a:solidFill>
            <a:srgbClr val="ECAD28"/>
          </a:solidFill>
        </p:spPr>
        <p:txBody>
          <a:bodyPr wrap="square">
            <a:noAutofit/>
          </a:bodyPr>
          <a:lstStyle>
            <a:lvl1pPr marL="0" indent="0">
              <a:buNone/>
              <a:defRPr sz="100"/>
            </a:lvl1pPr>
            <a:lvl2pPr marL="0" indent="0">
              <a:buNone/>
              <a:defRPr sz="100"/>
            </a:lvl2pPr>
            <a:lvl3pPr marL="216000" indent="0">
              <a:buNone/>
              <a:defRPr sz="100"/>
            </a:lvl3pPr>
            <a:lvl4pPr marL="432000" indent="0">
              <a:buNone/>
              <a:defRPr sz="100"/>
            </a:lvl4pPr>
            <a:lvl5pPr marL="648000" indent="0">
              <a:buNone/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10" name="TextBox 9"/>
          <p:cNvSpPr txBox="1"/>
          <p:nvPr userDrawn="1"/>
        </p:nvSpPr>
        <p:spPr>
          <a:xfrm>
            <a:off x="-14179" y="-214438"/>
            <a:ext cx="122064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noProof="0" dirty="0">
                <a:solidFill>
                  <a:schemeClr val="accent1"/>
                </a:solidFill>
              </a:rPr>
              <a:t>Bemærk</a:t>
            </a:r>
            <a:r>
              <a:rPr lang="da-DK" sz="1100" noProof="0" dirty="0">
                <a:solidFill>
                  <a:schemeClr val="accent1"/>
                </a:solidFill>
              </a:rPr>
              <a:t> at billedet ses under boksen som er transparent. Derfor skal billedet fylde hele siden.</a:t>
            </a:r>
            <a:endParaRPr lang="da-DK"/>
          </a:p>
        </p:txBody>
      </p:sp>
      <p:sp>
        <p:nvSpPr>
          <p:cNvPr id="17" name="Text Placeholder 3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6743700" y="345600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576125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A 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icture Placeholder 38"/>
          <p:cNvSpPr>
            <a:spLocks noGrp="1"/>
          </p:cNvSpPr>
          <p:nvPr>
            <p:ph type="pic" sz="quarter" idx="13" hasCustomPrompt="1"/>
          </p:nvPr>
        </p:nvSpPr>
        <p:spPr>
          <a:xfrm>
            <a:off x="-4800" y="-3600"/>
            <a:ext cx="12206400" cy="6865200"/>
          </a:xfrm>
          <a:prstGeom prst="rect">
            <a:avLst/>
          </a:prstGeom>
          <a:solidFill>
            <a:schemeClr val="bg2"/>
          </a:solidFill>
        </p:spPr>
        <p:txBody>
          <a:bodyPr wrap="square" lIns="108000" tIns="108000" rIns="4824000" bIns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4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6096000" y="0"/>
            <a:ext cx="6105600" cy="6861600"/>
          </a:xfrm>
          <a:custGeom>
            <a:avLst/>
            <a:gdLst>
              <a:gd name="connsiteX0" fmla="*/ 0 w 6105600"/>
              <a:gd name="connsiteY0" fmla="*/ 0 h 6861600"/>
              <a:gd name="connsiteX1" fmla="*/ 6105600 w 6105600"/>
              <a:gd name="connsiteY1" fmla="*/ 0 h 6861600"/>
              <a:gd name="connsiteX2" fmla="*/ 6105600 w 6105600"/>
              <a:gd name="connsiteY2" fmla="*/ 6861600 h 6861600"/>
              <a:gd name="connsiteX3" fmla="*/ 0 w 6105600"/>
              <a:gd name="connsiteY3" fmla="*/ 6861600 h 6861600"/>
              <a:gd name="connsiteX4" fmla="*/ 0 w 6105600"/>
              <a:gd name="connsiteY4" fmla="*/ 6858001 h 6861600"/>
              <a:gd name="connsiteX5" fmla="*/ 6096000 w 6105600"/>
              <a:gd name="connsiteY5" fmla="*/ 6858001 h 6861600"/>
              <a:gd name="connsiteX6" fmla="*/ 6095992 w 6105600"/>
              <a:gd name="connsiteY6" fmla="*/ 6858000 h 6861600"/>
              <a:gd name="connsiteX7" fmla="*/ 6096000 w 6105600"/>
              <a:gd name="connsiteY7" fmla="*/ 6858000 h 6861600"/>
              <a:gd name="connsiteX8" fmla="*/ 0 w 6105600"/>
              <a:gd name="connsiteY8" fmla="*/ 5805851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05600" h="6861600">
                <a:moveTo>
                  <a:pt x="0" y="0"/>
                </a:moveTo>
                <a:lnTo>
                  <a:pt x="6105600" y="0"/>
                </a:lnTo>
                <a:lnTo>
                  <a:pt x="6105600" y="6861600"/>
                </a:lnTo>
                <a:lnTo>
                  <a:pt x="0" y="6861600"/>
                </a:lnTo>
                <a:lnTo>
                  <a:pt x="0" y="6858001"/>
                </a:lnTo>
                <a:lnTo>
                  <a:pt x="6096000" y="6858001"/>
                </a:lnTo>
                <a:lnTo>
                  <a:pt x="6095992" y="6858000"/>
                </a:lnTo>
                <a:lnTo>
                  <a:pt x="6096000" y="6858000"/>
                </a:lnTo>
                <a:lnTo>
                  <a:pt x="0" y="5805851"/>
                </a:lnTo>
                <a:close/>
              </a:path>
            </a:pathLst>
          </a:custGeom>
          <a:solidFill>
            <a:schemeClr val="accent4">
              <a:alpha val="90000"/>
            </a:schemeClr>
          </a:solidFill>
        </p:spPr>
        <p:txBody>
          <a:bodyPr wrap="square" lIns="630000" tIns="3780000" rIns="630000" bIns="4788000" anchor="t" anchorCtr="0">
            <a:noAutofit/>
          </a:bodyPr>
          <a:lstStyle>
            <a:lvl1pPr>
              <a:lnSpc>
                <a:spcPct val="87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Præsentationstitel i </a:t>
            </a:r>
            <a:r>
              <a:rPr lang="da-DK" dirty="0" err="1"/>
              <a:t>maks</a:t>
            </a:r>
            <a:r>
              <a:rPr lang="da-DK" dirty="0"/>
              <a:t> to linjer</a:t>
            </a:r>
            <a:endParaRPr lang="da-DK"/>
          </a:p>
        </p:txBody>
      </p:sp>
      <p:sp>
        <p:nvSpPr>
          <p:cNvPr id="3" name="Undertitel 2"/>
          <p:cNvSpPr>
            <a:spLocks noGrp="1"/>
          </p:cNvSpPr>
          <p:nvPr>
            <p:ph type="subTitle" idx="1" hasCustomPrompt="1"/>
          </p:nvPr>
        </p:nvSpPr>
        <p:spPr>
          <a:xfrm>
            <a:off x="6096001" y="4132800"/>
            <a:ext cx="5422900" cy="498834"/>
          </a:xfrm>
        </p:spPr>
        <p:txBody>
          <a:bodyPr lIns="640800" rIns="511200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Klik, og tilføj undertitel</a:t>
            </a:r>
            <a:endParaRPr lang="da-DK"/>
          </a:p>
        </p:txBody>
      </p:sp>
      <p:sp>
        <p:nvSpPr>
          <p:cNvPr id="6" name="Indsæt TitleName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1" y="1922400"/>
            <a:ext cx="5422900" cy="360040"/>
          </a:xfrm>
        </p:spPr>
        <p:txBody>
          <a:bodyPr lIns="684000" anchor="b" anchorCtr="0"/>
          <a:lstStyle>
            <a:lvl1pPr>
              <a:lnSpc>
                <a:spcPct val="115000"/>
              </a:lnSpc>
              <a:defRPr sz="10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Indsæt titel, navn</a:t>
            </a:r>
            <a:endParaRPr lang="da-DK"/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805489"/>
            <a:ext cx="12192000" cy="1052514"/>
          </a:xfrm>
          <a:custGeom>
            <a:avLst/>
            <a:gdLst>
              <a:gd name="connsiteX0" fmla="*/ 4570413 w 9144000"/>
              <a:gd name="connsiteY0" fmla="*/ 0 h 809625"/>
              <a:gd name="connsiteX1" fmla="*/ 9144000 w 9144000"/>
              <a:gd name="connsiteY1" fmla="*/ 809625 h 809625"/>
              <a:gd name="connsiteX2" fmla="*/ 0 w 9144000"/>
              <a:gd name="connsiteY2" fmla="*/ 809625 h 809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144000" h="809625">
                <a:moveTo>
                  <a:pt x="4570413" y="0"/>
                </a:moveTo>
                <a:lnTo>
                  <a:pt x="9144000" y="809625"/>
                </a:lnTo>
                <a:lnTo>
                  <a:pt x="0" y="809625"/>
                </a:lnTo>
                <a:close/>
              </a:path>
            </a:pathLst>
          </a:custGeom>
          <a:solidFill>
            <a:schemeClr val="accent4">
              <a:alpha val="6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16" hasCustomPrompt="1"/>
          </p:nvPr>
        </p:nvSpPr>
        <p:spPr>
          <a:xfrm>
            <a:off x="6095999" y="4761148"/>
            <a:ext cx="6096001" cy="2094419"/>
          </a:xfrm>
          <a:custGeom>
            <a:avLst/>
            <a:gdLst>
              <a:gd name="connsiteX0" fmla="*/ 4572000 w 4572000"/>
              <a:gd name="connsiteY0" fmla="*/ 0 h 1615884"/>
              <a:gd name="connsiteX1" fmla="*/ 4572000 w 4572000"/>
              <a:gd name="connsiteY1" fmla="*/ 1615884 h 1615884"/>
              <a:gd name="connsiteX2" fmla="*/ 0 w 4572000"/>
              <a:gd name="connsiteY2" fmla="*/ 808222 h 1615884"/>
              <a:gd name="connsiteX3" fmla="*/ 0 w 4572000"/>
              <a:gd name="connsiteY3" fmla="*/ 807661 h 1615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72000" h="1615884">
                <a:moveTo>
                  <a:pt x="4572000" y="0"/>
                </a:moveTo>
                <a:lnTo>
                  <a:pt x="4572000" y="1615884"/>
                </a:lnTo>
                <a:lnTo>
                  <a:pt x="0" y="808222"/>
                </a:lnTo>
                <a:lnTo>
                  <a:pt x="0" y="807661"/>
                </a:lnTo>
                <a:close/>
              </a:path>
            </a:pathLst>
          </a:custGeom>
          <a:solidFill>
            <a:srgbClr val="EB4430"/>
          </a:solidFill>
        </p:spPr>
        <p:txBody>
          <a:bodyPr wrap="square">
            <a:noAutofit/>
          </a:bodyPr>
          <a:lstStyle>
            <a:lvl1pPr marL="0" indent="0">
              <a:buNone/>
              <a:defRPr sz="100"/>
            </a:lvl1pPr>
            <a:lvl2pPr marL="0" indent="0">
              <a:buNone/>
              <a:defRPr sz="100"/>
            </a:lvl2pPr>
            <a:lvl3pPr marL="216000" indent="0">
              <a:buNone/>
              <a:defRPr sz="100"/>
            </a:lvl3pPr>
            <a:lvl4pPr marL="432000" indent="0">
              <a:buNone/>
              <a:defRPr sz="100"/>
            </a:lvl4pPr>
            <a:lvl5pPr marL="648000" indent="0">
              <a:buNone/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10" name="TextBox 9"/>
          <p:cNvSpPr txBox="1"/>
          <p:nvPr userDrawn="1"/>
        </p:nvSpPr>
        <p:spPr>
          <a:xfrm>
            <a:off x="-14179" y="-214438"/>
            <a:ext cx="122064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noProof="0" dirty="0">
                <a:solidFill>
                  <a:schemeClr val="accent1"/>
                </a:solidFill>
              </a:rPr>
              <a:t>Bemærk</a:t>
            </a:r>
            <a:r>
              <a:rPr lang="da-DK" sz="1100" noProof="0" dirty="0">
                <a:solidFill>
                  <a:schemeClr val="accent1"/>
                </a:solidFill>
              </a:rPr>
              <a:t> at billedet ses under boksen som er transparent. Derfor skal billedet fylde hele siden.</a:t>
            </a:r>
            <a:endParaRPr lang="da-DK"/>
          </a:p>
        </p:txBody>
      </p:sp>
      <p:sp>
        <p:nvSpPr>
          <p:cNvPr id="17" name="Text Placeholder 3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6743700" y="345600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2975028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icture Placeholder 38"/>
          <p:cNvSpPr>
            <a:spLocks noGrp="1"/>
          </p:cNvSpPr>
          <p:nvPr>
            <p:ph type="pic" sz="quarter" idx="13" hasCustomPrompt="1"/>
          </p:nvPr>
        </p:nvSpPr>
        <p:spPr>
          <a:xfrm>
            <a:off x="-4800" y="-3600"/>
            <a:ext cx="12206400" cy="6865200"/>
          </a:xfrm>
          <a:prstGeom prst="rect">
            <a:avLst/>
          </a:prstGeom>
          <a:solidFill>
            <a:schemeClr val="bg2"/>
          </a:solidFill>
        </p:spPr>
        <p:txBody>
          <a:bodyPr wrap="square" lIns="108000" tIns="108000" rIns="8496000" bIns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4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4079874" y="0"/>
            <a:ext cx="8112125" cy="6858000"/>
          </a:xfrm>
          <a:custGeom>
            <a:avLst/>
            <a:gdLst>
              <a:gd name="connsiteX0" fmla="*/ 0 w 8112125"/>
              <a:gd name="connsiteY0" fmla="*/ 6853584 h 6858000"/>
              <a:gd name="connsiteX1" fmla="*/ 8112125 w 8112125"/>
              <a:gd name="connsiteY1" fmla="*/ 6855002 h 6858000"/>
              <a:gd name="connsiteX2" fmla="*/ 8112125 w 8112125"/>
              <a:gd name="connsiteY2" fmla="*/ 6858000 h 6858000"/>
              <a:gd name="connsiteX3" fmla="*/ 0 w 8112125"/>
              <a:gd name="connsiteY3" fmla="*/ 6858000 h 6858000"/>
              <a:gd name="connsiteX4" fmla="*/ 8099855 w 8112125"/>
              <a:gd name="connsiteY4" fmla="*/ 6852814 h 6858000"/>
              <a:gd name="connsiteX5" fmla="*/ 8112125 w 8112125"/>
              <a:gd name="connsiteY5" fmla="*/ 6852816 h 6858000"/>
              <a:gd name="connsiteX6" fmla="*/ 8112125 w 8112125"/>
              <a:gd name="connsiteY6" fmla="*/ 6855002 h 6858000"/>
              <a:gd name="connsiteX7" fmla="*/ 0 w 8112125"/>
              <a:gd name="connsiteY7" fmla="*/ 0 h 6858000"/>
              <a:gd name="connsiteX8" fmla="*/ 8112125 w 8112125"/>
              <a:gd name="connsiteY8" fmla="*/ 0 h 6858000"/>
              <a:gd name="connsiteX9" fmla="*/ 8112125 w 8112125"/>
              <a:gd name="connsiteY9" fmla="*/ 6852816 h 6858000"/>
              <a:gd name="connsiteX10" fmla="*/ 8063369 w 8112125"/>
              <a:gd name="connsiteY10" fmla="*/ 6846308 h 6858000"/>
              <a:gd name="connsiteX11" fmla="*/ 0 w 8112125"/>
              <a:gd name="connsiteY11" fmla="*/ 5408521 h 6858000"/>
              <a:gd name="connsiteX0" fmla="*/ 0 w 8112125"/>
              <a:gd name="connsiteY0" fmla="*/ 6858000 h 6858000"/>
              <a:gd name="connsiteX1" fmla="*/ 8112125 w 8112125"/>
              <a:gd name="connsiteY1" fmla="*/ 6855002 h 6858000"/>
              <a:gd name="connsiteX2" fmla="*/ 8112125 w 8112125"/>
              <a:gd name="connsiteY2" fmla="*/ 6858000 h 6858000"/>
              <a:gd name="connsiteX3" fmla="*/ 0 w 8112125"/>
              <a:gd name="connsiteY3" fmla="*/ 6858000 h 6858000"/>
              <a:gd name="connsiteX4" fmla="*/ 8099855 w 8112125"/>
              <a:gd name="connsiteY4" fmla="*/ 6852814 h 6858000"/>
              <a:gd name="connsiteX5" fmla="*/ 8112125 w 8112125"/>
              <a:gd name="connsiteY5" fmla="*/ 6852816 h 6858000"/>
              <a:gd name="connsiteX6" fmla="*/ 8112125 w 8112125"/>
              <a:gd name="connsiteY6" fmla="*/ 6855002 h 6858000"/>
              <a:gd name="connsiteX7" fmla="*/ 8099855 w 8112125"/>
              <a:gd name="connsiteY7" fmla="*/ 6852814 h 6858000"/>
              <a:gd name="connsiteX8" fmla="*/ 0 w 8112125"/>
              <a:gd name="connsiteY8" fmla="*/ 0 h 6858000"/>
              <a:gd name="connsiteX9" fmla="*/ 8112125 w 8112125"/>
              <a:gd name="connsiteY9" fmla="*/ 0 h 6858000"/>
              <a:gd name="connsiteX10" fmla="*/ 8112125 w 8112125"/>
              <a:gd name="connsiteY10" fmla="*/ 6852816 h 6858000"/>
              <a:gd name="connsiteX11" fmla="*/ 8063369 w 8112125"/>
              <a:gd name="connsiteY11" fmla="*/ 6846308 h 6858000"/>
              <a:gd name="connsiteX12" fmla="*/ 0 w 8112125"/>
              <a:gd name="connsiteY12" fmla="*/ 5408521 h 6858000"/>
              <a:gd name="connsiteX13" fmla="*/ 0 w 8112125"/>
              <a:gd name="connsiteY13" fmla="*/ 0 h 6858000"/>
              <a:gd name="connsiteX0" fmla="*/ 0 w 8112125"/>
              <a:gd name="connsiteY0" fmla="*/ 6858000 h 6858000"/>
              <a:gd name="connsiteX1" fmla="*/ 8112125 w 8112125"/>
              <a:gd name="connsiteY1" fmla="*/ 6855002 h 6858000"/>
              <a:gd name="connsiteX2" fmla="*/ 8112125 w 8112125"/>
              <a:gd name="connsiteY2" fmla="*/ 6858000 h 6858000"/>
              <a:gd name="connsiteX3" fmla="*/ 0 w 8112125"/>
              <a:gd name="connsiteY3" fmla="*/ 6858000 h 6858000"/>
              <a:gd name="connsiteX4" fmla="*/ 8112125 w 8112125"/>
              <a:gd name="connsiteY4" fmla="*/ 6855002 h 6858000"/>
              <a:gd name="connsiteX5" fmla="*/ 8112125 w 8112125"/>
              <a:gd name="connsiteY5" fmla="*/ 6852816 h 6858000"/>
              <a:gd name="connsiteX6" fmla="*/ 8112125 w 8112125"/>
              <a:gd name="connsiteY6" fmla="*/ 6855002 h 6858000"/>
              <a:gd name="connsiteX7" fmla="*/ 0 w 8112125"/>
              <a:gd name="connsiteY7" fmla="*/ 0 h 6858000"/>
              <a:gd name="connsiteX8" fmla="*/ 8112125 w 8112125"/>
              <a:gd name="connsiteY8" fmla="*/ 0 h 6858000"/>
              <a:gd name="connsiteX9" fmla="*/ 8112125 w 8112125"/>
              <a:gd name="connsiteY9" fmla="*/ 6852816 h 6858000"/>
              <a:gd name="connsiteX10" fmla="*/ 8063369 w 8112125"/>
              <a:gd name="connsiteY10" fmla="*/ 6846308 h 6858000"/>
              <a:gd name="connsiteX11" fmla="*/ 0 w 8112125"/>
              <a:gd name="connsiteY11" fmla="*/ 5408521 h 6858000"/>
              <a:gd name="connsiteX12" fmla="*/ 0 w 8112125"/>
              <a:gd name="connsiteY1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112125" h="6858000">
                <a:moveTo>
                  <a:pt x="0" y="6858000"/>
                </a:moveTo>
                <a:lnTo>
                  <a:pt x="8112125" y="6855002"/>
                </a:lnTo>
                <a:lnTo>
                  <a:pt x="8112125" y="6858000"/>
                </a:lnTo>
                <a:lnTo>
                  <a:pt x="0" y="6858000"/>
                </a:lnTo>
                <a:close/>
                <a:moveTo>
                  <a:pt x="8112125" y="6855002"/>
                </a:moveTo>
                <a:lnTo>
                  <a:pt x="8112125" y="6852816"/>
                </a:lnTo>
                <a:lnTo>
                  <a:pt x="8112125" y="6855002"/>
                </a:lnTo>
                <a:close/>
                <a:moveTo>
                  <a:pt x="0" y="0"/>
                </a:moveTo>
                <a:lnTo>
                  <a:pt x="8112125" y="0"/>
                </a:lnTo>
                <a:lnTo>
                  <a:pt x="8112125" y="6852816"/>
                </a:lnTo>
                <a:lnTo>
                  <a:pt x="8063369" y="6846308"/>
                </a:lnTo>
                <a:lnTo>
                  <a:pt x="0" y="540852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90000"/>
            </a:schemeClr>
          </a:solidFill>
        </p:spPr>
        <p:txBody>
          <a:bodyPr wrap="square" lIns="655200" tIns="2304000" rIns="630000" bIns="2538000" anchor="t" anchorCtr="0">
            <a:noAutofit/>
          </a:bodyPr>
          <a:lstStyle>
            <a:lvl1pPr>
              <a:lnSpc>
                <a:spcPct val="87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Præsentationstitel i maksimum to linjer</a:t>
            </a:r>
            <a:endParaRPr lang="da-DK"/>
          </a:p>
        </p:txBody>
      </p:sp>
      <p:sp>
        <p:nvSpPr>
          <p:cNvPr id="3" name="Undertitel 2"/>
          <p:cNvSpPr>
            <a:spLocks noGrp="1"/>
          </p:cNvSpPr>
          <p:nvPr>
            <p:ph type="subTitle" idx="1" hasCustomPrompt="1"/>
          </p:nvPr>
        </p:nvSpPr>
        <p:spPr>
          <a:xfrm>
            <a:off x="4067909" y="3512736"/>
            <a:ext cx="7450992" cy="498834"/>
          </a:xfrm>
        </p:spPr>
        <p:txBody>
          <a:bodyPr lIns="702000" rIns="511200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Klik, og tilføj undertitel</a:t>
            </a:r>
            <a:endParaRPr lang="da-DK"/>
          </a:p>
        </p:txBody>
      </p:sp>
      <p:sp>
        <p:nvSpPr>
          <p:cNvPr id="6" name="Indsæt TitleName"/>
          <p:cNvSpPr>
            <a:spLocks noGrp="1"/>
          </p:cNvSpPr>
          <p:nvPr>
            <p:ph type="body" sz="quarter" idx="14" hasCustomPrompt="1"/>
          </p:nvPr>
        </p:nvSpPr>
        <p:spPr>
          <a:xfrm>
            <a:off x="4079875" y="1345848"/>
            <a:ext cx="7439026" cy="360040"/>
          </a:xfrm>
        </p:spPr>
        <p:txBody>
          <a:bodyPr lIns="684000" anchor="b" anchorCtr="0"/>
          <a:lstStyle>
            <a:lvl1pPr>
              <a:lnSpc>
                <a:spcPct val="110000"/>
              </a:lnSpc>
              <a:defRPr sz="10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Indsæt titel, navn</a:t>
            </a:r>
            <a:endParaRPr lang="da-DK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408614"/>
            <a:ext cx="12192000" cy="1447802"/>
          </a:xfrm>
          <a:custGeom>
            <a:avLst/>
            <a:gdLst>
              <a:gd name="connsiteX0" fmla="*/ 3054350 w 9144000"/>
              <a:gd name="connsiteY0" fmla="*/ 0 h 1077913"/>
              <a:gd name="connsiteX1" fmla="*/ 9144000 w 9144000"/>
              <a:gd name="connsiteY1" fmla="*/ 1077913 h 1077913"/>
              <a:gd name="connsiteX2" fmla="*/ 0 w 9144000"/>
              <a:gd name="connsiteY2" fmla="*/ 1076326 h 1077913"/>
              <a:gd name="connsiteX3" fmla="*/ 0 w 9144000"/>
              <a:gd name="connsiteY3" fmla="*/ 538163 h 1077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1077913">
                <a:moveTo>
                  <a:pt x="3054350" y="0"/>
                </a:moveTo>
                <a:lnTo>
                  <a:pt x="9144000" y="1077913"/>
                </a:lnTo>
                <a:lnTo>
                  <a:pt x="0" y="1076326"/>
                </a:lnTo>
                <a:lnTo>
                  <a:pt x="0" y="538163"/>
                </a:lnTo>
                <a:close/>
              </a:path>
            </a:pathLst>
          </a:custGeom>
          <a:solidFill>
            <a:schemeClr val="accent1">
              <a:alpha val="6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071600" y="3960000"/>
            <a:ext cx="8118000" cy="2901600"/>
          </a:xfrm>
          <a:custGeom>
            <a:avLst/>
            <a:gdLst>
              <a:gd name="connsiteX0" fmla="*/ 6116484 w 6118225"/>
              <a:gd name="connsiteY0" fmla="*/ 0 h 2159720"/>
              <a:gd name="connsiteX1" fmla="*/ 6118225 w 6118225"/>
              <a:gd name="connsiteY1" fmla="*/ 0 h 2159720"/>
              <a:gd name="connsiteX2" fmla="*/ 6118225 w 6118225"/>
              <a:gd name="connsiteY2" fmla="*/ 2159720 h 2159720"/>
              <a:gd name="connsiteX3" fmla="*/ 0 w 6118225"/>
              <a:gd name="connsiteY3" fmla="*/ 1078913 h 2159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18225" h="2159720">
                <a:moveTo>
                  <a:pt x="6116484" y="0"/>
                </a:moveTo>
                <a:lnTo>
                  <a:pt x="6118225" y="0"/>
                </a:lnTo>
                <a:lnTo>
                  <a:pt x="6118225" y="2159720"/>
                </a:lnTo>
                <a:lnTo>
                  <a:pt x="0" y="1078913"/>
                </a:lnTo>
                <a:close/>
              </a:path>
            </a:pathLst>
          </a:custGeom>
          <a:solidFill>
            <a:srgbClr val="061C48"/>
          </a:solidFill>
        </p:spPr>
        <p:txBody>
          <a:bodyPr wrap="square">
            <a:noAutofit/>
          </a:bodyPr>
          <a:lstStyle>
            <a:lvl1pPr marL="0" indent="0">
              <a:buNone/>
              <a:defRPr sz="100"/>
            </a:lvl1pPr>
            <a:lvl2pPr marL="0" indent="0">
              <a:buNone/>
              <a:defRPr sz="100"/>
            </a:lvl2pPr>
            <a:lvl3pPr marL="216000" indent="0">
              <a:buNone/>
              <a:defRPr sz="100"/>
            </a:lvl3pPr>
            <a:lvl4pPr marL="432000" indent="0">
              <a:buNone/>
              <a:defRPr sz="100"/>
            </a:lvl4pPr>
            <a:lvl5pPr marL="648000" indent="0">
              <a:buNone/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17" name="Text Placeholder 3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4764088" y="345600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9" name="TextBox 8"/>
          <p:cNvSpPr txBox="1"/>
          <p:nvPr userDrawn="1"/>
        </p:nvSpPr>
        <p:spPr>
          <a:xfrm>
            <a:off x="-14179" y="-214438"/>
            <a:ext cx="122064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noProof="0" dirty="0">
                <a:solidFill>
                  <a:schemeClr val="accent1"/>
                </a:solidFill>
              </a:rPr>
              <a:t>Bemærk</a:t>
            </a:r>
            <a:r>
              <a:rPr lang="da-DK" sz="1100" noProof="0" dirty="0">
                <a:solidFill>
                  <a:schemeClr val="accent1"/>
                </a:solidFill>
              </a:rPr>
              <a:t> at billedet ses under boksen som er transparent. Derfor skal billedet fylde hele siden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709617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01">
          <p15:clr>
            <a:srgbClr val="FBAE40"/>
          </p15:clr>
        </p15:guide>
        <p15:guide id="2" pos="2570">
          <p15:clr>
            <a:srgbClr val="FBAE40"/>
          </p15:clr>
        </p15:guide>
        <p15:guide id="3" orient="horz" pos="3407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B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icture Placeholder 38"/>
          <p:cNvSpPr>
            <a:spLocks noGrp="1"/>
          </p:cNvSpPr>
          <p:nvPr>
            <p:ph type="pic" sz="quarter" idx="13" hasCustomPrompt="1"/>
          </p:nvPr>
        </p:nvSpPr>
        <p:spPr>
          <a:xfrm>
            <a:off x="-4800" y="-3600"/>
            <a:ext cx="12206400" cy="6865200"/>
          </a:xfrm>
          <a:prstGeom prst="rect">
            <a:avLst/>
          </a:prstGeom>
          <a:solidFill>
            <a:schemeClr val="bg2"/>
          </a:solidFill>
        </p:spPr>
        <p:txBody>
          <a:bodyPr wrap="square" lIns="108000" tIns="108000" rIns="8496000" bIns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4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4079874" y="0"/>
            <a:ext cx="8112125" cy="6858000"/>
          </a:xfrm>
          <a:custGeom>
            <a:avLst/>
            <a:gdLst>
              <a:gd name="connsiteX0" fmla="*/ 0 w 8112125"/>
              <a:gd name="connsiteY0" fmla="*/ 6853584 h 6858000"/>
              <a:gd name="connsiteX1" fmla="*/ 8112125 w 8112125"/>
              <a:gd name="connsiteY1" fmla="*/ 6855002 h 6858000"/>
              <a:gd name="connsiteX2" fmla="*/ 8112125 w 8112125"/>
              <a:gd name="connsiteY2" fmla="*/ 6858000 h 6858000"/>
              <a:gd name="connsiteX3" fmla="*/ 0 w 8112125"/>
              <a:gd name="connsiteY3" fmla="*/ 6858000 h 6858000"/>
              <a:gd name="connsiteX4" fmla="*/ 8099855 w 8112125"/>
              <a:gd name="connsiteY4" fmla="*/ 6852814 h 6858000"/>
              <a:gd name="connsiteX5" fmla="*/ 8112125 w 8112125"/>
              <a:gd name="connsiteY5" fmla="*/ 6852816 h 6858000"/>
              <a:gd name="connsiteX6" fmla="*/ 8112125 w 8112125"/>
              <a:gd name="connsiteY6" fmla="*/ 6855002 h 6858000"/>
              <a:gd name="connsiteX7" fmla="*/ 0 w 8112125"/>
              <a:gd name="connsiteY7" fmla="*/ 0 h 6858000"/>
              <a:gd name="connsiteX8" fmla="*/ 8112125 w 8112125"/>
              <a:gd name="connsiteY8" fmla="*/ 0 h 6858000"/>
              <a:gd name="connsiteX9" fmla="*/ 8112125 w 8112125"/>
              <a:gd name="connsiteY9" fmla="*/ 6852816 h 6858000"/>
              <a:gd name="connsiteX10" fmla="*/ 8063369 w 8112125"/>
              <a:gd name="connsiteY10" fmla="*/ 6846308 h 6858000"/>
              <a:gd name="connsiteX11" fmla="*/ 0 w 8112125"/>
              <a:gd name="connsiteY11" fmla="*/ 5408521 h 6858000"/>
              <a:gd name="connsiteX0" fmla="*/ 0 w 8112125"/>
              <a:gd name="connsiteY0" fmla="*/ 6858000 h 6858000"/>
              <a:gd name="connsiteX1" fmla="*/ 8112125 w 8112125"/>
              <a:gd name="connsiteY1" fmla="*/ 6855002 h 6858000"/>
              <a:gd name="connsiteX2" fmla="*/ 8112125 w 8112125"/>
              <a:gd name="connsiteY2" fmla="*/ 6858000 h 6858000"/>
              <a:gd name="connsiteX3" fmla="*/ 0 w 8112125"/>
              <a:gd name="connsiteY3" fmla="*/ 6858000 h 6858000"/>
              <a:gd name="connsiteX4" fmla="*/ 8099855 w 8112125"/>
              <a:gd name="connsiteY4" fmla="*/ 6852814 h 6858000"/>
              <a:gd name="connsiteX5" fmla="*/ 8112125 w 8112125"/>
              <a:gd name="connsiteY5" fmla="*/ 6852816 h 6858000"/>
              <a:gd name="connsiteX6" fmla="*/ 8112125 w 8112125"/>
              <a:gd name="connsiteY6" fmla="*/ 6855002 h 6858000"/>
              <a:gd name="connsiteX7" fmla="*/ 8099855 w 8112125"/>
              <a:gd name="connsiteY7" fmla="*/ 6852814 h 6858000"/>
              <a:gd name="connsiteX8" fmla="*/ 0 w 8112125"/>
              <a:gd name="connsiteY8" fmla="*/ 0 h 6858000"/>
              <a:gd name="connsiteX9" fmla="*/ 8112125 w 8112125"/>
              <a:gd name="connsiteY9" fmla="*/ 0 h 6858000"/>
              <a:gd name="connsiteX10" fmla="*/ 8112125 w 8112125"/>
              <a:gd name="connsiteY10" fmla="*/ 6852816 h 6858000"/>
              <a:gd name="connsiteX11" fmla="*/ 8063369 w 8112125"/>
              <a:gd name="connsiteY11" fmla="*/ 6846308 h 6858000"/>
              <a:gd name="connsiteX12" fmla="*/ 0 w 8112125"/>
              <a:gd name="connsiteY12" fmla="*/ 5408521 h 6858000"/>
              <a:gd name="connsiteX13" fmla="*/ 0 w 8112125"/>
              <a:gd name="connsiteY13" fmla="*/ 0 h 6858000"/>
              <a:gd name="connsiteX0" fmla="*/ 0 w 8112125"/>
              <a:gd name="connsiteY0" fmla="*/ 6858000 h 6858000"/>
              <a:gd name="connsiteX1" fmla="*/ 8112125 w 8112125"/>
              <a:gd name="connsiteY1" fmla="*/ 6855002 h 6858000"/>
              <a:gd name="connsiteX2" fmla="*/ 8112125 w 8112125"/>
              <a:gd name="connsiteY2" fmla="*/ 6858000 h 6858000"/>
              <a:gd name="connsiteX3" fmla="*/ 0 w 8112125"/>
              <a:gd name="connsiteY3" fmla="*/ 6858000 h 6858000"/>
              <a:gd name="connsiteX4" fmla="*/ 8112125 w 8112125"/>
              <a:gd name="connsiteY4" fmla="*/ 6855002 h 6858000"/>
              <a:gd name="connsiteX5" fmla="*/ 8112125 w 8112125"/>
              <a:gd name="connsiteY5" fmla="*/ 6852816 h 6858000"/>
              <a:gd name="connsiteX6" fmla="*/ 8112125 w 8112125"/>
              <a:gd name="connsiteY6" fmla="*/ 6855002 h 6858000"/>
              <a:gd name="connsiteX7" fmla="*/ 0 w 8112125"/>
              <a:gd name="connsiteY7" fmla="*/ 0 h 6858000"/>
              <a:gd name="connsiteX8" fmla="*/ 8112125 w 8112125"/>
              <a:gd name="connsiteY8" fmla="*/ 0 h 6858000"/>
              <a:gd name="connsiteX9" fmla="*/ 8112125 w 8112125"/>
              <a:gd name="connsiteY9" fmla="*/ 6852816 h 6858000"/>
              <a:gd name="connsiteX10" fmla="*/ 8063369 w 8112125"/>
              <a:gd name="connsiteY10" fmla="*/ 6846308 h 6858000"/>
              <a:gd name="connsiteX11" fmla="*/ 0 w 8112125"/>
              <a:gd name="connsiteY11" fmla="*/ 5408521 h 6858000"/>
              <a:gd name="connsiteX12" fmla="*/ 0 w 8112125"/>
              <a:gd name="connsiteY1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112125" h="6858000">
                <a:moveTo>
                  <a:pt x="0" y="6858000"/>
                </a:moveTo>
                <a:lnTo>
                  <a:pt x="8112125" y="6855002"/>
                </a:lnTo>
                <a:lnTo>
                  <a:pt x="8112125" y="6858000"/>
                </a:lnTo>
                <a:lnTo>
                  <a:pt x="0" y="6858000"/>
                </a:lnTo>
                <a:close/>
                <a:moveTo>
                  <a:pt x="8112125" y="6855002"/>
                </a:moveTo>
                <a:lnTo>
                  <a:pt x="8112125" y="6852816"/>
                </a:lnTo>
                <a:lnTo>
                  <a:pt x="8112125" y="6855002"/>
                </a:lnTo>
                <a:close/>
                <a:moveTo>
                  <a:pt x="0" y="0"/>
                </a:moveTo>
                <a:lnTo>
                  <a:pt x="8112125" y="0"/>
                </a:lnTo>
                <a:lnTo>
                  <a:pt x="8112125" y="6852816"/>
                </a:lnTo>
                <a:lnTo>
                  <a:pt x="8063369" y="6846308"/>
                </a:lnTo>
                <a:lnTo>
                  <a:pt x="0" y="540852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alpha val="90000"/>
            </a:schemeClr>
          </a:solidFill>
        </p:spPr>
        <p:txBody>
          <a:bodyPr wrap="square" lIns="655200" tIns="2304000" rIns="630000" bIns="2538000" anchor="t" anchorCtr="0">
            <a:noAutofit/>
          </a:bodyPr>
          <a:lstStyle>
            <a:lvl1pPr>
              <a:lnSpc>
                <a:spcPct val="87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Præsentationstitel i maksimum to linjer</a:t>
            </a:r>
            <a:endParaRPr lang="da-DK"/>
          </a:p>
        </p:txBody>
      </p:sp>
      <p:sp>
        <p:nvSpPr>
          <p:cNvPr id="3" name="Undertitel 2"/>
          <p:cNvSpPr>
            <a:spLocks noGrp="1"/>
          </p:cNvSpPr>
          <p:nvPr>
            <p:ph type="subTitle" idx="1" hasCustomPrompt="1"/>
          </p:nvPr>
        </p:nvSpPr>
        <p:spPr>
          <a:xfrm>
            <a:off x="4067909" y="3512736"/>
            <a:ext cx="7450992" cy="498834"/>
          </a:xfrm>
        </p:spPr>
        <p:txBody>
          <a:bodyPr lIns="702000" rIns="511200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Klik, og tilføj undertitel</a:t>
            </a:r>
            <a:endParaRPr lang="da-DK"/>
          </a:p>
        </p:txBody>
      </p:sp>
      <p:sp>
        <p:nvSpPr>
          <p:cNvPr id="6" name="Indsæt TitleName"/>
          <p:cNvSpPr>
            <a:spLocks noGrp="1"/>
          </p:cNvSpPr>
          <p:nvPr>
            <p:ph type="body" sz="quarter" idx="14" hasCustomPrompt="1"/>
          </p:nvPr>
        </p:nvSpPr>
        <p:spPr>
          <a:xfrm>
            <a:off x="4079875" y="1345848"/>
            <a:ext cx="7439026" cy="360040"/>
          </a:xfrm>
        </p:spPr>
        <p:txBody>
          <a:bodyPr lIns="684000" anchor="b" anchorCtr="0"/>
          <a:lstStyle>
            <a:lvl1pPr>
              <a:lnSpc>
                <a:spcPct val="110000"/>
              </a:lnSpc>
              <a:defRPr sz="10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Indsæt titel, navn</a:t>
            </a:r>
            <a:endParaRPr lang="da-DK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408614"/>
            <a:ext cx="12192000" cy="1447802"/>
          </a:xfrm>
          <a:custGeom>
            <a:avLst/>
            <a:gdLst>
              <a:gd name="connsiteX0" fmla="*/ 3054350 w 9144000"/>
              <a:gd name="connsiteY0" fmla="*/ 0 h 1077913"/>
              <a:gd name="connsiteX1" fmla="*/ 9144000 w 9144000"/>
              <a:gd name="connsiteY1" fmla="*/ 1077913 h 1077913"/>
              <a:gd name="connsiteX2" fmla="*/ 0 w 9144000"/>
              <a:gd name="connsiteY2" fmla="*/ 1076326 h 1077913"/>
              <a:gd name="connsiteX3" fmla="*/ 0 w 9144000"/>
              <a:gd name="connsiteY3" fmla="*/ 538163 h 1077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1077913">
                <a:moveTo>
                  <a:pt x="3054350" y="0"/>
                </a:moveTo>
                <a:lnTo>
                  <a:pt x="9144000" y="1077913"/>
                </a:lnTo>
                <a:lnTo>
                  <a:pt x="0" y="1076326"/>
                </a:lnTo>
                <a:lnTo>
                  <a:pt x="0" y="538163"/>
                </a:lnTo>
                <a:close/>
              </a:path>
            </a:pathLst>
          </a:custGeom>
          <a:solidFill>
            <a:schemeClr val="accent2">
              <a:alpha val="6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071600" y="3960000"/>
            <a:ext cx="8118000" cy="2901600"/>
          </a:xfrm>
          <a:custGeom>
            <a:avLst/>
            <a:gdLst>
              <a:gd name="connsiteX0" fmla="*/ 6116484 w 6118225"/>
              <a:gd name="connsiteY0" fmla="*/ 0 h 2159720"/>
              <a:gd name="connsiteX1" fmla="*/ 6118225 w 6118225"/>
              <a:gd name="connsiteY1" fmla="*/ 0 h 2159720"/>
              <a:gd name="connsiteX2" fmla="*/ 6118225 w 6118225"/>
              <a:gd name="connsiteY2" fmla="*/ 2159720 h 2159720"/>
              <a:gd name="connsiteX3" fmla="*/ 0 w 6118225"/>
              <a:gd name="connsiteY3" fmla="*/ 1078913 h 2159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18225" h="2159720">
                <a:moveTo>
                  <a:pt x="6116484" y="0"/>
                </a:moveTo>
                <a:lnTo>
                  <a:pt x="6118225" y="0"/>
                </a:lnTo>
                <a:lnTo>
                  <a:pt x="6118225" y="2159720"/>
                </a:lnTo>
                <a:lnTo>
                  <a:pt x="0" y="1078913"/>
                </a:lnTo>
                <a:close/>
              </a:path>
            </a:pathLst>
          </a:custGeom>
          <a:solidFill>
            <a:srgbClr val="27A1BD"/>
          </a:solidFill>
        </p:spPr>
        <p:txBody>
          <a:bodyPr wrap="square">
            <a:noAutofit/>
          </a:bodyPr>
          <a:lstStyle>
            <a:lvl1pPr marL="0" indent="0">
              <a:buNone/>
              <a:defRPr sz="100"/>
            </a:lvl1pPr>
            <a:lvl2pPr marL="0" indent="0">
              <a:buNone/>
              <a:defRPr sz="100"/>
            </a:lvl2pPr>
            <a:lvl3pPr marL="216000" indent="0">
              <a:buNone/>
              <a:defRPr sz="100"/>
            </a:lvl3pPr>
            <a:lvl4pPr marL="432000" indent="0">
              <a:buNone/>
              <a:defRPr sz="100"/>
            </a:lvl4pPr>
            <a:lvl5pPr marL="648000" indent="0">
              <a:buNone/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17" name="Text Placeholder 3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4764088" y="345600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9" name="TextBox 8"/>
          <p:cNvSpPr txBox="1"/>
          <p:nvPr userDrawn="1"/>
        </p:nvSpPr>
        <p:spPr>
          <a:xfrm>
            <a:off x="-14179" y="-214438"/>
            <a:ext cx="122064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noProof="0" dirty="0">
                <a:solidFill>
                  <a:schemeClr val="accent1"/>
                </a:solidFill>
              </a:rPr>
              <a:t>Bemærk</a:t>
            </a:r>
            <a:r>
              <a:rPr lang="da-DK" sz="1100" noProof="0" dirty="0">
                <a:solidFill>
                  <a:schemeClr val="accent1"/>
                </a:solidFill>
              </a:rPr>
              <a:t> at billedet ses under boksen som er transparent. Derfor skal billedet fylde hele siden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40471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01">
          <p15:clr>
            <a:srgbClr val="FBAE40"/>
          </p15:clr>
        </p15:guide>
        <p15:guide id="2" pos="2570">
          <p15:clr>
            <a:srgbClr val="FBAE40"/>
          </p15:clr>
        </p15:guide>
        <p15:guide id="3" orient="horz" pos="3407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B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icture Placeholder 38"/>
          <p:cNvSpPr>
            <a:spLocks noGrp="1"/>
          </p:cNvSpPr>
          <p:nvPr>
            <p:ph type="pic" sz="quarter" idx="13" hasCustomPrompt="1"/>
          </p:nvPr>
        </p:nvSpPr>
        <p:spPr>
          <a:xfrm>
            <a:off x="-4800" y="-3600"/>
            <a:ext cx="12206400" cy="6865200"/>
          </a:xfrm>
          <a:prstGeom prst="rect">
            <a:avLst/>
          </a:prstGeom>
          <a:solidFill>
            <a:schemeClr val="bg2"/>
          </a:solidFill>
        </p:spPr>
        <p:txBody>
          <a:bodyPr wrap="square" lIns="108000" tIns="108000" rIns="8496000" bIns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4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4079874" y="0"/>
            <a:ext cx="8112125" cy="6858000"/>
          </a:xfrm>
          <a:custGeom>
            <a:avLst/>
            <a:gdLst>
              <a:gd name="connsiteX0" fmla="*/ 0 w 8112125"/>
              <a:gd name="connsiteY0" fmla="*/ 6853584 h 6858000"/>
              <a:gd name="connsiteX1" fmla="*/ 8112125 w 8112125"/>
              <a:gd name="connsiteY1" fmla="*/ 6855002 h 6858000"/>
              <a:gd name="connsiteX2" fmla="*/ 8112125 w 8112125"/>
              <a:gd name="connsiteY2" fmla="*/ 6858000 h 6858000"/>
              <a:gd name="connsiteX3" fmla="*/ 0 w 8112125"/>
              <a:gd name="connsiteY3" fmla="*/ 6858000 h 6858000"/>
              <a:gd name="connsiteX4" fmla="*/ 8099855 w 8112125"/>
              <a:gd name="connsiteY4" fmla="*/ 6852814 h 6858000"/>
              <a:gd name="connsiteX5" fmla="*/ 8112125 w 8112125"/>
              <a:gd name="connsiteY5" fmla="*/ 6852816 h 6858000"/>
              <a:gd name="connsiteX6" fmla="*/ 8112125 w 8112125"/>
              <a:gd name="connsiteY6" fmla="*/ 6855002 h 6858000"/>
              <a:gd name="connsiteX7" fmla="*/ 0 w 8112125"/>
              <a:gd name="connsiteY7" fmla="*/ 0 h 6858000"/>
              <a:gd name="connsiteX8" fmla="*/ 8112125 w 8112125"/>
              <a:gd name="connsiteY8" fmla="*/ 0 h 6858000"/>
              <a:gd name="connsiteX9" fmla="*/ 8112125 w 8112125"/>
              <a:gd name="connsiteY9" fmla="*/ 6852816 h 6858000"/>
              <a:gd name="connsiteX10" fmla="*/ 8063369 w 8112125"/>
              <a:gd name="connsiteY10" fmla="*/ 6846308 h 6858000"/>
              <a:gd name="connsiteX11" fmla="*/ 0 w 8112125"/>
              <a:gd name="connsiteY11" fmla="*/ 5408521 h 6858000"/>
              <a:gd name="connsiteX0" fmla="*/ 0 w 8112125"/>
              <a:gd name="connsiteY0" fmla="*/ 6858000 h 6858000"/>
              <a:gd name="connsiteX1" fmla="*/ 8112125 w 8112125"/>
              <a:gd name="connsiteY1" fmla="*/ 6855002 h 6858000"/>
              <a:gd name="connsiteX2" fmla="*/ 8112125 w 8112125"/>
              <a:gd name="connsiteY2" fmla="*/ 6858000 h 6858000"/>
              <a:gd name="connsiteX3" fmla="*/ 0 w 8112125"/>
              <a:gd name="connsiteY3" fmla="*/ 6858000 h 6858000"/>
              <a:gd name="connsiteX4" fmla="*/ 8099855 w 8112125"/>
              <a:gd name="connsiteY4" fmla="*/ 6852814 h 6858000"/>
              <a:gd name="connsiteX5" fmla="*/ 8112125 w 8112125"/>
              <a:gd name="connsiteY5" fmla="*/ 6852816 h 6858000"/>
              <a:gd name="connsiteX6" fmla="*/ 8112125 w 8112125"/>
              <a:gd name="connsiteY6" fmla="*/ 6855002 h 6858000"/>
              <a:gd name="connsiteX7" fmla="*/ 8099855 w 8112125"/>
              <a:gd name="connsiteY7" fmla="*/ 6852814 h 6858000"/>
              <a:gd name="connsiteX8" fmla="*/ 0 w 8112125"/>
              <a:gd name="connsiteY8" fmla="*/ 0 h 6858000"/>
              <a:gd name="connsiteX9" fmla="*/ 8112125 w 8112125"/>
              <a:gd name="connsiteY9" fmla="*/ 0 h 6858000"/>
              <a:gd name="connsiteX10" fmla="*/ 8112125 w 8112125"/>
              <a:gd name="connsiteY10" fmla="*/ 6852816 h 6858000"/>
              <a:gd name="connsiteX11" fmla="*/ 8063369 w 8112125"/>
              <a:gd name="connsiteY11" fmla="*/ 6846308 h 6858000"/>
              <a:gd name="connsiteX12" fmla="*/ 0 w 8112125"/>
              <a:gd name="connsiteY12" fmla="*/ 5408521 h 6858000"/>
              <a:gd name="connsiteX13" fmla="*/ 0 w 8112125"/>
              <a:gd name="connsiteY13" fmla="*/ 0 h 6858000"/>
              <a:gd name="connsiteX0" fmla="*/ 0 w 8112125"/>
              <a:gd name="connsiteY0" fmla="*/ 6858000 h 6858000"/>
              <a:gd name="connsiteX1" fmla="*/ 8112125 w 8112125"/>
              <a:gd name="connsiteY1" fmla="*/ 6855002 h 6858000"/>
              <a:gd name="connsiteX2" fmla="*/ 8112125 w 8112125"/>
              <a:gd name="connsiteY2" fmla="*/ 6858000 h 6858000"/>
              <a:gd name="connsiteX3" fmla="*/ 0 w 8112125"/>
              <a:gd name="connsiteY3" fmla="*/ 6858000 h 6858000"/>
              <a:gd name="connsiteX4" fmla="*/ 8112125 w 8112125"/>
              <a:gd name="connsiteY4" fmla="*/ 6855002 h 6858000"/>
              <a:gd name="connsiteX5" fmla="*/ 8112125 w 8112125"/>
              <a:gd name="connsiteY5" fmla="*/ 6852816 h 6858000"/>
              <a:gd name="connsiteX6" fmla="*/ 8112125 w 8112125"/>
              <a:gd name="connsiteY6" fmla="*/ 6855002 h 6858000"/>
              <a:gd name="connsiteX7" fmla="*/ 0 w 8112125"/>
              <a:gd name="connsiteY7" fmla="*/ 0 h 6858000"/>
              <a:gd name="connsiteX8" fmla="*/ 8112125 w 8112125"/>
              <a:gd name="connsiteY8" fmla="*/ 0 h 6858000"/>
              <a:gd name="connsiteX9" fmla="*/ 8112125 w 8112125"/>
              <a:gd name="connsiteY9" fmla="*/ 6852816 h 6858000"/>
              <a:gd name="connsiteX10" fmla="*/ 8063369 w 8112125"/>
              <a:gd name="connsiteY10" fmla="*/ 6846308 h 6858000"/>
              <a:gd name="connsiteX11" fmla="*/ 0 w 8112125"/>
              <a:gd name="connsiteY11" fmla="*/ 5408521 h 6858000"/>
              <a:gd name="connsiteX12" fmla="*/ 0 w 8112125"/>
              <a:gd name="connsiteY1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112125" h="6858000">
                <a:moveTo>
                  <a:pt x="0" y="6858000"/>
                </a:moveTo>
                <a:lnTo>
                  <a:pt x="8112125" y="6855002"/>
                </a:lnTo>
                <a:lnTo>
                  <a:pt x="8112125" y="6858000"/>
                </a:lnTo>
                <a:lnTo>
                  <a:pt x="0" y="6858000"/>
                </a:lnTo>
                <a:close/>
                <a:moveTo>
                  <a:pt x="8112125" y="6855002"/>
                </a:moveTo>
                <a:lnTo>
                  <a:pt x="8112125" y="6852816"/>
                </a:lnTo>
                <a:lnTo>
                  <a:pt x="8112125" y="6855002"/>
                </a:lnTo>
                <a:close/>
                <a:moveTo>
                  <a:pt x="0" y="0"/>
                </a:moveTo>
                <a:lnTo>
                  <a:pt x="8112125" y="0"/>
                </a:lnTo>
                <a:lnTo>
                  <a:pt x="8112125" y="6852816"/>
                </a:lnTo>
                <a:lnTo>
                  <a:pt x="8063369" y="6846308"/>
                </a:lnTo>
                <a:lnTo>
                  <a:pt x="0" y="540852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alpha val="90000"/>
            </a:schemeClr>
          </a:solidFill>
        </p:spPr>
        <p:txBody>
          <a:bodyPr wrap="square" lIns="655200" tIns="2304000" rIns="630000" bIns="2538000" anchor="t" anchorCtr="0">
            <a:noAutofit/>
          </a:bodyPr>
          <a:lstStyle>
            <a:lvl1pPr>
              <a:lnSpc>
                <a:spcPct val="87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Præsentationstitel i maksimum to linjer</a:t>
            </a:r>
            <a:endParaRPr lang="da-DK"/>
          </a:p>
        </p:txBody>
      </p:sp>
      <p:sp>
        <p:nvSpPr>
          <p:cNvPr id="3" name="Undertitel 2"/>
          <p:cNvSpPr>
            <a:spLocks noGrp="1"/>
          </p:cNvSpPr>
          <p:nvPr>
            <p:ph type="subTitle" idx="1" hasCustomPrompt="1"/>
          </p:nvPr>
        </p:nvSpPr>
        <p:spPr>
          <a:xfrm>
            <a:off x="4067909" y="3512736"/>
            <a:ext cx="7450992" cy="498834"/>
          </a:xfrm>
        </p:spPr>
        <p:txBody>
          <a:bodyPr lIns="702000" rIns="511200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Klik, og tilføj undertitel</a:t>
            </a:r>
            <a:endParaRPr lang="da-DK"/>
          </a:p>
        </p:txBody>
      </p:sp>
      <p:sp>
        <p:nvSpPr>
          <p:cNvPr id="6" name="Indsæt TitleName"/>
          <p:cNvSpPr>
            <a:spLocks noGrp="1"/>
          </p:cNvSpPr>
          <p:nvPr>
            <p:ph type="body" sz="quarter" idx="14" hasCustomPrompt="1"/>
          </p:nvPr>
        </p:nvSpPr>
        <p:spPr>
          <a:xfrm>
            <a:off x="4079875" y="1345848"/>
            <a:ext cx="7439026" cy="360040"/>
          </a:xfrm>
        </p:spPr>
        <p:txBody>
          <a:bodyPr lIns="684000" anchor="b" anchorCtr="0"/>
          <a:lstStyle>
            <a:lvl1pPr>
              <a:lnSpc>
                <a:spcPct val="110000"/>
              </a:lnSpc>
              <a:defRPr sz="10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Indsæt titel, navn</a:t>
            </a:r>
            <a:endParaRPr lang="da-DK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408614"/>
            <a:ext cx="12192000" cy="1447802"/>
          </a:xfrm>
          <a:custGeom>
            <a:avLst/>
            <a:gdLst>
              <a:gd name="connsiteX0" fmla="*/ 3054350 w 9144000"/>
              <a:gd name="connsiteY0" fmla="*/ 0 h 1077913"/>
              <a:gd name="connsiteX1" fmla="*/ 9144000 w 9144000"/>
              <a:gd name="connsiteY1" fmla="*/ 1077913 h 1077913"/>
              <a:gd name="connsiteX2" fmla="*/ 0 w 9144000"/>
              <a:gd name="connsiteY2" fmla="*/ 1076326 h 1077913"/>
              <a:gd name="connsiteX3" fmla="*/ 0 w 9144000"/>
              <a:gd name="connsiteY3" fmla="*/ 538163 h 1077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1077913">
                <a:moveTo>
                  <a:pt x="3054350" y="0"/>
                </a:moveTo>
                <a:lnTo>
                  <a:pt x="9144000" y="1077913"/>
                </a:lnTo>
                <a:lnTo>
                  <a:pt x="0" y="1076326"/>
                </a:lnTo>
                <a:lnTo>
                  <a:pt x="0" y="538163"/>
                </a:lnTo>
                <a:close/>
              </a:path>
            </a:pathLst>
          </a:custGeom>
          <a:solidFill>
            <a:schemeClr val="accent3">
              <a:alpha val="6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071600" y="3960000"/>
            <a:ext cx="8118000" cy="2901600"/>
          </a:xfrm>
          <a:custGeom>
            <a:avLst/>
            <a:gdLst>
              <a:gd name="connsiteX0" fmla="*/ 6116484 w 6118225"/>
              <a:gd name="connsiteY0" fmla="*/ 0 h 2159720"/>
              <a:gd name="connsiteX1" fmla="*/ 6118225 w 6118225"/>
              <a:gd name="connsiteY1" fmla="*/ 0 h 2159720"/>
              <a:gd name="connsiteX2" fmla="*/ 6118225 w 6118225"/>
              <a:gd name="connsiteY2" fmla="*/ 2159720 h 2159720"/>
              <a:gd name="connsiteX3" fmla="*/ 0 w 6118225"/>
              <a:gd name="connsiteY3" fmla="*/ 1078913 h 2159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18225" h="2159720">
                <a:moveTo>
                  <a:pt x="6116484" y="0"/>
                </a:moveTo>
                <a:lnTo>
                  <a:pt x="6118225" y="0"/>
                </a:lnTo>
                <a:lnTo>
                  <a:pt x="6118225" y="2159720"/>
                </a:lnTo>
                <a:lnTo>
                  <a:pt x="0" y="1078913"/>
                </a:lnTo>
                <a:close/>
              </a:path>
            </a:pathLst>
          </a:custGeom>
          <a:solidFill>
            <a:srgbClr val="ECAD28"/>
          </a:solidFill>
        </p:spPr>
        <p:txBody>
          <a:bodyPr wrap="square">
            <a:noAutofit/>
          </a:bodyPr>
          <a:lstStyle>
            <a:lvl1pPr marL="0" indent="0">
              <a:buNone/>
              <a:defRPr sz="100"/>
            </a:lvl1pPr>
            <a:lvl2pPr marL="0" indent="0">
              <a:buNone/>
              <a:defRPr sz="100"/>
            </a:lvl2pPr>
            <a:lvl3pPr marL="216000" indent="0">
              <a:buNone/>
              <a:defRPr sz="100"/>
            </a:lvl3pPr>
            <a:lvl4pPr marL="432000" indent="0">
              <a:buNone/>
              <a:defRPr sz="100"/>
            </a:lvl4pPr>
            <a:lvl5pPr marL="648000" indent="0">
              <a:buNone/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17" name="Text Placeholder 3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4764088" y="345600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9" name="TextBox 8"/>
          <p:cNvSpPr txBox="1"/>
          <p:nvPr userDrawn="1"/>
        </p:nvSpPr>
        <p:spPr>
          <a:xfrm>
            <a:off x="-14179" y="-214438"/>
            <a:ext cx="122064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noProof="0" dirty="0">
                <a:solidFill>
                  <a:schemeClr val="accent1"/>
                </a:solidFill>
              </a:rPr>
              <a:t>Bemærk</a:t>
            </a:r>
            <a:r>
              <a:rPr lang="da-DK" sz="1100" noProof="0" dirty="0">
                <a:solidFill>
                  <a:schemeClr val="accent1"/>
                </a:solidFill>
              </a:rPr>
              <a:t> at billedet ses under boksen som er transparent. Derfor skal billedet fylde hele siden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535326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01">
          <p15:clr>
            <a:srgbClr val="FBAE40"/>
          </p15:clr>
        </p15:guide>
        <p15:guide id="2" pos="2570">
          <p15:clr>
            <a:srgbClr val="FBAE40"/>
          </p15:clr>
        </p15:guide>
        <p15:guide id="3" orient="horz" pos="340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B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icture Placeholder 38"/>
          <p:cNvSpPr>
            <a:spLocks noGrp="1"/>
          </p:cNvSpPr>
          <p:nvPr>
            <p:ph type="pic" sz="quarter" idx="13" hasCustomPrompt="1"/>
          </p:nvPr>
        </p:nvSpPr>
        <p:spPr>
          <a:xfrm>
            <a:off x="-4800" y="-3600"/>
            <a:ext cx="12206400" cy="6865200"/>
          </a:xfrm>
          <a:prstGeom prst="rect">
            <a:avLst/>
          </a:prstGeom>
          <a:solidFill>
            <a:schemeClr val="bg2"/>
          </a:solidFill>
        </p:spPr>
        <p:txBody>
          <a:bodyPr wrap="square" lIns="108000" tIns="108000" rIns="8496000" bIns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4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4079874" y="0"/>
            <a:ext cx="8112125" cy="6858000"/>
          </a:xfrm>
          <a:custGeom>
            <a:avLst/>
            <a:gdLst>
              <a:gd name="connsiteX0" fmla="*/ 0 w 8112125"/>
              <a:gd name="connsiteY0" fmla="*/ 6853584 h 6858000"/>
              <a:gd name="connsiteX1" fmla="*/ 8112125 w 8112125"/>
              <a:gd name="connsiteY1" fmla="*/ 6855002 h 6858000"/>
              <a:gd name="connsiteX2" fmla="*/ 8112125 w 8112125"/>
              <a:gd name="connsiteY2" fmla="*/ 6858000 h 6858000"/>
              <a:gd name="connsiteX3" fmla="*/ 0 w 8112125"/>
              <a:gd name="connsiteY3" fmla="*/ 6858000 h 6858000"/>
              <a:gd name="connsiteX4" fmla="*/ 8099855 w 8112125"/>
              <a:gd name="connsiteY4" fmla="*/ 6852814 h 6858000"/>
              <a:gd name="connsiteX5" fmla="*/ 8112125 w 8112125"/>
              <a:gd name="connsiteY5" fmla="*/ 6852816 h 6858000"/>
              <a:gd name="connsiteX6" fmla="*/ 8112125 w 8112125"/>
              <a:gd name="connsiteY6" fmla="*/ 6855002 h 6858000"/>
              <a:gd name="connsiteX7" fmla="*/ 0 w 8112125"/>
              <a:gd name="connsiteY7" fmla="*/ 0 h 6858000"/>
              <a:gd name="connsiteX8" fmla="*/ 8112125 w 8112125"/>
              <a:gd name="connsiteY8" fmla="*/ 0 h 6858000"/>
              <a:gd name="connsiteX9" fmla="*/ 8112125 w 8112125"/>
              <a:gd name="connsiteY9" fmla="*/ 6852816 h 6858000"/>
              <a:gd name="connsiteX10" fmla="*/ 8063369 w 8112125"/>
              <a:gd name="connsiteY10" fmla="*/ 6846308 h 6858000"/>
              <a:gd name="connsiteX11" fmla="*/ 0 w 8112125"/>
              <a:gd name="connsiteY11" fmla="*/ 5408521 h 6858000"/>
              <a:gd name="connsiteX0" fmla="*/ 0 w 8112125"/>
              <a:gd name="connsiteY0" fmla="*/ 6858000 h 6858000"/>
              <a:gd name="connsiteX1" fmla="*/ 8112125 w 8112125"/>
              <a:gd name="connsiteY1" fmla="*/ 6855002 h 6858000"/>
              <a:gd name="connsiteX2" fmla="*/ 8112125 w 8112125"/>
              <a:gd name="connsiteY2" fmla="*/ 6858000 h 6858000"/>
              <a:gd name="connsiteX3" fmla="*/ 0 w 8112125"/>
              <a:gd name="connsiteY3" fmla="*/ 6858000 h 6858000"/>
              <a:gd name="connsiteX4" fmla="*/ 8099855 w 8112125"/>
              <a:gd name="connsiteY4" fmla="*/ 6852814 h 6858000"/>
              <a:gd name="connsiteX5" fmla="*/ 8112125 w 8112125"/>
              <a:gd name="connsiteY5" fmla="*/ 6852816 h 6858000"/>
              <a:gd name="connsiteX6" fmla="*/ 8112125 w 8112125"/>
              <a:gd name="connsiteY6" fmla="*/ 6855002 h 6858000"/>
              <a:gd name="connsiteX7" fmla="*/ 8099855 w 8112125"/>
              <a:gd name="connsiteY7" fmla="*/ 6852814 h 6858000"/>
              <a:gd name="connsiteX8" fmla="*/ 0 w 8112125"/>
              <a:gd name="connsiteY8" fmla="*/ 0 h 6858000"/>
              <a:gd name="connsiteX9" fmla="*/ 8112125 w 8112125"/>
              <a:gd name="connsiteY9" fmla="*/ 0 h 6858000"/>
              <a:gd name="connsiteX10" fmla="*/ 8112125 w 8112125"/>
              <a:gd name="connsiteY10" fmla="*/ 6852816 h 6858000"/>
              <a:gd name="connsiteX11" fmla="*/ 8063369 w 8112125"/>
              <a:gd name="connsiteY11" fmla="*/ 6846308 h 6858000"/>
              <a:gd name="connsiteX12" fmla="*/ 0 w 8112125"/>
              <a:gd name="connsiteY12" fmla="*/ 5408521 h 6858000"/>
              <a:gd name="connsiteX13" fmla="*/ 0 w 8112125"/>
              <a:gd name="connsiteY13" fmla="*/ 0 h 6858000"/>
              <a:gd name="connsiteX0" fmla="*/ 0 w 8112125"/>
              <a:gd name="connsiteY0" fmla="*/ 6858000 h 6858000"/>
              <a:gd name="connsiteX1" fmla="*/ 8112125 w 8112125"/>
              <a:gd name="connsiteY1" fmla="*/ 6855002 h 6858000"/>
              <a:gd name="connsiteX2" fmla="*/ 8112125 w 8112125"/>
              <a:gd name="connsiteY2" fmla="*/ 6858000 h 6858000"/>
              <a:gd name="connsiteX3" fmla="*/ 0 w 8112125"/>
              <a:gd name="connsiteY3" fmla="*/ 6858000 h 6858000"/>
              <a:gd name="connsiteX4" fmla="*/ 8112125 w 8112125"/>
              <a:gd name="connsiteY4" fmla="*/ 6855002 h 6858000"/>
              <a:gd name="connsiteX5" fmla="*/ 8112125 w 8112125"/>
              <a:gd name="connsiteY5" fmla="*/ 6852816 h 6858000"/>
              <a:gd name="connsiteX6" fmla="*/ 8112125 w 8112125"/>
              <a:gd name="connsiteY6" fmla="*/ 6855002 h 6858000"/>
              <a:gd name="connsiteX7" fmla="*/ 0 w 8112125"/>
              <a:gd name="connsiteY7" fmla="*/ 0 h 6858000"/>
              <a:gd name="connsiteX8" fmla="*/ 8112125 w 8112125"/>
              <a:gd name="connsiteY8" fmla="*/ 0 h 6858000"/>
              <a:gd name="connsiteX9" fmla="*/ 8112125 w 8112125"/>
              <a:gd name="connsiteY9" fmla="*/ 6852816 h 6858000"/>
              <a:gd name="connsiteX10" fmla="*/ 8063369 w 8112125"/>
              <a:gd name="connsiteY10" fmla="*/ 6846308 h 6858000"/>
              <a:gd name="connsiteX11" fmla="*/ 0 w 8112125"/>
              <a:gd name="connsiteY11" fmla="*/ 5408521 h 6858000"/>
              <a:gd name="connsiteX12" fmla="*/ 0 w 8112125"/>
              <a:gd name="connsiteY1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112125" h="6858000">
                <a:moveTo>
                  <a:pt x="0" y="6858000"/>
                </a:moveTo>
                <a:lnTo>
                  <a:pt x="8112125" y="6855002"/>
                </a:lnTo>
                <a:lnTo>
                  <a:pt x="8112125" y="6858000"/>
                </a:lnTo>
                <a:lnTo>
                  <a:pt x="0" y="6858000"/>
                </a:lnTo>
                <a:close/>
                <a:moveTo>
                  <a:pt x="8112125" y="6855002"/>
                </a:moveTo>
                <a:lnTo>
                  <a:pt x="8112125" y="6852816"/>
                </a:lnTo>
                <a:lnTo>
                  <a:pt x="8112125" y="6855002"/>
                </a:lnTo>
                <a:close/>
                <a:moveTo>
                  <a:pt x="0" y="0"/>
                </a:moveTo>
                <a:lnTo>
                  <a:pt x="8112125" y="0"/>
                </a:lnTo>
                <a:lnTo>
                  <a:pt x="8112125" y="6852816"/>
                </a:lnTo>
                <a:lnTo>
                  <a:pt x="8063369" y="6846308"/>
                </a:lnTo>
                <a:lnTo>
                  <a:pt x="0" y="540852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alpha val="90000"/>
            </a:schemeClr>
          </a:solidFill>
        </p:spPr>
        <p:txBody>
          <a:bodyPr wrap="square" lIns="655200" tIns="2304000" rIns="630000" bIns="2538000" anchor="t" anchorCtr="0">
            <a:noAutofit/>
          </a:bodyPr>
          <a:lstStyle>
            <a:lvl1pPr>
              <a:lnSpc>
                <a:spcPct val="87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Præsentationstitel i maksimum to linjer</a:t>
            </a:r>
            <a:endParaRPr lang="da-DK"/>
          </a:p>
        </p:txBody>
      </p:sp>
      <p:sp>
        <p:nvSpPr>
          <p:cNvPr id="3" name="Undertitel 2"/>
          <p:cNvSpPr>
            <a:spLocks noGrp="1"/>
          </p:cNvSpPr>
          <p:nvPr>
            <p:ph type="subTitle" idx="1" hasCustomPrompt="1"/>
          </p:nvPr>
        </p:nvSpPr>
        <p:spPr>
          <a:xfrm>
            <a:off x="4067909" y="3512736"/>
            <a:ext cx="7450992" cy="498834"/>
          </a:xfrm>
        </p:spPr>
        <p:txBody>
          <a:bodyPr lIns="702000" rIns="511200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Klik, og tilføj undertitel</a:t>
            </a:r>
            <a:endParaRPr lang="da-DK"/>
          </a:p>
        </p:txBody>
      </p:sp>
      <p:sp>
        <p:nvSpPr>
          <p:cNvPr id="6" name="Indsæt TitleName"/>
          <p:cNvSpPr>
            <a:spLocks noGrp="1"/>
          </p:cNvSpPr>
          <p:nvPr>
            <p:ph type="body" sz="quarter" idx="14" hasCustomPrompt="1"/>
          </p:nvPr>
        </p:nvSpPr>
        <p:spPr>
          <a:xfrm>
            <a:off x="4079875" y="1345848"/>
            <a:ext cx="7439026" cy="360040"/>
          </a:xfrm>
        </p:spPr>
        <p:txBody>
          <a:bodyPr lIns="684000" anchor="b" anchorCtr="0"/>
          <a:lstStyle>
            <a:lvl1pPr>
              <a:lnSpc>
                <a:spcPct val="110000"/>
              </a:lnSpc>
              <a:defRPr sz="10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Indsæt titel, navn</a:t>
            </a:r>
            <a:endParaRPr lang="da-DK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408614"/>
            <a:ext cx="12192000" cy="1447802"/>
          </a:xfrm>
          <a:custGeom>
            <a:avLst/>
            <a:gdLst>
              <a:gd name="connsiteX0" fmla="*/ 3054350 w 9144000"/>
              <a:gd name="connsiteY0" fmla="*/ 0 h 1077913"/>
              <a:gd name="connsiteX1" fmla="*/ 9144000 w 9144000"/>
              <a:gd name="connsiteY1" fmla="*/ 1077913 h 1077913"/>
              <a:gd name="connsiteX2" fmla="*/ 0 w 9144000"/>
              <a:gd name="connsiteY2" fmla="*/ 1076326 h 1077913"/>
              <a:gd name="connsiteX3" fmla="*/ 0 w 9144000"/>
              <a:gd name="connsiteY3" fmla="*/ 538163 h 1077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1077913">
                <a:moveTo>
                  <a:pt x="3054350" y="0"/>
                </a:moveTo>
                <a:lnTo>
                  <a:pt x="9144000" y="1077913"/>
                </a:lnTo>
                <a:lnTo>
                  <a:pt x="0" y="1076326"/>
                </a:lnTo>
                <a:lnTo>
                  <a:pt x="0" y="538163"/>
                </a:lnTo>
                <a:close/>
              </a:path>
            </a:pathLst>
          </a:custGeom>
          <a:solidFill>
            <a:schemeClr val="accent3">
              <a:alpha val="6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071600" y="3960000"/>
            <a:ext cx="8118000" cy="2901600"/>
          </a:xfrm>
          <a:custGeom>
            <a:avLst/>
            <a:gdLst>
              <a:gd name="connsiteX0" fmla="*/ 6116484 w 6118225"/>
              <a:gd name="connsiteY0" fmla="*/ 0 h 2159720"/>
              <a:gd name="connsiteX1" fmla="*/ 6118225 w 6118225"/>
              <a:gd name="connsiteY1" fmla="*/ 0 h 2159720"/>
              <a:gd name="connsiteX2" fmla="*/ 6118225 w 6118225"/>
              <a:gd name="connsiteY2" fmla="*/ 2159720 h 2159720"/>
              <a:gd name="connsiteX3" fmla="*/ 0 w 6118225"/>
              <a:gd name="connsiteY3" fmla="*/ 1078913 h 2159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18225" h="2159720">
                <a:moveTo>
                  <a:pt x="6116484" y="0"/>
                </a:moveTo>
                <a:lnTo>
                  <a:pt x="6118225" y="0"/>
                </a:lnTo>
                <a:lnTo>
                  <a:pt x="6118225" y="2159720"/>
                </a:lnTo>
                <a:lnTo>
                  <a:pt x="0" y="1078913"/>
                </a:lnTo>
                <a:close/>
              </a:path>
            </a:pathLst>
          </a:custGeom>
          <a:solidFill>
            <a:srgbClr val="ECAD28"/>
          </a:solidFill>
        </p:spPr>
        <p:txBody>
          <a:bodyPr wrap="square">
            <a:noAutofit/>
          </a:bodyPr>
          <a:lstStyle>
            <a:lvl1pPr marL="0" indent="0">
              <a:buNone/>
              <a:defRPr sz="100"/>
            </a:lvl1pPr>
            <a:lvl2pPr marL="0" indent="0">
              <a:buNone/>
              <a:defRPr sz="100"/>
            </a:lvl2pPr>
            <a:lvl3pPr marL="216000" indent="0">
              <a:buNone/>
              <a:defRPr sz="100"/>
            </a:lvl3pPr>
            <a:lvl4pPr marL="432000" indent="0">
              <a:buNone/>
              <a:defRPr sz="100"/>
            </a:lvl4pPr>
            <a:lvl5pPr marL="648000" indent="0">
              <a:buNone/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17" name="Text Placeholder 3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4764088" y="345600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9" name="TextBox 8"/>
          <p:cNvSpPr txBox="1"/>
          <p:nvPr userDrawn="1"/>
        </p:nvSpPr>
        <p:spPr>
          <a:xfrm>
            <a:off x="-14179" y="-214438"/>
            <a:ext cx="122064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noProof="0" dirty="0">
                <a:solidFill>
                  <a:schemeClr val="accent1"/>
                </a:solidFill>
              </a:rPr>
              <a:t>Bemærk</a:t>
            </a:r>
            <a:r>
              <a:rPr lang="da-DK" sz="1100" noProof="0" dirty="0">
                <a:solidFill>
                  <a:schemeClr val="accent1"/>
                </a:solidFill>
              </a:rPr>
              <a:t> at billedet ses under boksen som er transparent. Derfor skal billedet fylde hele siden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42013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01">
          <p15:clr>
            <a:srgbClr val="FBAE40"/>
          </p15:clr>
        </p15:guide>
        <p15:guide id="2" pos="2570">
          <p15:clr>
            <a:srgbClr val="FBAE40"/>
          </p15:clr>
        </p15:guide>
        <p15:guide id="3" orient="horz" pos="3407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B 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icture Placeholder 38"/>
          <p:cNvSpPr>
            <a:spLocks noGrp="1"/>
          </p:cNvSpPr>
          <p:nvPr>
            <p:ph type="pic" sz="quarter" idx="13" hasCustomPrompt="1"/>
          </p:nvPr>
        </p:nvSpPr>
        <p:spPr>
          <a:xfrm>
            <a:off x="-4800" y="-3600"/>
            <a:ext cx="12206400" cy="6865200"/>
          </a:xfrm>
          <a:prstGeom prst="rect">
            <a:avLst/>
          </a:prstGeom>
          <a:solidFill>
            <a:schemeClr val="bg2"/>
          </a:solidFill>
        </p:spPr>
        <p:txBody>
          <a:bodyPr wrap="square" lIns="108000" tIns="108000" rIns="8496000" bIns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4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4079874" y="0"/>
            <a:ext cx="8112125" cy="6858000"/>
          </a:xfrm>
          <a:custGeom>
            <a:avLst/>
            <a:gdLst>
              <a:gd name="connsiteX0" fmla="*/ 0 w 8112125"/>
              <a:gd name="connsiteY0" fmla="*/ 6853584 h 6858000"/>
              <a:gd name="connsiteX1" fmla="*/ 8112125 w 8112125"/>
              <a:gd name="connsiteY1" fmla="*/ 6855002 h 6858000"/>
              <a:gd name="connsiteX2" fmla="*/ 8112125 w 8112125"/>
              <a:gd name="connsiteY2" fmla="*/ 6858000 h 6858000"/>
              <a:gd name="connsiteX3" fmla="*/ 0 w 8112125"/>
              <a:gd name="connsiteY3" fmla="*/ 6858000 h 6858000"/>
              <a:gd name="connsiteX4" fmla="*/ 8099855 w 8112125"/>
              <a:gd name="connsiteY4" fmla="*/ 6852814 h 6858000"/>
              <a:gd name="connsiteX5" fmla="*/ 8112125 w 8112125"/>
              <a:gd name="connsiteY5" fmla="*/ 6852816 h 6858000"/>
              <a:gd name="connsiteX6" fmla="*/ 8112125 w 8112125"/>
              <a:gd name="connsiteY6" fmla="*/ 6855002 h 6858000"/>
              <a:gd name="connsiteX7" fmla="*/ 0 w 8112125"/>
              <a:gd name="connsiteY7" fmla="*/ 0 h 6858000"/>
              <a:gd name="connsiteX8" fmla="*/ 8112125 w 8112125"/>
              <a:gd name="connsiteY8" fmla="*/ 0 h 6858000"/>
              <a:gd name="connsiteX9" fmla="*/ 8112125 w 8112125"/>
              <a:gd name="connsiteY9" fmla="*/ 6852816 h 6858000"/>
              <a:gd name="connsiteX10" fmla="*/ 8063369 w 8112125"/>
              <a:gd name="connsiteY10" fmla="*/ 6846308 h 6858000"/>
              <a:gd name="connsiteX11" fmla="*/ 0 w 8112125"/>
              <a:gd name="connsiteY11" fmla="*/ 5408521 h 6858000"/>
              <a:gd name="connsiteX0" fmla="*/ 0 w 8112125"/>
              <a:gd name="connsiteY0" fmla="*/ 6858000 h 6858000"/>
              <a:gd name="connsiteX1" fmla="*/ 8112125 w 8112125"/>
              <a:gd name="connsiteY1" fmla="*/ 6855002 h 6858000"/>
              <a:gd name="connsiteX2" fmla="*/ 8112125 w 8112125"/>
              <a:gd name="connsiteY2" fmla="*/ 6858000 h 6858000"/>
              <a:gd name="connsiteX3" fmla="*/ 0 w 8112125"/>
              <a:gd name="connsiteY3" fmla="*/ 6858000 h 6858000"/>
              <a:gd name="connsiteX4" fmla="*/ 8099855 w 8112125"/>
              <a:gd name="connsiteY4" fmla="*/ 6852814 h 6858000"/>
              <a:gd name="connsiteX5" fmla="*/ 8112125 w 8112125"/>
              <a:gd name="connsiteY5" fmla="*/ 6852816 h 6858000"/>
              <a:gd name="connsiteX6" fmla="*/ 8112125 w 8112125"/>
              <a:gd name="connsiteY6" fmla="*/ 6855002 h 6858000"/>
              <a:gd name="connsiteX7" fmla="*/ 8099855 w 8112125"/>
              <a:gd name="connsiteY7" fmla="*/ 6852814 h 6858000"/>
              <a:gd name="connsiteX8" fmla="*/ 0 w 8112125"/>
              <a:gd name="connsiteY8" fmla="*/ 0 h 6858000"/>
              <a:gd name="connsiteX9" fmla="*/ 8112125 w 8112125"/>
              <a:gd name="connsiteY9" fmla="*/ 0 h 6858000"/>
              <a:gd name="connsiteX10" fmla="*/ 8112125 w 8112125"/>
              <a:gd name="connsiteY10" fmla="*/ 6852816 h 6858000"/>
              <a:gd name="connsiteX11" fmla="*/ 8063369 w 8112125"/>
              <a:gd name="connsiteY11" fmla="*/ 6846308 h 6858000"/>
              <a:gd name="connsiteX12" fmla="*/ 0 w 8112125"/>
              <a:gd name="connsiteY12" fmla="*/ 5408521 h 6858000"/>
              <a:gd name="connsiteX13" fmla="*/ 0 w 8112125"/>
              <a:gd name="connsiteY13" fmla="*/ 0 h 6858000"/>
              <a:gd name="connsiteX0" fmla="*/ 0 w 8112125"/>
              <a:gd name="connsiteY0" fmla="*/ 6858000 h 6858000"/>
              <a:gd name="connsiteX1" fmla="*/ 8112125 w 8112125"/>
              <a:gd name="connsiteY1" fmla="*/ 6855002 h 6858000"/>
              <a:gd name="connsiteX2" fmla="*/ 8112125 w 8112125"/>
              <a:gd name="connsiteY2" fmla="*/ 6858000 h 6858000"/>
              <a:gd name="connsiteX3" fmla="*/ 0 w 8112125"/>
              <a:gd name="connsiteY3" fmla="*/ 6858000 h 6858000"/>
              <a:gd name="connsiteX4" fmla="*/ 8112125 w 8112125"/>
              <a:gd name="connsiteY4" fmla="*/ 6855002 h 6858000"/>
              <a:gd name="connsiteX5" fmla="*/ 8112125 w 8112125"/>
              <a:gd name="connsiteY5" fmla="*/ 6852816 h 6858000"/>
              <a:gd name="connsiteX6" fmla="*/ 8112125 w 8112125"/>
              <a:gd name="connsiteY6" fmla="*/ 6855002 h 6858000"/>
              <a:gd name="connsiteX7" fmla="*/ 0 w 8112125"/>
              <a:gd name="connsiteY7" fmla="*/ 0 h 6858000"/>
              <a:gd name="connsiteX8" fmla="*/ 8112125 w 8112125"/>
              <a:gd name="connsiteY8" fmla="*/ 0 h 6858000"/>
              <a:gd name="connsiteX9" fmla="*/ 8112125 w 8112125"/>
              <a:gd name="connsiteY9" fmla="*/ 6852816 h 6858000"/>
              <a:gd name="connsiteX10" fmla="*/ 8063369 w 8112125"/>
              <a:gd name="connsiteY10" fmla="*/ 6846308 h 6858000"/>
              <a:gd name="connsiteX11" fmla="*/ 0 w 8112125"/>
              <a:gd name="connsiteY11" fmla="*/ 5408521 h 6858000"/>
              <a:gd name="connsiteX12" fmla="*/ 0 w 8112125"/>
              <a:gd name="connsiteY1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112125" h="6858000">
                <a:moveTo>
                  <a:pt x="0" y="6858000"/>
                </a:moveTo>
                <a:lnTo>
                  <a:pt x="8112125" y="6855002"/>
                </a:lnTo>
                <a:lnTo>
                  <a:pt x="8112125" y="6858000"/>
                </a:lnTo>
                <a:lnTo>
                  <a:pt x="0" y="6858000"/>
                </a:lnTo>
                <a:close/>
                <a:moveTo>
                  <a:pt x="8112125" y="6855002"/>
                </a:moveTo>
                <a:lnTo>
                  <a:pt x="8112125" y="6852816"/>
                </a:lnTo>
                <a:lnTo>
                  <a:pt x="8112125" y="6855002"/>
                </a:lnTo>
                <a:close/>
                <a:moveTo>
                  <a:pt x="0" y="0"/>
                </a:moveTo>
                <a:lnTo>
                  <a:pt x="8112125" y="0"/>
                </a:lnTo>
                <a:lnTo>
                  <a:pt x="8112125" y="6852816"/>
                </a:lnTo>
                <a:lnTo>
                  <a:pt x="8063369" y="6846308"/>
                </a:lnTo>
                <a:lnTo>
                  <a:pt x="0" y="540852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alpha val="90000"/>
            </a:schemeClr>
          </a:solidFill>
        </p:spPr>
        <p:txBody>
          <a:bodyPr wrap="square" lIns="655200" tIns="2304000" rIns="630000" bIns="2538000" anchor="t" anchorCtr="0">
            <a:noAutofit/>
          </a:bodyPr>
          <a:lstStyle>
            <a:lvl1pPr>
              <a:lnSpc>
                <a:spcPct val="87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Præsentationstitel i maksimum to linjer</a:t>
            </a:r>
            <a:endParaRPr lang="da-DK"/>
          </a:p>
        </p:txBody>
      </p:sp>
      <p:sp>
        <p:nvSpPr>
          <p:cNvPr id="3" name="Undertitel 2"/>
          <p:cNvSpPr>
            <a:spLocks noGrp="1"/>
          </p:cNvSpPr>
          <p:nvPr>
            <p:ph type="subTitle" idx="1" hasCustomPrompt="1"/>
          </p:nvPr>
        </p:nvSpPr>
        <p:spPr>
          <a:xfrm>
            <a:off x="4067909" y="3512736"/>
            <a:ext cx="7450992" cy="498834"/>
          </a:xfrm>
        </p:spPr>
        <p:txBody>
          <a:bodyPr lIns="702000" rIns="511200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Klik, og tilføj undertitel</a:t>
            </a:r>
            <a:endParaRPr lang="da-DK"/>
          </a:p>
        </p:txBody>
      </p:sp>
      <p:sp>
        <p:nvSpPr>
          <p:cNvPr id="6" name="Indsæt TitleName"/>
          <p:cNvSpPr>
            <a:spLocks noGrp="1"/>
          </p:cNvSpPr>
          <p:nvPr>
            <p:ph type="body" sz="quarter" idx="14" hasCustomPrompt="1"/>
          </p:nvPr>
        </p:nvSpPr>
        <p:spPr>
          <a:xfrm>
            <a:off x="4079875" y="1345848"/>
            <a:ext cx="7439026" cy="360040"/>
          </a:xfrm>
        </p:spPr>
        <p:txBody>
          <a:bodyPr lIns="684000" anchor="b" anchorCtr="0"/>
          <a:lstStyle>
            <a:lvl1pPr>
              <a:lnSpc>
                <a:spcPct val="110000"/>
              </a:lnSpc>
              <a:defRPr sz="10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Indsæt titel, navn</a:t>
            </a:r>
            <a:endParaRPr lang="da-DK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408614"/>
            <a:ext cx="12192000" cy="1447802"/>
          </a:xfrm>
          <a:custGeom>
            <a:avLst/>
            <a:gdLst>
              <a:gd name="connsiteX0" fmla="*/ 3054350 w 9144000"/>
              <a:gd name="connsiteY0" fmla="*/ 0 h 1077913"/>
              <a:gd name="connsiteX1" fmla="*/ 9144000 w 9144000"/>
              <a:gd name="connsiteY1" fmla="*/ 1077913 h 1077913"/>
              <a:gd name="connsiteX2" fmla="*/ 0 w 9144000"/>
              <a:gd name="connsiteY2" fmla="*/ 1076326 h 1077913"/>
              <a:gd name="connsiteX3" fmla="*/ 0 w 9144000"/>
              <a:gd name="connsiteY3" fmla="*/ 538163 h 1077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1077913">
                <a:moveTo>
                  <a:pt x="3054350" y="0"/>
                </a:moveTo>
                <a:lnTo>
                  <a:pt x="9144000" y="1077913"/>
                </a:lnTo>
                <a:lnTo>
                  <a:pt x="0" y="1076326"/>
                </a:lnTo>
                <a:lnTo>
                  <a:pt x="0" y="538163"/>
                </a:lnTo>
                <a:close/>
              </a:path>
            </a:pathLst>
          </a:custGeom>
          <a:solidFill>
            <a:schemeClr val="accent4">
              <a:alpha val="6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071600" y="3960000"/>
            <a:ext cx="8118000" cy="2901600"/>
          </a:xfrm>
          <a:custGeom>
            <a:avLst/>
            <a:gdLst>
              <a:gd name="connsiteX0" fmla="*/ 6116484 w 6118225"/>
              <a:gd name="connsiteY0" fmla="*/ 0 h 2159720"/>
              <a:gd name="connsiteX1" fmla="*/ 6118225 w 6118225"/>
              <a:gd name="connsiteY1" fmla="*/ 0 h 2159720"/>
              <a:gd name="connsiteX2" fmla="*/ 6118225 w 6118225"/>
              <a:gd name="connsiteY2" fmla="*/ 2159720 h 2159720"/>
              <a:gd name="connsiteX3" fmla="*/ 0 w 6118225"/>
              <a:gd name="connsiteY3" fmla="*/ 1078913 h 2159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18225" h="2159720">
                <a:moveTo>
                  <a:pt x="6116484" y="0"/>
                </a:moveTo>
                <a:lnTo>
                  <a:pt x="6118225" y="0"/>
                </a:lnTo>
                <a:lnTo>
                  <a:pt x="6118225" y="2159720"/>
                </a:lnTo>
                <a:lnTo>
                  <a:pt x="0" y="1078913"/>
                </a:lnTo>
                <a:close/>
              </a:path>
            </a:pathLst>
          </a:custGeom>
          <a:solidFill>
            <a:srgbClr val="EB4430"/>
          </a:solidFill>
        </p:spPr>
        <p:txBody>
          <a:bodyPr wrap="square">
            <a:noAutofit/>
          </a:bodyPr>
          <a:lstStyle>
            <a:lvl1pPr marL="0" indent="0">
              <a:buNone/>
              <a:defRPr sz="100"/>
            </a:lvl1pPr>
            <a:lvl2pPr marL="0" indent="0">
              <a:buNone/>
              <a:defRPr sz="100"/>
            </a:lvl2pPr>
            <a:lvl3pPr marL="216000" indent="0">
              <a:buNone/>
              <a:defRPr sz="100"/>
            </a:lvl3pPr>
            <a:lvl4pPr marL="432000" indent="0">
              <a:buNone/>
              <a:defRPr sz="100"/>
            </a:lvl4pPr>
            <a:lvl5pPr marL="648000" indent="0">
              <a:buNone/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17" name="Text Placeholder 3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4764088" y="345600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9" name="TextBox 8"/>
          <p:cNvSpPr txBox="1"/>
          <p:nvPr userDrawn="1"/>
        </p:nvSpPr>
        <p:spPr>
          <a:xfrm>
            <a:off x="-14179" y="-214438"/>
            <a:ext cx="122064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noProof="0" dirty="0">
                <a:solidFill>
                  <a:schemeClr val="accent1"/>
                </a:solidFill>
              </a:rPr>
              <a:t>Bemærk</a:t>
            </a:r>
            <a:r>
              <a:rPr lang="da-DK" sz="1100" noProof="0" dirty="0">
                <a:solidFill>
                  <a:schemeClr val="accent1"/>
                </a:solidFill>
              </a:rPr>
              <a:t> at billedet ses under boksen som er transparent. Derfor skal billedet fylde hele siden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77209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01">
          <p15:clr>
            <a:srgbClr val="FBAE40"/>
          </p15:clr>
        </p15:guide>
        <p15:guide id="2" pos="2570">
          <p15:clr>
            <a:srgbClr val="FBAE40"/>
          </p15:clr>
        </p15:guide>
        <p15:guide id="3" orient="horz" pos="3407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BEBEC"/>
          </a:solidFill>
          <a:ln w="3175">
            <a:noFill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4000"/>
              </a:lnSpc>
            </a:pPr>
            <a:endParaRPr lang="da-DK" sz="1800" dirty="0" err="1"/>
          </a:p>
        </p:txBody>
      </p:sp>
      <p:grpSp>
        <p:nvGrpSpPr>
          <p:cNvPr id="121" name="Lines"/>
          <p:cNvGrpSpPr/>
          <p:nvPr userDrawn="1"/>
        </p:nvGrpSpPr>
        <p:grpSpPr>
          <a:xfrm>
            <a:off x="-792" y="0"/>
            <a:ext cx="12298271" cy="6161964"/>
            <a:chOff x="-792" y="0"/>
            <a:chExt cx="12298271" cy="6161964"/>
          </a:xfrm>
        </p:grpSpPr>
        <p:sp>
          <p:nvSpPr>
            <p:cNvPr id="108" name="Freeform: Shape 107"/>
            <p:cNvSpPr>
              <a:spLocks/>
            </p:cNvSpPr>
            <p:nvPr userDrawn="1"/>
          </p:nvSpPr>
          <p:spPr bwMode="auto">
            <a:xfrm>
              <a:off x="5971967" y="0"/>
              <a:ext cx="6221233" cy="2661061"/>
            </a:xfrm>
            <a:custGeom>
              <a:avLst/>
              <a:gdLst>
                <a:gd name="connsiteX0" fmla="*/ 0 w 6221233"/>
                <a:gd name="connsiteY0" fmla="*/ 0 h 2661061"/>
                <a:gd name="connsiteX1" fmla="*/ 38482 w 6221233"/>
                <a:gd name="connsiteY1" fmla="*/ 0 h 2661061"/>
                <a:gd name="connsiteX2" fmla="*/ 6221233 w 6221233"/>
                <a:gd name="connsiteY2" fmla="*/ 2645019 h 2661061"/>
                <a:gd name="connsiteX3" fmla="*/ 6221233 w 6221233"/>
                <a:gd name="connsiteY3" fmla="*/ 2661061 h 2661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21233" h="2661061">
                  <a:moveTo>
                    <a:pt x="0" y="0"/>
                  </a:moveTo>
                  <a:lnTo>
                    <a:pt x="38482" y="0"/>
                  </a:lnTo>
                  <a:lnTo>
                    <a:pt x="6221233" y="2645019"/>
                  </a:lnTo>
                  <a:lnTo>
                    <a:pt x="6221233" y="2661061"/>
                  </a:lnTo>
                  <a:close/>
                </a:path>
              </a:pathLst>
            </a:custGeom>
            <a:solidFill>
              <a:srgbClr val="C1C3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06" name="Freeform: Shape 105"/>
            <p:cNvSpPr>
              <a:spLocks/>
            </p:cNvSpPr>
            <p:nvPr userDrawn="1"/>
          </p:nvSpPr>
          <p:spPr bwMode="auto">
            <a:xfrm>
              <a:off x="6239739" y="1"/>
              <a:ext cx="5953461" cy="2457299"/>
            </a:xfrm>
            <a:custGeom>
              <a:avLst/>
              <a:gdLst>
                <a:gd name="connsiteX0" fmla="*/ 0 w 5953461"/>
                <a:gd name="connsiteY0" fmla="*/ 0 h 2457299"/>
                <a:gd name="connsiteX1" fmla="*/ 36593 w 5953461"/>
                <a:gd name="connsiteY1" fmla="*/ 0 h 2457299"/>
                <a:gd name="connsiteX2" fmla="*/ 1445423 w 5953461"/>
                <a:gd name="connsiteY2" fmla="*/ 637927 h 2457299"/>
                <a:gd name="connsiteX3" fmla="*/ 2689583 w 5953461"/>
                <a:gd name="connsiteY3" fmla="*/ 1109504 h 2457299"/>
                <a:gd name="connsiteX4" fmla="*/ 3712662 w 5953461"/>
                <a:gd name="connsiteY4" fmla="*/ 1489513 h 2457299"/>
                <a:gd name="connsiteX5" fmla="*/ 5925012 w 5953461"/>
                <a:gd name="connsiteY5" fmla="*/ 2428089 h 2457299"/>
                <a:gd name="connsiteX6" fmla="*/ 5953461 w 5953461"/>
                <a:gd name="connsiteY6" fmla="*/ 2440341 h 2457299"/>
                <a:gd name="connsiteX7" fmla="*/ 5953461 w 5953461"/>
                <a:gd name="connsiteY7" fmla="*/ 2457299 h 2457299"/>
                <a:gd name="connsiteX8" fmla="*/ 5917389 w 5953461"/>
                <a:gd name="connsiteY8" fmla="*/ 2441825 h 2457299"/>
                <a:gd name="connsiteX9" fmla="*/ 3706563 w 5953461"/>
                <a:gd name="connsiteY9" fmla="*/ 1503248 h 2457299"/>
                <a:gd name="connsiteX10" fmla="*/ 2685009 w 5953461"/>
                <a:gd name="connsiteY10" fmla="*/ 1124765 h 2457299"/>
                <a:gd name="connsiteX11" fmla="*/ 1439324 w 5953461"/>
                <a:gd name="connsiteY11" fmla="*/ 651662 h 2457299"/>
                <a:gd name="connsiteX12" fmla="*/ 0 w 5953461"/>
                <a:gd name="connsiteY12" fmla="*/ 0 h 2457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3461" h="2457299">
                  <a:moveTo>
                    <a:pt x="0" y="0"/>
                  </a:moveTo>
                  <a:cubicBezTo>
                    <a:pt x="0" y="0"/>
                    <a:pt x="0" y="0"/>
                    <a:pt x="36593" y="0"/>
                  </a:cubicBezTo>
                  <a:cubicBezTo>
                    <a:pt x="501629" y="218238"/>
                    <a:pt x="972763" y="436476"/>
                    <a:pt x="1445423" y="637927"/>
                  </a:cubicBezTo>
                  <a:cubicBezTo>
                    <a:pt x="1854044" y="811907"/>
                    <a:pt x="2279437" y="962995"/>
                    <a:pt x="2689583" y="1109504"/>
                  </a:cubicBezTo>
                  <a:cubicBezTo>
                    <a:pt x="3026544" y="1230069"/>
                    <a:pt x="3375702" y="1353687"/>
                    <a:pt x="3712662" y="1489513"/>
                  </a:cubicBezTo>
                  <a:cubicBezTo>
                    <a:pt x="4455195" y="1788637"/>
                    <a:pt x="5202301" y="2113704"/>
                    <a:pt x="5925012" y="2428089"/>
                  </a:cubicBezTo>
                  <a:lnTo>
                    <a:pt x="5953461" y="2440341"/>
                  </a:lnTo>
                  <a:lnTo>
                    <a:pt x="5953461" y="2457299"/>
                  </a:lnTo>
                  <a:lnTo>
                    <a:pt x="5917389" y="2441825"/>
                  </a:lnTo>
                  <a:cubicBezTo>
                    <a:pt x="5196202" y="2127440"/>
                    <a:pt x="4449095" y="1802372"/>
                    <a:pt x="3706563" y="1503248"/>
                  </a:cubicBezTo>
                  <a:cubicBezTo>
                    <a:pt x="3369603" y="1367422"/>
                    <a:pt x="3021970" y="1243805"/>
                    <a:pt x="2685009" y="1124765"/>
                  </a:cubicBezTo>
                  <a:cubicBezTo>
                    <a:pt x="2273339" y="978256"/>
                    <a:pt x="1847945" y="825642"/>
                    <a:pt x="1439324" y="651662"/>
                  </a:cubicBezTo>
                  <a:cubicBezTo>
                    <a:pt x="955992" y="445633"/>
                    <a:pt x="474184" y="222817"/>
                    <a:pt x="0" y="0"/>
                  </a:cubicBezTo>
                  <a:close/>
                </a:path>
              </a:pathLst>
            </a:custGeom>
            <a:solidFill>
              <a:srgbClr val="C1C3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04" name="Freeform: Shape 103"/>
            <p:cNvSpPr>
              <a:spLocks/>
            </p:cNvSpPr>
            <p:nvPr userDrawn="1"/>
          </p:nvSpPr>
          <p:spPr bwMode="auto">
            <a:xfrm>
              <a:off x="6472236" y="1"/>
              <a:ext cx="5720965" cy="2253309"/>
            </a:xfrm>
            <a:custGeom>
              <a:avLst/>
              <a:gdLst>
                <a:gd name="connsiteX0" fmla="*/ 0 w 5720965"/>
                <a:gd name="connsiteY0" fmla="*/ 0 h 2253309"/>
                <a:gd name="connsiteX1" fmla="*/ 35073 w 5720965"/>
                <a:gd name="connsiteY1" fmla="*/ 0 h 2253309"/>
                <a:gd name="connsiteX2" fmla="*/ 1262628 w 5720965"/>
                <a:gd name="connsiteY2" fmla="*/ 585870 h 2253309"/>
                <a:gd name="connsiteX3" fmla="*/ 2485607 w 5720965"/>
                <a:gd name="connsiteY3" fmla="*/ 985604 h 2253309"/>
                <a:gd name="connsiteX4" fmla="*/ 3551521 w 5720965"/>
                <a:gd name="connsiteY4" fmla="*/ 1319733 h 2253309"/>
                <a:gd name="connsiteX5" fmla="*/ 4660895 w 5720965"/>
                <a:gd name="connsiteY5" fmla="*/ 1774583 h 2253309"/>
                <a:gd name="connsiteX6" fmla="*/ 5720965 w 5720965"/>
                <a:gd name="connsiteY6" fmla="*/ 2235408 h 2253309"/>
                <a:gd name="connsiteX7" fmla="*/ 5720965 w 5720965"/>
                <a:gd name="connsiteY7" fmla="*/ 2253309 h 2253309"/>
                <a:gd name="connsiteX8" fmla="*/ 4654223 w 5720965"/>
                <a:gd name="connsiteY8" fmla="*/ 1789268 h 2253309"/>
                <a:gd name="connsiteX9" fmla="*/ 3545421 w 5720965"/>
                <a:gd name="connsiteY9" fmla="*/ 1334990 h 2253309"/>
                <a:gd name="connsiteX10" fmla="*/ 2481032 w 5720965"/>
                <a:gd name="connsiteY10" fmla="*/ 1000861 h 2253309"/>
                <a:gd name="connsiteX11" fmla="*/ 1256528 w 5720965"/>
                <a:gd name="connsiteY11" fmla="*/ 601127 h 2253309"/>
                <a:gd name="connsiteX12" fmla="*/ 0 w 5720965"/>
                <a:gd name="connsiteY12" fmla="*/ 0 h 2253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0965" h="2253309">
                  <a:moveTo>
                    <a:pt x="0" y="0"/>
                  </a:moveTo>
                  <a:cubicBezTo>
                    <a:pt x="0" y="0"/>
                    <a:pt x="0" y="0"/>
                    <a:pt x="35073" y="0"/>
                  </a:cubicBezTo>
                  <a:cubicBezTo>
                    <a:pt x="437650" y="207496"/>
                    <a:pt x="847851" y="408888"/>
                    <a:pt x="1262628" y="585870"/>
                  </a:cubicBezTo>
                  <a:cubicBezTo>
                    <a:pt x="1659105" y="755223"/>
                    <a:pt x="2079980" y="872702"/>
                    <a:pt x="2485607" y="985604"/>
                  </a:cubicBezTo>
                  <a:cubicBezTo>
                    <a:pt x="2837862" y="1083249"/>
                    <a:pt x="3202316" y="1185471"/>
                    <a:pt x="3551521" y="1319733"/>
                  </a:cubicBezTo>
                  <a:cubicBezTo>
                    <a:pt x="3922075" y="1463912"/>
                    <a:pt x="4293010" y="1617626"/>
                    <a:pt x="4660895" y="1774583"/>
                  </a:cubicBezTo>
                  <a:lnTo>
                    <a:pt x="5720965" y="2235408"/>
                  </a:lnTo>
                  <a:lnTo>
                    <a:pt x="5720965" y="2253309"/>
                  </a:lnTo>
                  <a:lnTo>
                    <a:pt x="4654223" y="1789268"/>
                  </a:lnTo>
                  <a:cubicBezTo>
                    <a:pt x="4286529" y="1632502"/>
                    <a:pt x="3915975" y="1479169"/>
                    <a:pt x="3545421" y="1334990"/>
                  </a:cubicBezTo>
                  <a:cubicBezTo>
                    <a:pt x="3197741" y="1200728"/>
                    <a:pt x="2833287" y="1098506"/>
                    <a:pt x="2481032" y="1000861"/>
                  </a:cubicBezTo>
                  <a:cubicBezTo>
                    <a:pt x="2073881" y="886433"/>
                    <a:pt x="1654530" y="770480"/>
                    <a:pt x="1256528" y="601127"/>
                  </a:cubicBezTo>
                  <a:cubicBezTo>
                    <a:pt x="831077" y="419568"/>
                    <a:pt x="411727" y="212073"/>
                    <a:pt x="0" y="0"/>
                  </a:cubicBezTo>
                  <a:close/>
                </a:path>
              </a:pathLst>
            </a:custGeom>
            <a:solidFill>
              <a:srgbClr val="C0C2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00" name="Freeform: Shape 99"/>
            <p:cNvSpPr>
              <a:spLocks/>
            </p:cNvSpPr>
            <p:nvPr userDrawn="1"/>
          </p:nvSpPr>
          <p:spPr bwMode="auto">
            <a:xfrm>
              <a:off x="6687094" y="0"/>
              <a:ext cx="5506106" cy="2050042"/>
            </a:xfrm>
            <a:custGeom>
              <a:avLst/>
              <a:gdLst>
                <a:gd name="connsiteX0" fmla="*/ 0 w 5506106"/>
                <a:gd name="connsiteY0" fmla="*/ 0 h 2050042"/>
                <a:gd name="connsiteX1" fmla="*/ 33549 w 5506106"/>
                <a:gd name="connsiteY1" fmla="*/ 0 h 2050042"/>
                <a:gd name="connsiteX2" fmla="*/ 1088817 w 5506106"/>
                <a:gd name="connsiteY2" fmla="*/ 523538 h 2050042"/>
                <a:gd name="connsiteX3" fmla="*/ 2314880 w 5506106"/>
                <a:gd name="connsiteY3" fmla="*/ 863914 h 2050042"/>
                <a:gd name="connsiteX4" fmla="*/ 3406747 w 5506106"/>
                <a:gd name="connsiteY4" fmla="*/ 1150867 h 2050042"/>
                <a:gd name="connsiteX5" fmla="*/ 4514436 w 5506106"/>
                <a:gd name="connsiteY5" fmla="*/ 1599041 h 2050042"/>
                <a:gd name="connsiteX6" fmla="*/ 5506106 w 5506106"/>
                <a:gd name="connsiteY6" fmla="*/ 2033522 h 2050042"/>
                <a:gd name="connsiteX7" fmla="*/ 5506106 w 5506106"/>
                <a:gd name="connsiteY7" fmla="*/ 2050042 h 2050042"/>
                <a:gd name="connsiteX8" fmla="*/ 4508336 w 5506106"/>
                <a:gd name="connsiteY8" fmla="*/ 1614114 h 2050042"/>
                <a:gd name="connsiteX9" fmla="*/ 3400648 w 5506106"/>
                <a:gd name="connsiteY9" fmla="*/ 1166131 h 2050042"/>
                <a:gd name="connsiteX10" fmla="*/ 2311830 w 5506106"/>
                <a:gd name="connsiteY10" fmla="*/ 879177 h 2050042"/>
                <a:gd name="connsiteX11" fmla="*/ 1082718 w 5506106"/>
                <a:gd name="connsiteY11" fmla="*/ 537275 h 2050042"/>
                <a:gd name="connsiteX12" fmla="*/ 0 w 5506106"/>
                <a:gd name="connsiteY12" fmla="*/ 0 h 2050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506106" h="2050042">
                  <a:moveTo>
                    <a:pt x="0" y="0"/>
                  </a:moveTo>
                  <a:cubicBezTo>
                    <a:pt x="0" y="0"/>
                    <a:pt x="0" y="0"/>
                    <a:pt x="33549" y="0"/>
                  </a:cubicBezTo>
                  <a:cubicBezTo>
                    <a:pt x="378189" y="189267"/>
                    <a:pt x="728928" y="369377"/>
                    <a:pt x="1088817" y="523538"/>
                  </a:cubicBezTo>
                  <a:cubicBezTo>
                    <a:pt x="1485305" y="691436"/>
                    <a:pt x="1906193" y="778438"/>
                    <a:pt x="2314880" y="863914"/>
                  </a:cubicBezTo>
                  <a:cubicBezTo>
                    <a:pt x="2676294" y="938705"/>
                    <a:pt x="3051433" y="1016548"/>
                    <a:pt x="3406747" y="1150867"/>
                  </a:cubicBezTo>
                  <a:cubicBezTo>
                    <a:pt x="3777311" y="1290528"/>
                    <a:pt x="4147494" y="1442400"/>
                    <a:pt x="4514436" y="1599041"/>
                  </a:cubicBezTo>
                  <a:lnTo>
                    <a:pt x="5506106" y="2033522"/>
                  </a:lnTo>
                  <a:lnTo>
                    <a:pt x="5506106" y="2050042"/>
                  </a:lnTo>
                  <a:lnTo>
                    <a:pt x="4508336" y="1614114"/>
                  </a:lnTo>
                  <a:cubicBezTo>
                    <a:pt x="4141394" y="1457663"/>
                    <a:pt x="3771211" y="1305792"/>
                    <a:pt x="3400648" y="1166131"/>
                  </a:cubicBezTo>
                  <a:cubicBezTo>
                    <a:pt x="3046858" y="1033338"/>
                    <a:pt x="2673244" y="955494"/>
                    <a:pt x="2311830" y="879177"/>
                  </a:cubicBezTo>
                  <a:cubicBezTo>
                    <a:pt x="1903143" y="795228"/>
                    <a:pt x="1479206" y="706700"/>
                    <a:pt x="1082718" y="537275"/>
                  </a:cubicBezTo>
                  <a:cubicBezTo>
                    <a:pt x="713679" y="380061"/>
                    <a:pt x="352265" y="195373"/>
                    <a:pt x="0" y="0"/>
                  </a:cubicBezTo>
                  <a:close/>
                </a:path>
              </a:pathLst>
            </a:custGeom>
            <a:solidFill>
              <a:srgbClr val="C0C2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02" name="Freeform: Shape 101"/>
            <p:cNvSpPr>
              <a:spLocks/>
            </p:cNvSpPr>
            <p:nvPr userDrawn="1"/>
          </p:nvSpPr>
          <p:spPr bwMode="auto">
            <a:xfrm>
              <a:off x="7019004" y="0"/>
              <a:ext cx="5174196" cy="1848116"/>
            </a:xfrm>
            <a:custGeom>
              <a:avLst/>
              <a:gdLst>
                <a:gd name="connsiteX0" fmla="*/ 0 w 5174196"/>
                <a:gd name="connsiteY0" fmla="*/ 0 h 1848116"/>
                <a:gd name="connsiteX1" fmla="*/ 35068 w 5174196"/>
                <a:gd name="connsiteY1" fmla="*/ 0 h 1848116"/>
                <a:gd name="connsiteX2" fmla="*/ 817222 w 5174196"/>
                <a:gd name="connsiteY2" fmla="*/ 378424 h 1848116"/>
                <a:gd name="connsiteX3" fmla="*/ 2050677 w 5174196"/>
                <a:gd name="connsiteY3" fmla="*/ 708019 h 1848116"/>
                <a:gd name="connsiteX4" fmla="*/ 3146913 w 5174196"/>
                <a:gd name="connsiteY4" fmla="*/ 982682 h 1848116"/>
                <a:gd name="connsiteX5" fmla="*/ 4752602 w 5174196"/>
                <a:gd name="connsiteY5" fmla="*/ 1642730 h 1848116"/>
                <a:gd name="connsiteX6" fmla="*/ 5174196 w 5174196"/>
                <a:gd name="connsiteY6" fmla="*/ 1829780 h 1848116"/>
                <a:gd name="connsiteX7" fmla="*/ 5174196 w 5174196"/>
                <a:gd name="connsiteY7" fmla="*/ 1848116 h 1848116"/>
                <a:gd name="connsiteX8" fmla="*/ 4751244 w 5174196"/>
                <a:gd name="connsiteY8" fmla="*/ 1660564 h 1848116"/>
                <a:gd name="connsiteX9" fmla="*/ 3142339 w 5174196"/>
                <a:gd name="connsiteY9" fmla="*/ 997941 h 1848116"/>
                <a:gd name="connsiteX10" fmla="*/ 2047628 w 5174196"/>
                <a:gd name="connsiteY10" fmla="*/ 724804 h 1848116"/>
                <a:gd name="connsiteX11" fmla="*/ 811123 w 5174196"/>
                <a:gd name="connsiteY11" fmla="*/ 393683 h 1848116"/>
                <a:gd name="connsiteX12" fmla="*/ 0 w 5174196"/>
                <a:gd name="connsiteY12" fmla="*/ 0 h 1848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4196" h="1848116">
                  <a:moveTo>
                    <a:pt x="0" y="0"/>
                  </a:moveTo>
                  <a:cubicBezTo>
                    <a:pt x="0" y="0"/>
                    <a:pt x="0" y="0"/>
                    <a:pt x="35068" y="0"/>
                  </a:cubicBezTo>
                  <a:cubicBezTo>
                    <a:pt x="291212" y="135805"/>
                    <a:pt x="551930" y="265507"/>
                    <a:pt x="817222" y="378424"/>
                  </a:cubicBezTo>
                  <a:cubicBezTo>
                    <a:pt x="1215160" y="547799"/>
                    <a:pt x="1640542" y="628672"/>
                    <a:pt x="2050677" y="708019"/>
                  </a:cubicBezTo>
                  <a:cubicBezTo>
                    <a:pt x="2415073" y="778211"/>
                    <a:pt x="2791666" y="849928"/>
                    <a:pt x="3146913" y="982682"/>
                  </a:cubicBezTo>
                  <a:cubicBezTo>
                    <a:pt x="3686645" y="1182957"/>
                    <a:pt x="4224662" y="1410698"/>
                    <a:pt x="4752602" y="1642730"/>
                  </a:cubicBezTo>
                  <a:lnTo>
                    <a:pt x="5174196" y="1829780"/>
                  </a:lnTo>
                  <a:lnTo>
                    <a:pt x="5174196" y="1848116"/>
                  </a:lnTo>
                  <a:lnTo>
                    <a:pt x="4751244" y="1660564"/>
                  </a:lnTo>
                  <a:cubicBezTo>
                    <a:pt x="4221803" y="1427673"/>
                    <a:pt x="3682071" y="1198216"/>
                    <a:pt x="3142339" y="997941"/>
                  </a:cubicBezTo>
                  <a:cubicBezTo>
                    <a:pt x="2787092" y="865187"/>
                    <a:pt x="2410499" y="793470"/>
                    <a:pt x="2047628" y="724804"/>
                  </a:cubicBezTo>
                  <a:cubicBezTo>
                    <a:pt x="1635968" y="645457"/>
                    <a:pt x="1209061" y="563058"/>
                    <a:pt x="811123" y="393683"/>
                  </a:cubicBezTo>
                  <a:cubicBezTo>
                    <a:pt x="535158" y="276189"/>
                    <a:pt x="265292" y="141909"/>
                    <a:pt x="0" y="0"/>
                  </a:cubicBezTo>
                  <a:close/>
                </a:path>
              </a:pathLst>
            </a:custGeom>
            <a:solidFill>
              <a:srgbClr val="BFC1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98" name="Freeform: Shape 97"/>
            <p:cNvSpPr>
              <a:spLocks/>
            </p:cNvSpPr>
            <p:nvPr userDrawn="1"/>
          </p:nvSpPr>
          <p:spPr bwMode="auto">
            <a:xfrm>
              <a:off x="7431084" y="1"/>
              <a:ext cx="4762117" cy="1646199"/>
            </a:xfrm>
            <a:custGeom>
              <a:avLst/>
              <a:gdLst>
                <a:gd name="connsiteX0" fmla="*/ 0 w 4762117"/>
                <a:gd name="connsiteY0" fmla="*/ 0 h 1646199"/>
                <a:gd name="connsiteX1" fmla="*/ 38126 w 4762117"/>
                <a:gd name="connsiteY1" fmla="*/ 0 h 1646199"/>
                <a:gd name="connsiteX2" fmla="*/ 465129 w 4762117"/>
                <a:gd name="connsiteY2" fmla="*/ 195245 h 1646199"/>
                <a:gd name="connsiteX3" fmla="*/ 1711065 w 4762117"/>
                <a:gd name="connsiteY3" fmla="*/ 533873 h 1646199"/>
                <a:gd name="connsiteX4" fmla="*/ 2807549 w 4762117"/>
                <a:gd name="connsiteY4" fmla="*/ 813012 h 1646199"/>
                <a:gd name="connsiteX5" fmla="*/ 4357844 w 4762117"/>
                <a:gd name="connsiteY5" fmla="*/ 1449012 h 1646199"/>
                <a:gd name="connsiteX6" fmla="*/ 4762117 w 4762117"/>
                <a:gd name="connsiteY6" fmla="*/ 1627882 h 1646199"/>
                <a:gd name="connsiteX7" fmla="*/ 4762117 w 4762117"/>
                <a:gd name="connsiteY7" fmla="*/ 1646199 h 1646199"/>
                <a:gd name="connsiteX8" fmla="*/ 4356677 w 4762117"/>
                <a:gd name="connsiteY8" fmla="*/ 1466863 h 1646199"/>
                <a:gd name="connsiteX9" fmla="*/ 2801449 w 4762117"/>
                <a:gd name="connsiteY9" fmla="*/ 829791 h 1646199"/>
                <a:gd name="connsiteX10" fmla="*/ 1706490 w 4762117"/>
                <a:gd name="connsiteY10" fmla="*/ 550652 h 1646199"/>
                <a:gd name="connsiteX11" fmla="*/ 457504 w 4762117"/>
                <a:gd name="connsiteY11" fmla="*/ 210499 h 1646199"/>
                <a:gd name="connsiteX12" fmla="*/ 0 w 4762117"/>
                <a:gd name="connsiteY12" fmla="*/ 0 h 1646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762117" h="1646199">
                  <a:moveTo>
                    <a:pt x="0" y="0"/>
                  </a:moveTo>
                  <a:cubicBezTo>
                    <a:pt x="0" y="0"/>
                    <a:pt x="0" y="0"/>
                    <a:pt x="38126" y="0"/>
                  </a:cubicBezTo>
                  <a:cubicBezTo>
                    <a:pt x="178427" y="68641"/>
                    <a:pt x="320253" y="134231"/>
                    <a:pt x="465129" y="195245"/>
                  </a:cubicBezTo>
                  <a:cubicBezTo>
                    <a:pt x="866208" y="366084"/>
                    <a:pt x="1294736" y="451504"/>
                    <a:pt x="1711065" y="533873"/>
                  </a:cubicBezTo>
                  <a:cubicBezTo>
                    <a:pt x="2074018" y="607090"/>
                    <a:pt x="2450696" y="681832"/>
                    <a:pt x="2807549" y="813012"/>
                  </a:cubicBezTo>
                  <a:cubicBezTo>
                    <a:pt x="3327960" y="1006350"/>
                    <a:pt x="3847513" y="1225429"/>
                    <a:pt x="4357844" y="1449012"/>
                  </a:cubicBezTo>
                  <a:lnTo>
                    <a:pt x="4762117" y="1627882"/>
                  </a:lnTo>
                  <a:lnTo>
                    <a:pt x="4762117" y="1646199"/>
                  </a:lnTo>
                  <a:lnTo>
                    <a:pt x="4356677" y="1466863"/>
                  </a:lnTo>
                  <a:cubicBezTo>
                    <a:pt x="3845130" y="1242494"/>
                    <a:pt x="3324147" y="1021985"/>
                    <a:pt x="2801449" y="829791"/>
                  </a:cubicBezTo>
                  <a:cubicBezTo>
                    <a:pt x="2446121" y="697085"/>
                    <a:pt x="2070968" y="622343"/>
                    <a:pt x="1706490" y="550652"/>
                  </a:cubicBezTo>
                  <a:cubicBezTo>
                    <a:pt x="1290161" y="468283"/>
                    <a:pt x="860108" y="381338"/>
                    <a:pt x="457504" y="210499"/>
                  </a:cubicBezTo>
                  <a:cubicBezTo>
                    <a:pt x="303478" y="144908"/>
                    <a:pt x="150977" y="74742"/>
                    <a:pt x="0" y="0"/>
                  </a:cubicBezTo>
                  <a:close/>
                </a:path>
              </a:pathLst>
            </a:custGeom>
            <a:solidFill>
              <a:srgbClr val="BFC1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96" name="Freeform: Shape 95"/>
            <p:cNvSpPr>
              <a:spLocks/>
            </p:cNvSpPr>
            <p:nvPr userDrawn="1"/>
          </p:nvSpPr>
          <p:spPr bwMode="auto">
            <a:xfrm>
              <a:off x="7897682" y="0"/>
              <a:ext cx="4295519" cy="1446479"/>
            </a:xfrm>
            <a:custGeom>
              <a:avLst/>
              <a:gdLst>
                <a:gd name="connsiteX0" fmla="*/ 0 w 4295519"/>
                <a:gd name="connsiteY0" fmla="*/ 0 h 1446479"/>
                <a:gd name="connsiteX1" fmla="*/ 42701 w 4295519"/>
                <a:gd name="connsiteY1" fmla="*/ 0 h 1446479"/>
                <a:gd name="connsiteX2" fmla="*/ 50326 w 4295519"/>
                <a:gd name="connsiteY2" fmla="*/ 3053 h 1446479"/>
                <a:gd name="connsiteX3" fmla="*/ 1310004 w 4295519"/>
                <a:gd name="connsiteY3" fmla="*/ 355626 h 1446479"/>
                <a:gd name="connsiteX4" fmla="*/ 2414128 w 4295519"/>
                <a:gd name="connsiteY4" fmla="*/ 645621 h 1446479"/>
                <a:gd name="connsiteX5" fmla="*/ 3908684 w 4295519"/>
                <a:gd name="connsiteY5" fmla="*/ 1256685 h 1446479"/>
                <a:gd name="connsiteX6" fmla="*/ 4295519 w 4295519"/>
                <a:gd name="connsiteY6" fmla="*/ 1427524 h 1446479"/>
                <a:gd name="connsiteX7" fmla="*/ 4295519 w 4295519"/>
                <a:gd name="connsiteY7" fmla="*/ 1446479 h 1446479"/>
                <a:gd name="connsiteX8" fmla="*/ 3410546 w 4295519"/>
                <a:gd name="connsiteY8" fmla="*/ 1061153 h 1446479"/>
                <a:gd name="connsiteX9" fmla="*/ 2408027 w 4295519"/>
                <a:gd name="connsiteY9" fmla="*/ 660884 h 1446479"/>
                <a:gd name="connsiteX10" fmla="*/ 1306953 w 4295519"/>
                <a:gd name="connsiteY10" fmla="*/ 372415 h 1446479"/>
                <a:gd name="connsiteX11" fmla="*/ 44226 w 4295519"/>
                <a:gd name="connsiteY11" fmla="*/ 18316 h 1446479"/>
                <a:gd name="connsiteX12" fmla="*/ 0 w 4295519"/>
                <a:gd name="connsiteY12" fmla="*/ 0 h 1446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95519" h="1446479">
                  <a:moveTo>
                    <a:pt x="0" y="0"/>
                  </a:moveTo>
                  <a:cubicBezTo>
                    <a:pt x="0" y="0"/>
                    <a:pt x="0" y="0"/>
                    <a:pt x="42701" y="0"/>
                  </a:cubicBezTo>
                  <a:cubicBezTo>
                    <a:pt x="45751" y="1526"/>
                    <a:pt x="47276" y="1526"/>
                    <a:pt x="50326" y="3053"/>
                  </a:cubicBezTo>
                  <a:cubicBezTo>
                    <a:pt x="455985" y="175523"/>
                    <a:pt x="890619" y="267101"/>
                    <a:pt x="1310004" y="355626"/>
                  </a:cubicBezTo>
                  <a:cubicBezTo>
                    <a:pt x="1676012" y="431940"/>
                    <a:pt x="2055745" y="512833"/>
                    <a:pt x="2414128" y="645621"/>
                  </a:cubicBezTo>
                  <a:cubicBezTo>
                    <a:pt x="2915101" y="831065"/>
                    <a:pt x="3416075" y="1041407"/>
                    <a:pt x="3908684" y="1256685"/>
                  </a:cubicBezTo>
                  <a:lnTo>
                    <a:pt x="4295519" y="1427524"/>
                  </a:lnTo>
                  <a:lnTo>
                    <a:pt x="4295519" y="1446479"/>
                  </a:lnTo>
                  <a:lnTo>
                    <a:pt x="3410546" y="1061153"/>
                  </a:lnTo>
                  <a:cubicBezTo>
                    <a:pt x="3078280" y="920734"/>
                    <a:pt x="2743535" y="785276"/>
                    <a:pt x="2408027" y="660884"/>
                  </a:cubicBezTo>
                  <a:cubicBezTo>
                    <a:pt x="2049645" y="528096"/>
                    <a:pt x="1672961" y="448729"/>
                    <a:pt x="1306953" y="372415"/>
                  </a:cubicBezTo>
                  <a:cubicBezTo>
                    <a:pt x="886044" y="283890"/>
                    <a:pt x="451410" y="192313"/>
                    <a:pt x="44226" y="18316"/>
                  </a:cubicBezTo>
                  <a:cubicBezTo>
                    <a:pt x="28976" y="12210"/>
                    <a:pt x="15251" y="6105"/>
                    <a:pt x="0" y="0"/>
                  </a:cubicBezTo>
                  <a:close/>
                </a:path>
              </a:pathLst>
            </a:custGeom>
            <a:solidFill>
              <a:srgbClr val="BEC0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94" name="Freeform: Shape 93"/>
            <p:cNvSpPr>
              <a:spLocks/>
            </p:cNvSpPr>
            <p:nvPr userDrawn="1"/>
          </p:nvSpPr>
          <p:spPr bwMode="auto">
            <a:xfrm>
              <a:off x="8503776" y="1"/>
              <a:ext cx="3689425" cy="1246175"/>
            </a:xfrm>
            <a:custGeom>
              <a:avLst/>
              <a:gdLst>
                <a:gd name="connsiteX0" fmla="*/ 0 w 3689425"/>
                <a:gd name="connsiteY0" fmla="*/ 0 h 1246175"/>
                <a:gd name="connsiteX1" fmla="*/ 62516 w 3689425"/>
                <a:gd name="connsiteY1" fmla="*/ 0 h 1246175"/>
                <a:gd name="connsiteX2" fmla="*/ 766959 w 3689425"/>
                <a:gd name="connsiteY2" fmla="*/ 172406 h 1246175"/>
                <a:gd name="connsiteX3" fmla="*/ 1880040 w 3689425"/>
                <a:gd name="connsiteY3" fmla="*/ 476024 h 1246175"/>
                <a:gd name="connsiteX4" fmla="*/ 2842931 w 3689425"/>
                <a:gd name="connsiteY4" fmla="*/ 859933 h 1246175"/>
                <a:gd name="connsiteX5" fmla="*/ 3689425 w 3689425"/>
                <a:gd name="connsiteY5" fmla="*/ 1227826 h 1246175"/>
                <a:gd name="connsiteX6" fmla="*/ 3689425 w 3689425"/>
                <a:gd name="connsiteY6" fmla="*/ 1246175 h 1246175"/>
                <a:gd name="connsiteX7" fmla="*/ 2839882 w 3689425"/>
                <a:gd name="connsiteY7" fmla="*/ 877288 h 1246175"/>
                <a:gd name="connsiteX8" fmla="*/ 1873941 w 3689425"/>
                <a:gd name="connsiteY8" fmla="*/ 491282 h 1246175"/>
                <a:gd name="connsiteX9" fmla="*/ 763909 w 3689425"/>
                <a:gd name="connsiteY9" fmla="*/ 189189 h 1246175"/>
                <a:gd name="connsiteX10" fmla="*/ 0 w 3689425"/>
                <a:gd name="connsiteY10" fmla="*/ 0 h 1246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689425" h="1246175">
                  <a:moveTo>
                    <a:pt x="0" y="0"/>
                  </a:moveTo>
                  <a:cubicBezTo>
                    <a:pt x="0" y="0"/>
                    <a:pt x="0" y="0"/>
                    <a:pt x="62516" y="0"/>
                  </a:cubicBezTo>
                  <a:cubicBezTo>
                    <a:pt x="297330" y="65606"/>
                    <a:pt x="533669" y="119006"/>
                    <a:pt x="766959" y="172406"/>
                  </a:cubicBezTo>
                  <a:cubicBezTo>
                    <a:pt x="1135953" y="254795"/>
                    <a:pt x="1518670" y="340235"/>
                    <a:pt x="1880040" y="476024"/>
                  </a:cubicBezTo>
                  <a:cubicBezTo>
                    <a:pt x="2201766" y="595793"/>
                    <a:pt x="2523492" y="725479"/>
                    <a:pt x="2842931" y="859933"/>
                  </a:cubicBezTo>
                  <a:lnTo>
                    <a:pt x="3689425" y="1227826"/>
                  </a:lnTo>
                  <a:lnTo>
                    <a:pt x="3689425" y="1246175"/>
                  </a:lnTo>
                  <a:lnTo>
                    <a:pt x="2839882" y="877288"/>
                  </a:lnTo>
                  <a:cubicBezTo>
                    <a:pt x="2519681" y="742262"/>
                    <a:pt x="2197192" y="611813"/>
                    <a:pt x="1873941" y="491282"/>
                  </a:cubicBezTo>
                  <a:cubicBezTo>
                    <a:pt x="1512571" y="357018"/>
                    <a:pt x="1131379" y="271578"/>
                    <a:pt x="763909" y="189189"/>
                  </a:cubicBezTo>
                  <a:cubicBezTo>
                    <a:pt x="510798" y="131212"/>
                    <a:pt x="253112" y="73235"/>
                    <a:pt x="0" y="0"/>
                  </a:cubicBezTo>
                  <a:close/>
                </a:path>
              </a:pathLst>
            </a:custGeom>
            <a:solidFill>
              <a:srgbClr val="BEC0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92" name="Freeform: Shape 91"/>
            <p:cNvSpPr>
              <a:spLocks/>
            </p:cNvSpPr>
            <p:nvPr userDrawn="1"/>
          </p:nvSpPr>
          <p:spPr bwMode="auto">
            <a:xfrm>
              <a:off x="9318316" y="0"/>
              <a:ext cx="2874885" cy="1047517"/>
            </a:xfrm>
            <a:custGeom>
              <a:avLst/>
              <a:gdLst>
                <a:gd name="connsiteX0" fmla="*/ 0 w 2874885"/>
                <a:gd name="connsiteY0" fmla="*/ 0 h 1047517"/>
                <a:gd name="connsiteX1" fmla="*/ 74706 w 2874885"/>
                <a:gd name="connsiteY1" fmla="*/ 0 h 1047517"/>
                <a:gd name="connsiteX2" fmla="*/ 1137358 w 2874885"/>
                <a:gd name="connsiteY2" fmla="*/ 306963 h 1047517"/>
                <a:gd name="connsiteX3" fmla="*/ 2063176 w 2874885"/>
                <a:gd name="connsiteY3" fmla="*/ 677113 h 1047517"/>
                <a:gd name="connsiteX4" fmla="*/ 2874885 w 2874885"/>
                <a:gd name="connsiteY4" fmla="*/ 1029085 h 1047517"/>
                <a:gd name="connsiteX5" fmla="*/ 2874885 w 2874885"/>
                <a:gd name="connsiteY5" fmla="*/ 1047517 h 1047517"/>
                <a:gd name="connsiteX6" fmla="*/ 2060127 w 2874885"/>
                <a:gd name="connsiteY6" fmla="*/ 695057 h 1047517"/>
                <a:gd name="connsiteX7" fmla="*/ 1131259 w 2874885"/>
                <a:gd name="connsiteY7" fmla="*/ 322235 h 1047517"/>
                <a:gd name="connsiteX8" fmla="*/ 7623 w 2874885"/>
                <a:gd name="connsiteY8" fmla="*/ 1527 h 1047517"/>
                <a:gd name="connsiteX9" fmla="*/ 0 w 2874885"/>
                <a:gd name="connsiteY9" fmla="*/ 0 h 1047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74885" h="1047517">
                  <a:moveTo>
                    <a:pt x="0" y="0"/>
                  </a:moveTo>
                  <a:cubicBezTo>
                    <a:pt x="0" y="0"/>
                    <a:pt x="0" y="0"/>
                    <a:pt x="74706" y="0"/>
                  </a:cubicBezTo>
                  <a:cubicBezTo>
                    <a:pt x="428415" y="85522"/>
                    <a:pt x="791272" y="175626"/>
                    <a:pt x="1137358" y="306963"/>
                  </a:cubicBezTo>
                  <a:cubicBezTo>
                    <a:pt x="1446854" y="423029"/>
                    <a:pt x="1755968" y="547876"/>
                    <a:pt x="2063176" y="677113"/>
                  </a:cubicBezTo>
                  <a:lnTo>
                    <a:pt x="2874885" y="1029085"/>
                  </a:lnTo>
                  <a:lnTo>
                    <a:pt x="2874885" y="1047517"/>
                  </a:lnTo>
                  <a:lnTo>
                    <a:pt x="2060127" y="695057"/>
                  </a:lnTo>
                  <a:cubicBezTo>
                    <a:pt x="1751775" y="565438"/>
                    <a:pt x="1441517" y="439828"/>
                    <a:pt x="1131259" y="322235"/>
                  </a:cubicBezTo>
                  <a:cubicBezTo>
                    <a:pt x="765353" y="184789"/>
                    <a:pt x="379627" y="91631"/>
                    <a:pt x="7623" y="1527"/>
                  </a:cubicBezTo>
                  <a:cubicBezTo>
                    <a:pt x="4574" y="1527"/>
                    <a:pt x="3049" y="0"/>
                    <a:pt x="0" y="0"/>
                  </a:cubicBezTo>
                  <a:close/>
                </a:path>
              </a:pathLst>
            </a:custGeom>
            <a:solidFill>
              <a:srgbClr val="BDBF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88" name="Freeform: Shape 87"/>
            <p:cNvSpPr>
              <a:spLocks/>
            </p:cNvSpPr>
            <p:nvPr userDrawn="1"/>
          </p:nvSpPr>
          <p:spPr bwMode="auto">
            <a:xfrm>
              <a:off x="10070322" y="1"/>
              <a:ext cx="2122879" cy="848745"/>
            </a:xfrm>
            <a:custGeom>
              <a:avLst/>
              <a:gdLst>
                <a:gd name="connsiteX0" fmla="*/ 0 w 2122879"/>
                <a:gd name="connsiteY0" fmla="*/ 0 h 848745"/>
                <a:gd name="connsiteX1" fmla="*/ 59450 w 2122879"/>
                <a:gd name="connsiteY1" fmla="*/ 0 h 848745"/>
                <a:gd name="connsiteX2" fmla="*/ 457306 w 2122879"/>
                <a:gd name="connsiteY2" fmla="*/ 135875 h 848745"/>
                <a:gd name="connsiteX3" fmla="*/ 1346575 w 2122879"/>
                <a:gd name="connsiteY3" fmla="*/ 494263 h 848745"/>
                <a:gd name="connsiteX4" fmla="*/ 2122879 w 2122879"/>
                <a:gd name="connsiteY4" fmla="*/ 828990 h 848745"/>
                <a:gd name="connsiteX5" fmla="*/ 2122879 w 2122879"/>
                <a:gd name="connsiteY5" fmla="*/ 848745 h 848745"/>
                <a:gd name="connsiteX6" fmla="*/ 1343526 w 2122879"/>
                <a:gd name="connsiteY6" fmla="*/ 512010 h 848745"/>
                <a:gd name="connsiteX7" fmla="*/ 451208 w 2122879"/>
                <a:gd name="connsiteY7" fmla="*/ 152668 h 848745"/>
                <a:gd name="connsiteX8" fmla="*/ 0 w 2122879"/>
                <a:gd name="connsiteY8" fmla="*/ 0 h 848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22879" h="848745">
                  <a:moveTo>
                    <a:pt x="0" y="0"/>
                  </a:moveTo>
                  <a:cubicBezTo>
                    <a:pt x="0" y="0"/>
                    <a:pt x="0" y="0"/>
                    <a:pt x="59450" y="0"/>
                  </a:cubicBezTo>
                  <a:cubicBezTo>
                    <a:pt x="193593" y="41220"/>
                    <a:pt x="327736" y="85494"/>
                    <a:pt x="457306" y="135875"/>
                  </a:cubicBezTo>
                  <a:cubicBezTo>
                    <a:pt x="754555" y="249612"/>
                    <a:pt x="1051422" y="370220"/>
                    <a:pt x="1346575" y="494263"/>
                  </a:cubicBezTo>
                  <a:lnTo>
                    <a:pt x="2122879" y="828990"/>
                  </a:lnTo>
                  <a:lnTo>
                    <a:pt x="2122879" y="848745"/>
                  </a:lnTo>
                  <a:lnTo>
                    <a:pt x="1343526" y="512010"/>
                  </a:lnTo>
                  <a:cubicBezTo>
                    <a:pt x="1047230" y="387395"/>
                    <a:pt x="749219" y="266406"/>
                    <a:pt x="451208" y="152668"/>
                  </a:cubicBezTo>
                  <a:cubicBezTo>
                    <a:pt x="303346" y="96181"/>
                    <a:pt x="152435" y="45800"/>
                    <a:pt x="0" y="0"/>
                  </a:cubicBezTo>
                  <a:close/>
                </a:path>
              </a:pathLst>
            </a:custGeom>
            <a:solidFill>
              <a:srgbClr val="BDBF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90" name="Freeform: Shape 89"/>
            <p:cNvSpPr>
              <a:spLocks/>
            </p:cNvSpPr>
            <p:nvPr userDrawn="1"/>
          </p:nvSpPr>
          <p:spPr bwMode="auto">
            <a:xfrm>
              <a:off x="10636331" y="0"/>
              <a:ext cx="1556869" cy="650052"/>
            </a:xfrm>
            <a:custGeom>
              <a:avLst/>
              <a:gdLst>
                <a:gd name="connsiteX0" fmla="*/ 0 w 1556869"/>
                <a:gd name="connsiteY0" fmla="*/ 0 h 650052"/>
                <a:gd name="connsiteX1" fmla="*/ 48810 w 1556869"/>
                <a:gd name="connsiteY1" fmla="*/ 0 h 650052"/>
                <a:gd name="connsiteX2" fmla="*/ 858181 w 1556869"/>
                <a:gd name="connsiteY2" fmla="*/ 329785 h 650052"/>
                <a:gd name="connsiteX3" fmla="*/ 1556869 w 1556869"/>
                <a:gd name="connsiteY3" fmla="*/ 630286 h 650052"/>
                <a:gd name="connsiteX4" fmla="*/ 1556869 w 1556869"/>
                <a:gd name="connsiteY4" fmla="*/ 650052 h 650052"/>
                <a:gd name="connsiteX5" fmla="*/ 833776 w 1556869"/>
                <a:gd name="connsiteY5" fmla="*/ 338558 h 650052"/>
                <a:gd name="connsiteX6" fmla="*/ 0 w 1556869"/>
                <a:gd name="connsiteY6" fmla="*/ 0 h 650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56869" h="650052">
                  <a:moveTo>
                    <a:pt x="0" y="0"/>
                  </a:moveTo>
                  <a:cubicBezTo>
                    <a:pt x="0" y="0"/>
                    <a:pt x="0" y="0"/>
                    <a:pt x="48810" y="0"/>
                  </a:cubicBezTo>
                  <a:cubicBezTo>
                    <a:pt x="318791" y="106050"/>
                    <a:pt x="589154" y="216677"/>
                    <a:pt x="858181" y="329785"/>
                  </a:cubicBezTo>
                  <a:lnTo>
                    <a:pt x="1556869" y="630286"/>
                  </a:lnTo>
                  <a:lnTo>
                    <a:pt x="1556869" y="650052"/>
                  </a:lnTo>
                  <a:lnTo>
                    <a:pt x="833776" y="338558"/>
                  </a:lnTo>
                  <a:cubicBezTo>
                    <a:pt x="556741" y="222018"/>
                    <a:pt x="278371" y="108339"/>
                    <a:pt x="0" y="0"/>
                  </a:cubicBezTo>
                  <a:close/>
                </a:path>
              </a:pathLst>
            </a:custGeom>
            <a:solidFill>
              <a:srgbClr val="BCBE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86" name="Freeform: Shape 85"/>
            <p:cNvSpPr>
              <a:spLocks/>
            </p:cNvSpPr>
            <p:nvPr userDrawn="1"/>
          </p:nvSpPr>
          <p:spPr bwMode="auto">
            <a:xfrm>
              <a:off x="11128582" y="1"/>
              <a:ext cx="1064618" cy="451877"/>
            </a:xfrm>
            <a:custGeom>
              <a:avLst/>
              <a:gdLst>
                <a:gd name="connsiteX0" fmla="*/ 0 w 1064618"/>
                <a:gd name="connsiteY0" fmla="*/ 0 h 451877"/>
                <a:gd name="connsiteX1" fmla="*/ 47302 w 1064618"/>
                <a:gd name="connsiteY1" fmla="*/ 0 h 451877"/>
                <a:gd name="connsiteX2" fmla="*/ 609587 w 1064618"/>
                <a:gd name="connsiteY2" fmla="*/ 234961 h 451877"/>
                <a:gd name="connsiteX3" fmla="*/ 1064618 w 1064618"/>
                <a:gd name="connsiteY3" fmla="*/ 431330 h 451877"/>
                <a:gd name="connsiteX4" fmla="*/ 1064618 w 1064618"/>
                <a:gd name="connsiteY4" fmla="*/ 451877 h 451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4618" h="451877">
                  <a:moveTo>
                    <a:pt x="0" y="0"/>
                  </a:moveTo>
                  <a:cubicBezTo>
                    <a:pt x="0" y="0"/>
                    <a:pt x="0" y="0"/>
                    <a:pt x="47302" y="0"/>
                  </a:cubicBezTo>
                  <a:cubicBezTo>
                    <a:pt x="234985" y="76987"/>
                    <a:pt x="422667" y="155498"/>
                    <a:pt x="609587" y="234961"/>
                  </a:cubicBezTo>
                  <a:lnTo>
                    <a:pt x="1064618" y="431330"/>
                  </a:lnTo>
                  <a:lnTo>
                    <a:pt x="1064618" y="451877"/>
                  </a:lnTo>
                  <a:close/>
                </a:path>
              </a:pathLst>
            </a:custGeom>
            <a:solidFill>
              <a:srgbClr val="BCBE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81" name="Freeform: Shape 80"/>
            <p:cNvSpPr>
              <a:spLocks/>
            </p:cNvSpPr>
            <p:nvPr userDrawn="1"/>
          </p:nvSpPr>
          <p:spPr bwMode="auto">
            <a:xfrm>
              <a:off x="11599989" y="0"/>
              <a:ext cx="593211" cy="254233"/>
            </a:xfrm>
            <a:custGeom>
              <a:avLst/>
              <a:gdLst>
                <a:gd name="connsiteX0" fmla="*/ 0 w 593211"/>
                <a:gd name="connsiteY0" fmla="*/ 0 h 254233"/>
                <a:gd name="connsiteX1" fmla="*/ 47308 w 593211"/>
                <a:gd name="connsiteY1" fmla="*/ 0 h 254233"/>
                <a:gd name="connsiteX2" fmla="*/ 593211 w 593211"/>
                <a:gd name="connsiteY2" fmla="*/ 234288 h 254233"/>
                <a:gd name="connsiteX3" fmla="*/ 593211 w 593211"/>
                <a:gd name="connsiteY3" fmla="*/ 254233 h 254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3211" h="254233">
                  <a:moveTo>
                    <a:pt x="0" y="0"/>
                  </a:moveTo>
                  <a:cubicBezTo>
                    <a:pt x="0" y="0"/>
                    <a:pt x="0" y="0"/>
                    <a:pt x="47308" y="0"/>
                  </a:cubicBezTo>
                  <a:lnTo>
                    <a:pt x="593211" y="234288"/>
                  </a:lnTo>
                  <a:lnTo>
                    <a:pt x="593211" y="254233"/>
                  </a:lnTo>
                  <a:close/>
                </a:path>
              </a:pathLst>
            </a:custGeom>
            <a:solidFill>
              <a:srgbClr val="BBBD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83" name="Freeform: Shape 82"/>
            <p:cNvSpPr>
              <a:spLocks/>
            </p:cNvSpPr>
            <p:nvPr userDrawn="1"/>
          </p:nvSpPr>
          <p:spPr bwMode="auto">
            <a:xfrm>
              <a:off x="12063380" y="0"/>
              <a:ext cx="129821" cy="55510"/>
            </a:xfrm>
            <a:custGeom>
              <a:avLst/>
              <a:gdLst>
                <a:gd name="connsiteX0" fmla="*/ 0 w 129821"/>
                <a:gd name="connsiteY0" fmla="*/ 0 h 55510"/>
                <a:gd name="connsiteX1" fmla="*/ 47417 w 129821"/>
                <a:gd name="connsiteY1" fmla="*/ 0 h 55510"/>
                <a:gd name="connsiteX2" fmla="*/ 129821 w 129821"/>
                <a:gd name="connsiteY2" fmla="*/ 35410 h 55510"/>
                <a:gd name="connsiteX3" fmla="*/ 129821 w 129821"/>
                <a:gd name="connsiteY3" fmla="*/ 55510 h 55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821" h="55510">
                  <a:moveTo>
                    <a:pt x="0" y="0"/>
                  </a:moveTo>
                  <a:cubicBezTo>
                    <a:pt x="0" y="0"/>
                    <a:pt x="0" y="0"/>
                    <a:pt x="47417" y="0"/>
                  </a:cubicBezTo>
                  <a:lnTo>
                    <a:pt x="129821" y="35410"/>
                  </a:lnTo>
                  <a:lnTo>
                    <a:pt x="129821" y="55510"/>
                  </a:lnTo>
                  <a:close/>
                </a:path>
              </a:pathLst>
            </a:custGeom>
            <a:solidFill>
              <a:srgbClr val="BBBD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30" name="Freeform 19"/>
            <p:cNvSpPr>
              <a:spLocks/>
            </p:cNvSpPr>
            <p:nvPr userDrawn="1"/>
          </p:nvSpPr>
          <p:spPr bwMode="auto">
            <a:xfrm>
              <a:off x="-792" y="6070568"/>
              <a:ext cx="218066" cy="91396"/>
            </a:xfrm>
            <a:custGeom>
              <a:avLst/>
              <a:gdLst>
                <a:gd name="T0" fmla="*/ 0 w 143"/>
                <a:gd name="T1" fmla="*/ 0 h 60"/>
                <a:gd name="T2" fmla="*/ 0 w 143"/>
                <a:gd name="T3" fmla="*/ 2 h 60"/>
                <a:gd name="T4" fmla="*/ 138 w 143"/>
                <a:gd name="T5" fmla="*/ 60 h 60"/>
                <a:gd name="T6" fmla="*/ 143 w 143"/>
                <a:gd name="T7" fmla="*/ 59 h 60"/>
                <a:gd name="T8" fmla="*/ 0 w 143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60">
                  <a:moveTo>
                    <a:pt x="0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46" y="22"/>
                    <a:pt x="92" y="41"/>
                    <a:pt x="138" y="60"/>
                  </a:cubicBezTo>
                  <a:cubicBezTo>
                    <a:pt x="143" y="59"/>
                    <a:pt x="143" y="59"/>
                    <a:pt x="143" y="59"/>
                  </a:cubicBezTo>
                  <a:cubicBezTo>
                    <a:pt x="95" y="40"/>
                    <a:pt x="48" y="20"/>
                    <a:pt x="0" y="0"/>
                  </a:cubicBezTo>
                  <a:close/>
                </a:path>
              </a:pathLst>
            </a:custGeom>
            <a:solidFill>
              <a:srgbClr val="D6D8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1" name="Freeform 20"/>
            <p:cNvSpPr>
              <a:spLocks/>
            </p:cNvSpPr>
            <p:nvPr userDrawn="1"/>
          </p:nvSpPr>
          <p:spPr bwMode="auto">
            <a:xfrm>
              <a:off x="-792" y="5838072"/>
              <a:ext cx="582044" cy="259755"/>
            </a:xfrm>
            <a:custGeom>
              <a:avLst/>
              <a:gdLst>
                <a:gd name="T0" fmla="*/ 77 w 381"/>
                <a:gd name="T1" fmla="*/ 35 h 170"/>
                <a:gd name="T2" fmla="*/ 0 w 381"/>
                <a:gd name="T3" fmla="*/ 0 h 170"/>
                <a:gd name="T4" fmla="*/ 0 w 381"/>
                <a:gd name="T5" fmla="*/ 3 h 170"/>
                <a:gd name="T6" fmla="*/ 75 w 381"/>
                <a:gd name="T7" fmla="*/ 37 h 170"/>
                <a:gd name="T8" fmla="*/ 376 w 381"/>
                <a:gd name="T9" fmla="*/ 170 h 170"/>
                <a:gd name="T10" fmla="*/ 381 w 381"/>
                <a:gd name="T11" fmla="*/ 170 h 170"/>
                <a:gd name="T12" fmla="*/ 77 w 381"/>
                <a:gd name="T13" fmla="*/ 35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1" h="170">
                  <a:moveTo>
                    <a:pt x="77" y="35"/>
                  </a:moveTo>
                  <a:cubicBezTo>
                    <a:pt x="51" y="23"/>
                    <a:pt x="26" y="12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6" y="14"/>
                    <a:pt x="51" y="26"/>
                    <a:pt x="75" y="37"/>
                  </a:cubicBezTo>
                  <a:cubicBezTo>
                    <a:pt x="174" y="82"/>
                    <a:pt x="274" y="127"/>
                    <a:pt x="376" y="170"/>
                  </a:cubicBezTo>
                  <a:cubicBezTo>
                    <a:pt x="381" y="170"/>
                    <a:pt x="381" y="170"/>
                    <a:pt x="381" y="170"/>
                  </a:cubicBezTo>
                  <a:cubicBezTo>
                    <a:pt x="278" y="126"/>
                    <a:pt x="177" y="80"/>
                    <a:pt x="77" y="35"/>
                  </a:cubicBezTo>
                  <a:close/>
                </a:path>
              </a:pathLst>
            </a:custGeom>
            <a:solidFill>
              <a:srgbClr val="D6D7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2" name="Freeform 21"/>
            <p:cNvSpPr>
              <a:spLocks/>
            </p:cNvSpPr>
            <p:nvPr userDrawn="1"/>
          </p:nvSpPr>
          <p:spPr bwMode="auto">
            <a:xfrm>
              <a:off x="-792" y="5637644"/>
              <a:ext cx="920366" cy="400856"/>
            </a:xfrm>
            <a:custGeom>
              <a:avLst/>
              <a:gdLst>
                <a:gd name="T0" fmla="*/ 116 w 603"/>
                <a:gd name="T1" fmla="*/ 53 h 263"/>
                <a:gd name="T2" fmla="*/ 0 w 603"/>
                <a:gd name="T3" fmla="*/ 0 h 263"/>
                <a:gd name="T4" fmla="*/ 0 w 603"/>
                <a:gd name="T5" fmla="*/ 3 h 263"/>
                <a:gd name="T6" fmla="*/ 115 w 603"/>
                <a:gd name="T7" fmla="*/ 56 h 263"/>
                <a:gd name="T8" fmla="*/ 597 w 603"/>
                <a:gd name="T9" fmla="*/ 263 h 263"/>
                <a:gd name="T10" fmla="*/ 603 w 603"/>
                <a:gd name="T11" fmla="*/ 262 h 263"/>
                <a:gd name="T12" fmla="*/ 116 w 603"/>
                <a:gd name="T13" fmla="*/ 53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3" h="263">
                  <a:moveTo>
                    <a:pt x="116" y="53"/>
                  </a:moveTo>
                  <a:cubicBezTo>
                    <a:pt x="78" y="36"/>
                    <a:pt x="39" y="18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9" y="21"/>
                    <a:pt x="77" y="38"/>
                    <a:pt x="115" y="56"/>
                  </a:cubicBezTo>
                  <a:cubicBezTo>
                    <a:pt x="273" y="128"/>
                    <a:pt x="434" y="202"/>
                    <a:pt x="597" y="263"/>
                  </a:cubicBezTo>
                  <a:cubicBezTo>
                    <a:pt x="603" y="262"/>
                    <a:pt x="603" y="262"/>
                    <a:pt x="603" y="262"/>
                  </a:cubicBezTo>
                  <a:cubicBezTo>
                    <a:pt x="438" y="201"/>
                    <a:pt x="275" y="126"/>
                    <a:pt x="116" y="53"/>
                  </a:cubicBezTo>
                  <a:close/>
                </a:path>
              </a:pathLst>
            </a:custGeom>
            <a:solidFill>
              <a:srgbClr val="D5D7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3" name="Freeform 22"/>
            <p:cNvSpPr>
              <a:spLocks/>
            </p:cNvSpPr>
            <p:nvPr userDrawn="1"/>
          </p:nvSpPr>
          <p:spPr bwMode="auto">
            <a:xfrm>
              <a:off x="-792" y="5435612"/>
              <a:ext cx="1308395" cy="535544"/>
            </a:xfrm>
            <a:custGeom>
              <a:avLst/>
              <a:gdLst>
                <a:gd name="T0" fmla="*/ 158 w 858"/>
                <a:gd name="T1" fmla="*/ 72 h 351"/>
                <a:gd name="T2" fmla="*/ 0 w 858"/>
                <a:gd name="T3" fmla="*/ 0 h 351"/>
                <a:gd name="T4" fmla="*/ 0 w 858"/>
                <a:gd name="T5" fmla="*/ 4 h 351"/>
                <a:gd name="T6" fmla="*/ 157 w 858"/>
                <a:gd name="T7" fmla="*/ 75 h 351"/>
                <a:gd name="T8" fmla="*/ 850 w 858"/>
                <a:gd name="T9" fmla="*/ 351 h 351"/>
                <a:gd name="T10" fmla="*/ 858 w 858"/>
                <a:gd name="T11" fmla="*/ 350 h 351"/>
                <a:gd name="T12" fmla="*/ 158 w 858"/>
                <a:gd name="T13" fmla="*/ 72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8" h="351">
                  <a:moveTo>
                    <a:pt x="158" y="72"/>
                  </a:moveTo>
                  <a:cubicBezTo>
                    <a:pt x="106" y="48"/>
                    <a:pt x="53" y="24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53" y="27"/>
                    <a:pt x="105" y="51"/>
                    <a:pt x="157" y="75"/>
                  </a:cubicBezTo>
                  <a:cubicBezTo>
                    <a:pt x="382" y="179"/>
                    <a:pt x="614" y="287"/>
                    <a:pt x="850" y="351"/>
                  </a:cubicBezTo>
                  <a:cubicBezTo>
                    <a:pt x="858" y="350"/>
                    <a:pt x="858" y="350"/>
                    <a:pt x="858" y="350"/>
                  </a:cubicBezTo>
                  <a:cubicBezTo>
                    <a:pt x="619" y="286"/>
                    <a:pt x="385" y="177"/>
                    <a:pt x="158" y="72"/>
                  </a:cubicBezTo>
                  <a:close/>
                </a:path>
              </a:pathLst>
            </a:custGeom>
            <a:solidFill>
              <a:srgbClr val="D5D6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4" name="Freeform 23"/>
            <p:cNvSpPr>
              <a:spLocks/>
            </p:cNvSpPr>
            <p:nvPr userDrawn="1"/>
          </p:nvSpPr>
          <p:spPr bwMode="auto">
            <a:xfrm>
              <a:off x="-792" y="5233581"/>
              <a:ext cx="1858370" cy="642973"/>
            </a:xfrm>
            <a:custGeom>
              <a:avLst/>
              <a:gdLst>
                <a:gd name="T0" fmla="*/ 944 w 1218"/>
                <a:gd name="T1" fmla="*/ 377 h 421"/>
                <a:gd name="T2" fmla="*/ 201 w 1218"/>
                <a:gd name="T3" fmla="*/ 92 h 421"/>
                <a:gd name="T4" fmla="*/ 0 w 1218"/>
                <a:gd name="T5" fmla="*/ 0 h 421"/>
                <a:gd name="T6" fmla="*/ 0 w 1218"/>
                <a:gd name="T7" fmla="*/ 4 h 421"/>
                <a:gd name="T8" fmla="*/ 199 w 1218"/>
                <a:gd name="T9" fmla="*/ 95 h 421"/>
                <a:gd name="T10" fmla="*/ 943 w 1218"/>
                <a:gd name="T11" fmla="*/ 380 h 421"/>
                <a:gd name="T12" fmla="*/ 1205 w 1218"/>
                <a:gd name="T13" fmla="*/ 421 h 421"/>
                <a:gd name="T14" fmla="*/ 1218 w 1218"/>
                <a:gd name="T15" fmla="*/ 418 h 421"/>
                <a:gd name="T16" fmla="*/ 944 w 1218"/>
                <a:gd name="T17" fmla="*/ 377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18" h="421">
                  <a:moveTo>
                    <a:pt x="944" y="377"/>
                  </a:moveTo>
                  <a:cubicBezTo>
                    <a:pt x="691" y="321"/>
                    <a:pt x="442" y="204"/>
                    <a:pt x="201" y="92"/>
                  </a:cubicBezTo>
                  <a:cubicBezTo>
                    <a:pt x="135" y="61"/>
                    <a:pt x="67" y="3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67" y="33"/>
                    <a:pt x="134" y="65"/>
                    <a:pt x="199" y="95"/>
                  </a:cubicBezTo>
                  <a:cubicBezTo>
                    <a:pt x="441" y="208"/>
                    <a:pt x="690" y="324"/>
                    <a:pt x="943" y="380"/>
                  </a:cubicBezTo>
                  <a:cubicBezTo>
                    <a:pt x="1030" y="399"/>
                    <a:pt x="1117" y="412"/>
                    <a:pt x="1205" y="421"/>
                  </a:cubicBezTo>
                  <a:cubicBezTo>
                    <a:pt x="1218" y="418"/>
                    <a:pt x="1218" y="418"/>
                    <a:pt x="1218" y="418"/>
                  </a:cubicBezTo>
                  <a:cubicBezTo>
                    <a:pt x="1126" y="410"/>
                    <a:pt x="1034" y="397"/>
                    <a:pt x="944" y="377"/>
                  </a:cubicBezTo>
                  <a:close/>
                </a:path>
              </a:pathLst>
            </a:custGeom>
            <a:solidFill>
              <a:srgbClr val="D4D6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5" name="Freeform 24"/>
            <p:cNvSpPr>
              <a:spLocks/>
            </p:cNvSpPr>
            <p:nvPr userDrawn="1"/>
          </p:nvSpPr>
          <p:spPr bwMode="auto">
            <a:xfrm>
              <a:off x="-792" y="5034756"/>
              <a:ext cx="3202040" cy="710317"/>
            </a:xfrm>
            <a:custGeom>
              <a:avLst/>
              <a:gdLst>
                <a:gd name="T0" fmla="*/ 2068 w 2100"/>
                <a:gd name="T1" fmla="*/ 397 h 466"/>
                <a:gd name="T2" fmla="*/ 994 w 2100"/>
                <a:gd name="T3" fmla="*/ 394 h 466"/>
                <a:gd name="T4" fmla="*/ 245 w 2100"/>
                <a:gd name="T5" fmla="*/ 111 h 466"/>
                <a:gd name="T6" fmla="*/ 0 w 2100"/>
                <a:gd name="T7" fmla="*/ 0 h 466"/>
                <a:gd name="T8" fmla="*/ 0 w 2100"/>
                <a:gd name="T9" fmla="*/ 3 h 466"/>
                <a:gd name="T10" fmla="*/ 243 w 2100"/>
                <a:gd name="T11" fmla="*/ 114 h 466"/>
                <a:gd name="T12" fmla="*/ 994 w 2100"/>
                <a:gd name="T13" fmla="*/ 397 h 466"/>
                <a:gd name="T14" fmla="*/ 2059 w 2100"/>
                <a:gd name="T15" fmla="*/ 402 h 466"/>
                <a:gd name="T16" fmla="*/ 2100 w 2100"/>
                <a:gd name="T17" fmla="*/ 394 h 466"/>
                <a:gd name="T18" fmla="*/ 2068 w 2100"/>
                <a:gd name="T19" fmla="*/ 397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00" h="466">
                  <a:moveTo>
                    <a:pt x="2068" y="397"/>
                  </a:moveTo>
                  <a:cubicBezTo>
                    <a:pt x="1712" y="430"/>
                    <a:pt x="1344" y="463"/>
                    <a:pt x="994" y="394"/>
                  </a:cubicBezTo>
                  <a:cubicBezTo>
                    <a:pt x="740" y="343"/>
                    <a:pt x="488" y="225"/>
                    <a:pt x="245" y="111"/>
                  </a:cubicBezTo>
                  <a:cubicBezTo>
                    <a:pt x="164" y="74"/>
                    <a:pt x="81" y="35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81" y="38"/>
                    <a:pt x="163" y="77"/>
                    <a:pt x="243" y="114"/>
                  </a:cubicBezTo>
                  <a:cubicBezTo>
                    <a:pt x="487" y="229"/>
                    <a:pt x="738" y="347"/>
                    <a:pt x="994" y="397"/>
                  </a:cubicBezTo>
                  <a:cubicBezTo>
                    <a:pt x="1340" y="466"/>
                    <a:pt x="1705" y="434"/>
                    <a:pt x="2059" y="402"/>
                  </a:cubicBezTo>
                  <a:cubicBezTo>
                    <a:pt x="2100" y="394"/>
                    <a:pt x="2100" y="394"/>
                    <a:pt x="2100" y="394"/>
                  </a:cubicBezTo>
                  <a:cubicBezTo>
                    <a:pt x="2089" y="395"/>
                    <a:pt x="2078" y="396"/>
                    <a:pt x="2068" y="397"/>
                  </a:cubicBezTo>
                  <a:close/>
                </a:path>
              </a:pathLst>
            </a:custGeom>
            <a:solidFill>
              <a:srgbClr val="D4D5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8" name="Freeform: Shape 77"/>
            <p:cNvSpPr>
              <a:spLocks/>
            </p:cNvSpPr>
            <p:nvPr userDrawn="1"/>
          </p:nvSpPr>
          <p:spPr bwMode="auto">
            <a:xfrm>
              <a:off x="-1" y="29070"/>
              <a:ext cx="10203407" cy="4377143"/>
            </a:xfrm>
            <a:custGeom>
              <a:avLst/>
              <a:gdLst>
                <a:gd name="connsiteX0" fmla="*/ 0 w 10204800"/>
                <a:gd name="connsiteY0" fmla="*/ 0 h 4377740"/>
                <a:gd name="connsiteX1" fmla="*/ 12323 w 10204800"/>
                <a:gd name="connsiteY1" fmla="*/ 5280 h 4377740"/>
                <a:gd name="connsiteX2" fmla="*/ 1762640 w 10204800"/>
                <a:gd name="connsiteY2" fmla="*/ 755145 h 4377740"/>
                <a:gd name="connsiteX3" fmla="*/ 2185053 w 10204800"/>
                <a:gd name="connsiteY3" fmla="*/ 952075 h 4377740"/>
                <a:gd name="connsiteX4" fmla="*/ 3302846 w 10204800"/>
                <a:gd name="connsiteY4" fmla="*/ 1368834 h 4377740"/>
                <a:gd name="connsiteX5" fmla="*/ 4754605 w 10204800"/>
                <a:gd name="connsiteY5" fmla="*/ 1139845 h 4377740"/>
                <a:gd name="connsiteX6" fmla="*/ 5045872 w 10204800"/>
                <a:gd name="connsiteY6" fmla="*/ 1051303 h 4377740"/>
                <a:gd name="connsiteX7" fmla="*/ 5103820 w 10204800"/>
                <a:gd name="connsiteY7" fmla="*/ 1034511 h 4377740"/>
                <a:gd name="connsiteX8" fmla="*/ 6657751 w 10204800"/>
                <a:gd name="connsiteY8" fmla="*/ 930703 h 4377740"/>
                <a:gd name="connsiteX9" fmla="*/ 7763344 w 10204800"/>
                <a:gd name="connsiteY9" fmla="*/ 2187085 h 4377740"/>
                <a:gd name="connsiteX10" fmla="*/ 7827393 w 10204800"/>
                <a:gd name="connsiteY10" fmla="*/ 2300053 h 4377740"/>
                <a:gd name="connsiteX11" fmla="*/ 7960064 w 10204800"/>
                <a:gd name="connsiteY11" fmla="*/ 2535147 h 4377740"/>
                <a:gd name="connsiteX12" fmla="*/ 8937561 w 10204800"/>
                <a:gd name="connsiteY12" fmla="*/ 3800690 h 4377740"/>
                <a:gd name="connsiteX13" fmla="*/ 10005031 w 10204800"/>
                <a:gd name="connsiteY13" fmla="*/ 4296831 h 4377740"/>
                <a:gd name="connsiteX14" fmla="*/ 10204800 w 10204800"/>
                <a:gd name="connsiteY14" fmla="*/ 4373160 h 4377740"/>
                <a:gd name="connsiteX15" fmla="*/ 10181926 w 10204800"/>
                <a:gd name="connsiteY15" fmla="*/ 4377740 h 4377740"/>
                <a:gd name="connsiteX16" fmla="*/ 10000456 w 10204800"/>
                <a:gd name="connsiteY16" fmla="*/ 4307517 h 4377740"/>
                <a:gd name="connsiteX17" fmla="*/ 8931461 w 10204800"/>
                <a:gd name="connsiteY17" fmla="*/ 3809849 h 4377740"/>
                <a:gd name="connsiteX18" fmla="*/ 7949389 w 10204800"/>
                <a:gd name="connsiteY18" fmla="*/ 2541254 h 4377740"/>
                <a:gd name="connsiteX19" fmla="*/ 7816718 w 10204800"/>
                <a:gd name="connsiteY19" fmla="*/ 2306159 h 4377740"/>
                <a:gd name="connsiteX20" fmla="*/ 7752670 w 10204800"/>
                <a:gd name="connsiteY20" fmla="*/ 2193192 h 4377740"/>
                <a:gd name="connsiteX21" fmla="*/ 6653176 w 10204800"/>
                <a:gd name="connsiteY21" fmla="*/ 941389 h 4377740"/>
                <a:gd name="connsiteX22" fmla="*/ 5106870 w 10204800"/>
                <a:gd name="connsiteY22" fmla="*/ 1045197 h 4377740"/>
                <a:gd name="connsiteX23" fmla="*/ 5048921 w 10204800"/>
                <a:gd name="connsiteY23" fmla="*/ 1063516 h 4377740"/>
                <a:gd name="connsiteX24" fmla="*/ 4759180 w 10204800"/>
                <a:gd name="connsiteY24" fmla="*/ 1152058 h 4377740"/>
                <a:gd name="connsiteX25" fmla="*/ 3299796 w 10204800"/>
                <a:gd name="connsiteY25" fmla="*/ 1381046 h 4377740"/>
                <a:gd name="connsiteX26" fmla="*/ 2180478 w 10204800"/>
                <a:gd name="connsiteY26" fmla="*/ 962761 h 4377740"/>
                <a:gd name="connsiteX27" fmla="*/ 1758065 w 10204800"/>
                <a:gd name="connsiteY27" fmla="*/ 765831 h 4377740"/>
                <a:gd name="connsiteX28" fmla="*/ 292956 w 10204800"/>
                <a:gd name="connsiteY28" fmla="*/ 138154 h 4377740"/>
                <a:gd name="connsiteX29" fmla="*/ 0 w 10204800"/>
                <a:gd name="connsiteY29" fmla="*/ 12647 h 4377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204800" h="4377740">
                  <a:moveTo>
                    <a:pt x="0" y="0"/>
                  </a:moveTo>
                  <a:lnTo>
                    <a:pt x="12323" y="5280"/>
                  </a:lnTo>
                  <a:cubicBezTo>
                    <a:pt x="95671" y="40988"/>
                    <a:pt x="429065" y="183819"/>
                    <a:pt x="1762640" y="755145"/>
                  </a:cubicBezTo>
                  <a:cubicBezTo>
                    <a:pt x="1899886" y="813155"/>
                    <a:pt x="2038657" y="880325"/>
                    <a:pt x="2185053" y="952075"/>
                  </a:cubicBezTo>
                  <a:cubicBezTo>
                    <a:pt x="2551042" y="1127633"/>
                    <a:pt x="2929232" y="1310823"/>
                    <a:pt x="3302846" y="1368834"/>
                  </a:cubicBezTo>
                  <a:cubicBezTo>
                    <a:pt x="3784732" y="1443636"/>
                    <a:pt x="4278818" y="1289451"/>
                    <a:pt x="4754605" y="1139845"/>
                  </a:cubicBezTo>
                  <a:cubicBezTo>
                    <a:pt x="4855252" y="1109313"/>
                    <a:pt x="4949799" y="1078782"/>
                    <a:pt x="5045872" y="1051303"/>
                  </a:cubicBezTo>
                  <a:cubicBezTo>
                    <a:pt x="5045872" y="1051303"/>
                    <a:pt x="5045872" y="1051303"/>
                    <a:pt x="5103820" y="1034511"/>
                  </a:cubicBezTo>
                  <a:cubicBezTo>
                    <a:pt x="5602481" y="887958"/>
                    <a:pt x="6169765" y="723087"/>
                    <a:pt x="6657751" y="930703"/>
                  </a:cubicBezTo>
                  <a:cubicBezTo>
                    <a:pt x="7173186" y="1149005"/>
                    <a:pt x="7487327" y="1700103"/>
                    <a:pt x="7763344" y="2187085"/>
                  </a:cubicBezTo>
                  <a:cubicBezTo>
                    <a:pt x="7784694" y="2225250"/>
                    <a:pt x="7806043" y="2263415"/>
                    <a:pt x="7827393" y="2300053"/>
                  </a:cubicBezTo>
                  <a:cubicBezTo>
                    <a:pt x="7871616" y="2376382"/>
                    <a:pt x="7914315" y="2454238"/>
                    <a:pt x="7960064" y="2535147"/>
                  </a:cubicBezTo>
                  <a:cubicBezTo>
                    <a:pt x="8223881" y="3012970"/>
                    <a:pt x="8498373" y="3506058"/>
                    <a:pt x="8937561" y="3800690"/>
                  </a:cubicBezTo>
                  <a:cubicBezTo>
                    <a:pt x="9250177" y="4011359"/>
                    <a:pt x="9632941" y="4156385"/>
                    <a:pt x="10005031" y="4296831"/>
                  </a:cubicBezTo>
                  <a:cubicBezTo>
                    <a:pt x="10072129" y="4322783"/>
                    <a:pt x="10139227" y="4347208"/>
                    <a:pt x="10204800" y="4373160"/>
                  </a:cubicBezTo>
                  <a:cubicBezTo>
                    <a:pt x="10204800" y="4373160"/>
                    <a:pt x="10204800" y="4373160"/>
                    <a:pt x="10181926" y="4377740"/>
                  </a:cubicBezTo>
                  <a:cubicBezTo>
                    <a:pt x="10122452" y="4354841"/>
                    <a:pt x="10061454" y="4331943"/>
                    <a:pt x="10000456" y="4307517"/>
                  </a:cubicBezTo>
                  <a:cubicBezTo>
                    <a:pt x="9628366" y="4167071"/>
                    <a:pt x="9244077" y="4022045"/>
                    <a:pt x="8931461" y="3809849"/>
                  </a:cubicBezTo>
                  <a:cubicBezTo>
                    <a:pt x="8489224" y="3513691"/>
                    <a:pt x="8214732" y="3019076"/>
                    <a:pt x="7949389" y="2541254"/>
                  </a:cubicBezTo>
                  <a:cubicBezTo>
                    <a:pt x="7903641" y="2460345"/>
                    <a:pt x="7860942" y="2382489"/>
                    <a:pt x="7816718" y="2306159"/>
                  </a:cubicBezTo>
                  <a:cubicBezTo>
                    <a:pt x="7795369" y="2269521"/>
                    <a:pt x="7774019" y="2231356"/>
                    <a:pt x="7752670" y="2193192"/>
                  </a:cubicBezTo>
                  <a:cubicBezTo>
                    <a:pt x="7478178" y="1707736"/>
                    <a:pt x="7165561" y="1158164"/>
                    <a:pt x="6653176" y="941389"/>
                  </a:cubicBezTo>
                  <a:cubicBezTo>
                    <a:pt x="6168240" y="735299"/>
                    <a:pt x="5604006" y="900171"/>
                    <a:pt x="5106870" y="1045197"/>
                  </a:cubicBezTo>
                  <a:cubicBezTo>
                    <a:pt x="5106870" y="1045197"/>
                    <a:pt x="5106870" y="1045197"/>
                    <a:pt x="5048921" y="1063516"/>
                  </a:cubicBezTo>
                  <a:cubicBezTo>
                    <a:pt x="4954374" y="1090995"/>
                    <a:pt x="4858302" y="1120000"/>
                    <a:pt x="4759180" y="1152058"/>
                  </a:cubicBezTo>
                  <a:cubicBezTo>
                    <a:pt x="4280343" y="1301664"/>
                    <a:pt x="3786257" y="1455849"/>
                    <a:pt x="3299796" y="1381046"/>
                  </a:cubicBezTo>
                  <a:cubicBezTo>
                    <a:pt x="2926182" y="1323036"/>
                    <a:pt x="2546468" y="1139845"/>
                    <a:pt x="2180478" y="962761"/>
                  </a:cubicBezTo>
                  <a:cubicBezTo>
                    <a:pt x="2032557" y="891011"/>
                    <a:pt x="1895311" y="823841"/>
                    <a:pt x="1758065" y="765831"/>
                  </a:cubicBezTo>
                  <a:cubicBezTo>
                    <a:pt x="1758065" y="765831"/>
                    <a:pt x="1758065" y="765831"/>
                    <a:pt x="292956" y="138154"/>
                  </a:cubicBezTo>
                  <a:lnTo>
                    <a:pt x="0" y="12647"/>
                  </a:lnTo>
                  <a:close/>
                </a:path>
              </a:pathLst>
            </a:custGeom>
            <a:solidFill>
              <a:srgbClr val="C8C9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37" name="Freeform 26"/>
            <p:cNvSpPr>
              <a:spLocks/>
            </p:cNvSpPr>
            <p:nvPr userDrawn="1"/>
          </p:nvSpPr>
          <p:spPr bwMode="auto">
            <a:xfrm>
              <a:off x="366392" y="0"/>
              <a:ext cx="10178543" cy="4345283"/>
            </a:xfrm>
            <a:custGeom>
              <a:avLst/>
              <a:gdLst>
                <a:gd name="T0" fmla="*/ 6673 w 6676"/>
                <a:gd name="T1" fmla="*/ 2843 h 2847"/>
                <a:gd name="T2" fmla="*/ 6368 w 6676"/>
                <a:gd name="T3" fmla="*/ 2722 h 2847"/>
                <a:gd name="T4" fmla="*/ 5668 w 6676"/>
                <a:gd name="T5" fmla="*/ 2398 h 2847"/>
                <a:gd name="T6" fmla="*/ 5018 w 6676"/>
                <a:gd name="T7" fmla="*/ 1599 h 2847"/>
                <a:gd name="T8" fmla="*/ 4934 w 6676"/>
                <a:gd name="T9" fmla="*/ 1458 h 2847"/>
                <a:gd name="T10" fmla="*/ 4897 w 6676"/>
                <a:gd name="T11" fmla="*/ 1398 h 2847"/>
                <a:gd name="T12" fmla="*/ 4161 w 6676"/>
                <a:gd name="T13" fmla="*/ 597 h 2847"/>
                <a:gd name="T14" fmla="*/ 3146 w 6676"/>
                <a:gd name="T15" fmla="*/ 634 h 2847"/>
                <a:gd name="T16" fmla="*/ 3109 w 6676"/>
                <a:gd name="T17" fmla="*/ 643 h 2847"/>
                <a:gd name="T18" fmla="*/ 2921 w 6676"/>
                <a:gd name="T19" fmla="*/ 692 h 2847"/>
                <a:gd name="T20" fmla="*/ 1972 w 6676"/>
                <a:gd name="T21" fmla="*/ 806 h 2847"/>
                <a:gd name="T22" fmla="*/ 1241 w 6676"/>
                <a:gd name="T23" fmla="*/ 531 h 2847"/>
                <a:gd name="T24" fmla="*/ 963 w 6676"/>
                <a:gd name="T25" fmla="*/ 403 h 2847"/>
                <a:gd name="T26" fmla="*/ 21 w 6676"/>
                <a:gd name="T27" fmla="*/ 0 h 2847"/>
                <a:gd name="T28" fmla="*/ 0 w 6676"/>
                <a:gd name="T29" fmla="*/ 0 h 2847"/>
                <a:gd name="T30" fmla="*/ 960 w 6676"/>
                <a:gd name="T31" fmla="*/ 410 h 2847"/>
                <a:gd name="T32" fmla="*/ 1238 w 6676"/>
                <a:gd name="T33" fmla="*/ 539 h 2847"/>
                <a:gd name="T34" fmla="*/ 1971 w 6676"/>
                <a:gd name="T35" fmla="*/ 814 h 2847"/>
                <a:gd name="T36" fmla="*/ 2923 w 6676"/>
                <a:gd name="T37" fmla="*/ 699 h 2847"/>
                <a:gd name="T38" fmla="*/ 3111 w 6676"/>
                <a:gd name="T39" fmla="*/ 651 h 2847"/>
                <a:gd name="T40" fmla="*/ 3148 w 6676"/>
                <a:gd name="T41" fmla="*/ 642 h 2847"/>
                <a:gd name="T42" fmla="*/ 4158 w 6676"/>
                <a:gd name="T43" fmla="*/ 604 h 2847"/>
                <a:gd name="T44" fmla="*/ 4890 w 6676"/>
                <a:gd name="T45" fmla="*/ 1402 h 2847"/>
                <a:gd name="T46" fmla="*/ 4927 w 6676"/>
                <a:gd name="T47" fmla="*/ 1463 h 2847"/>
                <a:gd name="T48" fmla="*/ 5011 w 6676"/>
                <a:gd name="T49" fmla="*/ 1603 h 2847"/>
                <a:gd name="T50" fmla="*/ 5663 w 6676"/>
                <a:gd name="T51" fmla="*/ 2405 h 2847"/>
                <a:gd name="T52" fmla="*/ 6365 w 6676"/>
                <a:gd name="T53" fmla="*/ 2730 h 2847"/>
                <a:gd name="T54" fmla="*/ 6661 w 6676"/>
                <a:gd name="T55" fmla="*/ 2847 h 2847"/>
                <a:gd name="T56" fmla="*/ 6676 w 6676"/>
                <a:gd name="T57" fmla="*/ 2845 h 2847"/>
                <a:gd name="T58" fmla="*/ 6673 w 6676"/>
                <a:gd name="T59" fmla="*/ 2843 h 28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676" h="2847">
                  <a:moveTo>
                    <a:pt x="6673" y="2843"/>
                  </a:moveTo>
                  <a:cubicBezTo>
                    <a:pt x="6575" y="2801"/>
                    <a:pt x="6474" y="2763"/>
                    <a:pt x="6368" y="2722"/>
                  </a:cubicBezTo>
                  <a:cubicBezTo>
                    <a:pt x="6125" y="2630"/>
                    <a:pt x="5875" y="2535"/>
                    <a:pt x="5668" y="2398"/>
                  </a:cubicBezTo>
                  <a:cubicBezTo>
                    <a:pt x="5381" y="2210"/>
                    <a:pt x="5196" y="1899"/>
                    <a:pt x="5018" y="1599"/>
                  </a:cubicBezTo>
                  <a:cubicBezTo>
                    <a:pt x="4990" y="1552"/>
                    <a:pt x="4962" y="1504"/>
                    <a:pt x="4934" y="1458"/>
                  </a:cubicBezTo>
                  <a:cubicBezTo>
                    <a:pt x="4921" y="1438"/>
                    <a:pt x="4909" y="1418"/>
                    <a:pt x="4897" y="1398"/>
                  </a:cubicBezTo>
                  <a:cubicBezTo>
                    <a:pt x="4710" y="1089"/>
                    <a:pt x="4498" y="739"/>
                    <a:pt x="4161" y="597"/>
                  </a:cubicBezTo>
                  <a:cubicBezTo>
                    <a:pt x="3844" y="462"/>
                    <a:pt x="3473" y="553"/>
                    <a:pt x="3146" y="634"/>
                  </a:cubicBezTo>
                  <a:cubicBezTo>
                    <a:pt x="3109" y="643"/>
                    <a:pt x="3109" y="643"/>
                    <a:pt x="3109" y="643"/>
                  </a:cubicBezTo>
                  <a:cubicBezTo>
                    <a:pt x="3047" y="658"/>
                    <a:pt x="2983" y="675"/>
                    <a:pt x="2921" y="692"/>
                  </a:cubicBezTo>
                  <a:cubicBezTo>
                    <a:pt x="2608" y="774"/>
                    <a:pt x="2285" y="859"/>
                    <a:pt x="1972" y="806"/>
                  </a:cubicBezTo>
                  <a:cubicBezTo>
                    <a:pt x="1727" y="765"/>
                    <a:pt x="1480" y="646"/>
                    <a:pt x="1241" y="531"/>
                  </a:cubicBezTo>
                  <a:cubicBezTo>
                    <a:pt x="1145" y="485"/>
                    <a:pt x="1054" y="441"/>
                    <a:pt x="963" y="403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60" y="410"/>
                    <a:pt x="960" y="410"/>
                    <a:pt x="960" y="410"/>
                  </a:cubicBezTo>
                  <a:cubicBezTo>
                    <a:pt x="1050" y="449"/>
                    <a:pt x="1141" y="492"/>
                    <a:pt x="1238" y="539"/>
                  </a:cubicBezTo>
                  <a:cubicBezTo>
                    <a:pt x="1477" y="654"/>
                    <a:pt x="1725" y="772"/>
                    <a:pt x="1971" y="814"/>
                  </a:cubicBezTo>
                  <a:cubicBezTo>
                    <a:pt x="2286" y="868"/>
                    <a:pt x="2610" y="782"/>
                    <a:pt x="2923" y="699"/>
                  </a:cubicBezTo>
                  <a:cubicBezTo>
                    <a:pt x="2985" y="683"/>
                    <a:pt x="3049" y="666"/>
                    <a:pt x="3111" y="651"/>
                  </a:cubicBezTo>
                  <a:cubicBezTo>
                    <a:pt x="3148" y="642"/>
                    <a:pt x="3148" y="642"/>
                    <a:pt x="3148" y="642"/>
                  </a:cubicBezTo>
                  <a:cubicBezTo>
                    <a:pt x="3474" y="561"/>
                    <a:pt x="3843" y="470"/>
                    <a:pt x="4158" y="604"/>
                  </a:cubicBezTo>
                  <a:cubicBezTo>
                    <a:pt x="4492" y="746"/>
                    <a:pt x="4703" y="1094"/>
                    <a:pt x="4890" y="1402"/>
                  </a:cubicBezTo>
                  <a:cubicBezTo>
                    <a:pt x="4902" y="1422"/>
                    <a:pt x="4915" y="1443"/>
                    <a:pt x="4927" y="1463"/>
                  </a:cubicBezTo>
                  <a:cubicBezTo>
                    <a:pt x="4955" y="1508"/>
                    <a:pt x="4983" y="1556"/>
                    <a:pt x="5011" y="1603"/>
                  </a:cubicBezTo>
                  <a:cubicBezTo>
                    <a:pt x="5190" y="1904"/>
                    <a:pt x="5375" y="2216"/>
                    <a:pt x="5663" y="2405"/>
                  </a:cubicBezTo>
                  <a:cubicBezTo>
                    <a:pt x="5871" y="2542"/>
                    <a:pt x="6122" y="2637"/>
                    <a:pt x="6365" y="2730"/>
                  </a:cubicBezTo>
                  <a:cubicBezTo>
                    <a:pt x="6468" y="2769"/>
                    <a:pt x="6566" y="2807"/>
                    <a:pt x="6661" y="2847"/>
                  </a:cubicBezTo>
                  <a:cubicBezTo>
                    <a:pt x="6676" y="2845"/>
                    <a:pt x="6676" y="2845"/>
                    <a:pt x="6676" y="2845"/>
                  </a:cubicBezTo>
                  <a:lnTo>
                    <a:pt x="6673" y="2843"/>
                  </a:lnTo>
                  <a:close/>
                </a:path>
              </a:pathLst>
            </a:custGeom>
            <a:solidFill>
              <a:srgbClr val="C7C9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8" name="Freeform 27"/>
            <p:cNvSpPr>
              <a:spLocks/>
            </p:cNvSpPr>
            <p:nvPr userDrawn="1"/>
          </p:nvSpPr>
          <p:spPr bwMode="auto">
            <a:xfrm>
              <a:off x="834592" y="0"/>
              <a:ext cx="10042252" cy="4285956"/>
            </a:xfrm>
            <a:custGeom>
              <a:avLst/>
              <a:gdLst>
                <a:gd name="T0" fmla="*/ 6413 w 6586"/>
                <a:gd name="T1" fmla="*/ 2732 h 2809"/>
                <a:gd name="T2" fmla="*/ 6108 w 6586"/>
                <a:gd name="T3" fmla="*/ 2611 h 2809"/>
                <a:gd name="T4" fmla="*/ 5408 w 6586"/>
                <a:gd name="T5" fmla="*/ 2288 h 2809"/>
                <a:gd name="T6" fmla="*/ 4731 w 6586"/>
                <a:gd name="T7" fmla="*/ 1470 h 2809"/>
                <a:gd name="T8" fmla="*/ 3894 w 6586"/>
                <a:gd name="T9" fmla="*/ 572 h 2809"/>
                <a:gd name="T10" fmla="*/ 2695 w 6586"/>
                <a:gd name="T11" fmla="*/ 601 h 2809"/>
                <a:gd name="T12" fmla="*/ 1712 w 6586"/>
                <a:gd name="T13" fmla="*/ 697 h 2809"/>
                <a:gd name="T14" fmla="*/ 983 w 6586"/>
                <a:gd name="T15" fmla="*/ 420 h 2809"/>
                <a:gd name="T16" fmla="*/ 704 w 6586"/>
                <a:gd name="T17" fmla="*/ 292 h 2809"/>
                <a:gd name="T18" fmla="*/ 21 w 6586"/>
                <a:gd name="T19" fmla="*/ 0 h 2809"/>
                <a:gd name="T20" fmla="*/ 0 w 6586"/>
                <a:gd name="T21" fmla="*/ 0 h 2809"/>
                <a:gd name="T22" fmla="*/ 700 w 6586"/>
                <a:gd name="T23" fmla="*/ 299 h 2809"/>
                <a:gd name="T24" fmla="*/ 979 w 6586"/>
                <a:gd name="T25" fmla="*/ 428 h 2809"/>
                <a:gd name="T26" fmla="*/ 1711 w 6586"/>
                <a:gd name="T27" fmla="*/ 705 h 2809"/>
                <a:gd name="T28" fmla="*/ 2696 w 6586"/>
                <a:gd name="T29" fmla="*/ 609 h 2809"/>
                <a:gd name="T30" fmla="*/ 3891 w 6586"/>
                <a:gd name="T31" fmla="*/ 579 h 2809"/>
                <a:gd name="T32" fmla="*/ 4724 w 6586"/>
                <a:gd name="T33" fmla="*/ 1475 h 2809"/>
                <a:gd name="T34" fmla="*/ 5403 w 6586"/>
                <a:gd name="T35" fmla="*/ 2295 h 2809"/>
                <a:gd name="T36" fmla="*/ 6105 w 6586"/>
                <a:gd name="T37" fmla="*/ 2618 h 2809"/>
                <a:gd name="T38" fmla="*/ 6410 w 6586"/>
                <a:gd name="T39" fmla="*/ 2740 h 2809"/>
                <a:gd name="T40" fmla="*/ 6571 w 6586"/>
                <a:gd name="T41" fmla="*/ 2809 h 2809"/>
                <a:gd name="T42" fmla="*/ 6586 w 6586"/>
                <a:gd name="T43" fmla="*/ 2806 h 2809"/>
                <a:gd name="T44" fmla="*/ 6413 w 6586"/>
                <a:gd name="T45" fmla="*/ 2732 h 2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586" h="2809">
                  <a:moveTo>
                    <a:pt x="6413" y="2732"/>
                  </a:moveTo>
                  <a:cubicBezTo>
                    <a:pt x="6315" y="2690"/>
                    <a:pt x="6209" y="2650"/>
                    <a:pt x="6108" y="2611"/>
                  </a:cubicBezTo>
                  <a:cubicBezTo>
                    <a:pt x="5867" y="2518"/>
                    <a:pt x="5617" y="2423"/>
                    <a:pt x="5408" y="2288"/>
                  </a:cubicBezTo>
                  <a:cubicBezTo>
                    <a:pt x="5110" y="2097"/>
                    <a:pt x="4917" y="1778"/>
                    <a:pt x="4731" y="1470"/>
                  </a:cubicBezTo>
                  <a:cubicBezTo>
                    <a:pt x="4513" y="1111"/>
                    <a:pt x="4288" y="739"/>
                    <a:pt x="3894" y="572"/>
                  </a:cubicBezTo>
                  <a:cubicBezTo>
                    <a:pt x="3512" y="409"/>
                    <a:pt x="3096" y="507"/>
                    <a:pt x="2695" y="601"/>
                  </a:cubicBezTo>
                  <a:cubicBezTo>
                    <a:pt x="2368" y="678"/>
                    <a:pt x="2031" y="757"/>
                    <a:pt x="1712" y="697"/>
                  </a:cubicBezTo>
                  <a:cubicBezTo>
                    <a:pt x="1467" y="651"/>
                    <a:pt x="1221" y="534"/>
                    <a:pt x="983" y="420"/>
                  </a:cubicBezTo>
                  <a:cubicBezTo>
                    <a:pt x="886" y="374"/>
                    <a:pt x="795" y="331"/>
                    <a:pt x="704" y="292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00" y="299"/>
                    <a:pt x="700" y="299"/>
                    <a:pt x="700" y="299"/>
                  </a:cubicBezTo>
                  <a:cubicBezTo>
                    <a:pt x="792" y="338"/>
                    <a:pt x="883" y="382"/>
                    <a:pt x="979" y="428"/>
                  </a:cubicBezTo>
                  <a:cubicBezTo>
                    <a:pt x="1218" y="541"/>
                    <a:pt x="1464" y="659"/>
                    <a:pt x="1711" y="705"/>
                  </a:cubicBezTo>
                  <a:cubicBezTo>
                    <a:pt x="2031" y="765"/>
                    <a:pt x="2370" y="686"/>
                    <a:pt x="2696" y="609"/>
                  </a:cubicBezTo>
                  <a:cubicBezTo>
                    <a:pt x="3097" y="515"/>
                    <a:pt x="3511" y="418"/>
                    <a:pt x="3891" y="579"/>
                  </a:cubicBezTo>
                  <a:cubicBezTo>
                    <a:pt x="4282" y="745"/>
                    <a:pt x="4507" y="1116"/>
                    <a:pt x="4724" y="1475"/>
                  </a:cubicBezTo>
                  <a:cubicBezTo>
                    <a:pt x="4910" y="1783"/>
                    <a:pt x="5104" y="2103"/>
                    <a:pt x="5403" y="2295"/>
                  </a:cubicBezTo>
                  <a:cubicBezTo>
                    <a:pt x="5613" y="2430"/>
                    <a:pt x="5863" y="2526"/>
                    <a:pt x="6105" y="2618"/>
                  </a:cubicBezTo>
                  <a:cubicBezTo>
                    <a:pt x="6206" y="2658"/>
                    <a:pt x="6312" y="2698"/>
                    <a:pt x="6410" y="2740"/>
                  </a:cubicBezTo>
                  <a:cubicBezTo>
                    <a:pt x="6571" y="2809"/>
                    <a:pt x="6571" y="2809"/>
                    <a:pt x="6571" y="2809"/>
                  </a:cubicBezTo>
                  <a:cubicBezTo>
                    <a:pt x="6586" y="2806"/>
                    <a:pt x="6586" y="2806"/>
                    <a:pt x="6586" y="2806"/>
                  </a:cubicBezTo>
                  <a:lnTo>
                    <a:pt x="6413" y="2732"/>
                  </a:lnTo>
                  <a:close/>
                </a:path>
              </a:pathLst>
            </a:custGeom>
            <a:solidFill>
              <a:srgbClr val="C7C8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9" name="Freeform 28"/>
            <p:cNvSpPr>
              <a:spLocks/>
            </p:cNvSpPr>
            <p:nvPr userDrawn="1"/>
          </p:nvSpPr>
          <p:spPr bwMode="auto">
            <a:xfrm>
              <a:off x="1301189" y="0"/>
              <a:ext cx="9905961" cy="4228233"/>
            </a:xfrm>
            <a:custGeom>
              <a:avLst/>
              <a:gdLst>
                <a:gd name="T0" fmla="*/ 6154 w 6497"/>
                <a:gd name="T1" fmla="*/ 2621 h 2771"/>
                <a:gd name="T2" fmla="*/ 5848 w 6497"/>
                <a:gd name="T3" fmla="*/ 2499 h 2771"/>
                <a:gd name="T4" fmla="*/ 5149 w 6497"/>
                <a:gd name="T5" fmla="*/ 2178 h 2771"/>
                <a:gd name="T6" fmla="*/ 4468 w 6497"/>
                <a:gd name="T7" fmla="*/ 1404 h 2771"/>
                <a:gd name="T8" fmla="*/ 3633 w 6497"/>
                <a:gd name="T9" fmla="*/ 552 h 2771"/>
                <a:gd name="T10" fmla="*/ 2435 w 6497"/>
                <a:gd name="T11" fmla="*/ 536 h 2771"/>
                <a:gd name="T12" fmla="*/ 1454 w 6497"/>
                <a:gd name="T13" fmla="*/ 588 h 2771"/>
                <a:gd name="T14" fmla="*/ 726 w 6497"/>
                <a:gd name="T15" fmla="*/ 309 h 2771"/>
                <a:gd name="T16" fmla="*/ 445 w 6497"/>
                <a:gd name="T17" fmla="*/ 181 h 2771"/>
                <a:gd name="T18" fmla="*/ 21 w 6497"/>
                <a:gd name="T19" fmla="*/ 0 h 2771"/>
                <a:gd name="T20" fmla="*/ 0 w 6497"/>
                <a:gd name="T21" fmla="*/ 0 h 2771"/>
                <a:gd name="T22" fmla="*/ 442 w 6497"/>
                <a:gd name="T23" fmla="*/ 189 h 2771"/>
                <a:gd name="T24" fmla="*/ 722 w 6497"/>
                <a:gd name="T25" fmla="*/ 317 h 2771"/>
                <a:gd name="T26" fmla="*/ 1452 w 6497"/>
                <a:gd name="T27" fmla="*/ 596 h 2771"/>
                <a:gd name="T28" fmla="*/ 2436 w 6497"/>
                <a:gd name="T29" fmla="*/ 544 h 2771"/>
                <a:gd name="T30" fmla="*/ 3630 w 6497"/>
                <a:gd name="T31" fmla="*/ 560 h 2771"/>
                <a:gd name="T32" fmla="*/ 4461 w 6497"/>
                <a:gd name="T33" fmla="*/ 1409 h 2771"/>
                <a:gd name="T34" fmla="*/ 5145 w 6497"/>
                <a:gd name="T35" fmla="*/ 2186 h 2771"/>
                <a:gd name="T36" fmla="*/ 5845 w 6497"/>
                <a:gd name="T37" fmla="*/ 2507 h 2771"/>
                <a:gd name="T38" fmla="*/ 6151 w 6497"/>
                <a:gd name="T39" fmla="*/ 2629 h 2771"/>
                <a:gd name="T40" fmla="*/ 6482 w 6497"/>
                <a:gd name="T41" fmla="*/ 2771 h 2771"/>
                <a:gd name="T42" fmla="*/ 6497 w 6497"/>
                <a:gd name="T43" fmla="*/ 2768 h 2771"/>
                <a:gd name="T44" fmla="*/ 6154 w 6497"/>
                <a:gd name="T45" fmla="*/ 2621 h 27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497" h="2771">
                  <a:moveTo>
                    <a:pt x="6154" y="2621"/>
                  </a:moveTo>
                  <a:cubicBezTo>
                    <a:pt x="6056" y="2579"/>
                    <a:pt x="5950" y="2538"/>
                    <a:pt x="5848" y="2499"/>
                  </a:cubicBezTo>
                  <a:cubicBezTo>
                    <a:pt x="5609" y="2406"/>
                    <a:pt x="5361" y="2311"/>
                    <a:pt x="5149" y="2178"/>
                  </a:cubicBezTo>
                  <a:cubicBezTo>
                    <a:pt x="4856" y="1995"/>
                    <a:pt x="4659" y="1695"/>
                    <a:pt x="4468" y="1404"/>
                  </a:cubicBezTo>
                  <a:cubicBezTo>
                    <a:pt x="4245" y="1065"/>
                    <a:pt x="4016" y="715"/>
                    <a:pt x="3633" y="552"/>
                  </a:cubicBezTo>
                  <a:cubicBezTo>
                    <a:pt x="3253" y="391"/>
                    <a:pt x="2837" y="465"/>
                    <a:pt x="2435" y="536"/>
                  </a:cubicBezTo>
                  <a:cubicBezTo>
                    <a:pt x="2109" y="594"/>
                    <a:pt x="1771" y="654"/>
                    <a:pt x="1454" y="588"/>
                  </a:cubicBezTo>
                  <a:cubicBezTo>
                    <a:pt x="1208" y="537"/>
                    <a:pt x="963" y="421"/>
                    <a:pt x="726" y="309"/>
                  </a:cubicBezTo>
                  <a:cubicBezTo>
                    <a:pt x="629" y="264"/>
                    <a:pt x="537" y="220"/>
                    <a:pt x="445" y="181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42" y="189"/>
                    <a:pt x="442" y="189"/>
                    <a:pt x="442" y="189"/>
                  </a:cubicBezTo>
                  <a:cubicBezTo>
                    <a:pt x="534" y="228"/>
                    <a:pt x="625" y="271"/>
                    <a:pt x="722" y="317"/>
                  </a:cubicBezTo>
                  <a:cubicBezTo>
                    <a:pt x="960" y="429"/>
                    <a:pt x="1205" y="545"/>
                    <a:pt x="1452" y="596"/>
                  </a:cubicBezTo>
                  <a:cubicBezTo>
                    <a:pt x="1771" y="662"/>
                    <a:pt x="2109" y="602"/>
                    <a:pt x="2436" y="544"/>
                  </a:cubicBezTo>
                  <a:cubicBezTo>
                    <a:pt x="2837" y="473"/>
                    <a:pt x="3252" y="399"/>
                    <a:pt x="3630" y="560"/>
                  </a:cubicBezTo>
                  <a:cubicBezTo>
                    <a:pt x="4010" y="722"/>
                    <a:pt x="4239" y="1071"/>
                    <a:pt x="4461" y="1409"/>
                  </a:cubicBezTo>
                  <a:cubicBezTo>
                    <a:pt x="4652" y="1700"/>
                    <a:pt x="4850" y="2002"/>
                    <a:pt x="5145" y="2186"/>
                  </a:cubicBezTo>
                  <a:cubicBezTo>
                    <a:pt x="5357" y="2318"/>
                    <a:pt x="5605" y="2414"/>
                    <a:pt x="5845" y="2507"/>
                  </a:cubicBezTo>
                  <a:cubicBezTo>
                    <a:pt x="5947" y="2546"/>
                    <a:pt x="6052" y="2587"/>
                    <a:pt x="6151" y="2629"/>
                  </a:cubicBezTo>
                  <a:cubicBezTo>
                    <a:pt x="6482" y="2771"/>
                    <a:pt x="6482" y="2771"/>
                    <a:pt x="6482" y="2771"/>
                  </a:cubicBezTo>
                  <a:cubicBezTo>
                    <a:pt x="6497" y="2768"/>
                    <a:pt x="6497" y="2768"/>
                    <a:pt x="6497" y="2768"/>
                  </a:cubicBezTo>
                  <a:lnTo>
                    <a:pt x="6154" y="2621"/>
                  </a:lnTo>
                  <a:close/>
                </a:path>
              </a:pathLst>
            </a:custGeom>
            <a:solidFill>
              <a:srgbClr val="C6C8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0" name="Rectangle 29"/>
            <p:cNvSpPr>
              <a:spLocks noChangeArrowheads="1"/>
            </p:cNvSpPr>
            <p:nvPr userDrawn="1"/>
          </p:nvSpPr>
          <p:spPr bwMode="auto">
            <a:xfrm>
              <a:off x="12295875" y="4489591"/>
              <a:ext cx="1604" cy="14431"/>
            </a:xfrm>
            <a:prstGeom prst="rect">
              <a:avLst/>
            </a:prstGeom>
            <a:solidFill>
              <a:srgbClr val="C6C7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1" name="Freeform 30"/>
            <p:cNvSpPr>
              <a:spLocks/>
            </p:cNvSpPr>
            <p:nvPr userDrawn="1"/>
          </p:nvSpPr>
          <p:spPr bwMode="auto">
            <a:xfrm>
              <a:off x="1767786" y="0"/>
              <a:ext cx="9769670" cy="4168906"/>
            </a:xfrm>
            <a:custGeom>
              <a:avLst/>
              <a:gdLst>
                <a:gd name="T0" fmla="*/ 5896 w 6408"/>
                <a:gd name="T1" fmla="*/ 2511 h 2732"/>
                <a:gd name="T2" fmla="*/ 5589 w 6408"/>
                <a:gd name="T3" fmla="*/ 2387 h 2732"/>
                <a:gd name="T4" fmla="*/ 4891 w 6408"/>
                <a:gd name="T5" fmla="*/ 2069 h 2732"/>
                <a:gd name="T6" fmla="*/ 4206 w 6408"/>
                <a:gd name="T7" fmla="*/ 1340 h 2732"/>
                <a:gd name="T8" fmla="*/ 3376 w 6408"/>
                <a:gd name="T9" fmla="*/ 538 h 2732"/>
                <a:gd name="T10" fmla="*/ 2177 w 6408"/>
                <a:gd name="T11" fmla="*/ 474 h 2732"/>
                <a:gd name="T12" fmla="*/ 1195 w 6408"/>
                <a:gd name="T13" fmla="*/ 480 h 2732"/>
                <a:gd name="T14" fmla="*/ 469 w 6408"/>
                <a:gd name="T15" fmla="*/ 199 h 2732"/>
                <a:gd name="T16" fmla="*/ 186 w 6408"/>
                <a:gd name="T17" fmla="*/ 70 h 2732"/>
                <a:gd name="T18" fmla="*/ 22 w 6408"/>
                <a:gd name="T19" fmla="*/ 0 h 2732"/>
                <a:gd name="T20" fmla="*/ 0 w 6408"/>
                <a:gd name="T21" fmla="*/ 0 h 2732"/>
                <a:gd name="T22" fmla="*/ 183 w 6408"/>
                <a:gd name="T23" fmla="*/ 78 h 2732"/>
                <a:gd name="T24" fmla="*/ 465 w 6408"/>
                <a:gd name="T25" fmla="*/ 206 h 2732"/>
                <a:gd name="T26" fmla="*/ 1194 w 6408"/>
                <a:gd name="T27" fmla="*/ 488 h 2732"/>
                <a:gd name="T28" fmla="*/ 2178 w 6408"/>
                <a:gd name="T29" fmla="*/ 482 h 2732"/>
                <a:gd name="T30" fmla="*/ 3372 w 6408"/>
                <a:gd name="T31" fmla="*/ 546 h 2732"/>
                <a:gd name="T32" fmla="*/ 4199 w 6408"/>
                <a:gd name="T33" fmla="*/ 1345 h 2732"/>
                <a:gd name="T34" fmla="*/ 4886 w 6408"/>
                <a:gd name="T35" fmla="*/ 2076 h 2732"/>
                <a:gd name="T36" fmla="*/ 5586 w 6408"/>
                <a:gd name="T37" fmla="*/ 2395 h 2732"/>
                <a:gd name="T38" fmla="*/ 5892 w 6408"/>
                <a:gd name="T39" fmla="*/ 2518 h 2732"/>
                <a:gd name="T40" fmla="*/ 6393 w 6408"/>
                <a:gd name="T41" fmla="*/ 2732 h 2732"/>
                <a:gd name="T42" fmla="*/ 6408 w 6408"/>
                <a:gd name="T43" fmla="*/ 2730 h 2732"/>
                <a:gd name="T44" fmla="*/ 5896 w 6408"/>
                <a:gd name="T45" fmla="*/ 2511 h 27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408" h="2732">
                  <a:moveTo>
                    <a:pt x="5896" y="2511"/>
                  </a:moveTo>
                  <a:cubicBezTo>
                    <a:pt x="5796" y="2468"/>
                    <a:pt x="5691" y="2427"/>
                    <a:pt x="5589" y="2387"/>
                  </a:cubicBezTo>
                  <a:cubicBezTo>
                    <a:pt x="5351" y="2294"/>
                    <a:pt x="5105" y="2198"/>
                    <a:pt x="4891" y="2069"/>
                  </a:cubicBezTo>
                  <a:cubicBezTo>
                    <a:pt x="4603" y="1895"/>
                    <a:pt x="4401" y="1613"/>
                    <a:pt x="4206" y="1340"/>
                  </a:cubicBezTo>
                  <a:cubicBezTo>
                    <a:pt x="3980" y="1023"/>
                    <a:pt x="3746" y="695"/>
                    <a:pt x="3376" y="538"/>
                  </a:cubicBezTo>
                  <a:cubicBezTo>
                    <a:pt x="2997" y="377"/>
                    <a:pt x="2580" y="426"/>
                    <a:pt x="2177" y="474"/>
                  </a:cubicBezTo>
                  <a:cubicBezTo>
                    <a:pt x="1850" y="512"/>
                    <a:pt x="1512" y="552"/>
                    <a:pt x="1195" y="480"/>
                  </a:cubicBezTo>
                  <a:cubicBezTo>
                    <a:pt x="949" y="423"/>
                    <a:pt x="705" y="309"/>
                    <a:pt x="469" y="199"/>
                  </a:cubicBezTo>
                  <a:cubicBezTo>
                    <a:pt x="376" y="155"/>
                    <a:pt x="280" y="110"/>
                    <a:pt x="186" y="7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83" y="78"/>
                    <a:pt x="183" y="78"/>
                    <a:pt x="183" y="78"/>
                  </a:cubicBezTo>
                  <a:cubicBezTo>
                    <a:pt x="276" y="118"/>
                    <a:pt x="372" y="163"/>
                    <a:pt x="465" y="206"/>
                  </a:cubicBezTo>
                  <a:cubicBezTo>
                    <a:pt x="702" y="317"/>
                    <a:pt x="946" y="432"/>
                    <a:pt x="1194" y="488"/>
                  </a:cubicBezTo>
                  <a:cubicBezTo>
                    <a:pt x="1512" y="561"/>
                    <a:pt x="1851" y="521"/>
                    <a:pt x="2178" y="482"/>
                  </a:cubicBezTo>
                  <a:cubicBezTo>
                    <a:pt x="2580" y="434"/>
                    <a:pt x="2996" y="385"/>
                    <a:pt x="3372" y="546"/>
                  </a:cubicBezTo>
                  <a:cubicBezTo>
                    <a:pt x="3740" y="702"/>
                    <a:pt x="3974" y="1029"/>
                    <a:pt x="4199" y="1345"/>
                  </a:cubicBezTo>
                  <a:cubicBezTo>
                    <a:pt x="4395" y="1618"/>
                    <a:pt x="4597" y="1901"/>
                    <a:pt x="4886" y="2076"/>
                  </a:cubicBezTo>
                  <a:cubicBezTo>
                    <a:pt x="5101" y="2206"/>
                    <a:pt x="5347" y="2302"/>
                    <a:pt x="5586" y="2395"/>
                  </a:cubicBezTo>
                  <a:cubicBezTo>
                    <a:pt x="5688" y="2435"/>
                    <a:pt x="5793" y="2476"/>
                    <a:pt x="5892" y="2518"/>
                  </a:cubicBezTo>
                  <a:cubicBezTo>
                    <a:pt x="6393" y="2732"/>
                    <a:pt x="6393" y="2732"/>
                    <a:pt x="6393" y="2732"/>
                  </a:cubicBezTo>
                  <a:cubicBezTo>
                    <a:pt x="6408" y="2730"/>
                    <a:pt x="6408" y="2730"/>
                    <a:pt x="6408" y="2730"/>
                  </a:cubicBezTo>
                  <a:lnTo>
                    <a:pt x="5896" y="2511"/>
                  </a:lnTo>
                  <a:close/>
                </a:path>
              </a:pathLst>
            </a:custGeom>
            <a:solidFill>
              <a:srgbClr val="C6C7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2" name="Freeform 31"/>
            <p:cNvSpPr>
              <a:spLocks/>
            </p:cNvSpPr>
            <p:nvPr userDrawn="1"/>
          </p:nvSpPr>
          <p:spPr bwMode="auto">
            <a:xfrm>
              <a:off x="12295875" y="4293973"/>
              <a:ext cx="0" cy="9621"/>
            </a:xfrm>
            <a:custGeom>
              <a:avLst/>
              <a:gdLst>
                <a:gd name="T0" fmla="*/ 6 h 6"/>
                <a:gd name="T1" fmla="*/ 0 h 6"/>
                <a:gd name="T2" fmla="*/ 6 h 6"/>
                <a:gd name="T3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C5C7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3" name="Freeform 32"/>
            <p:cNvSpPr>
              <a:spLocks/>
            </p:cNvSpPr>
            <p:nvPr userDrawn="1"/>
          </p:nvSpPr>
          <p:spPr bwMode="auto">
            <a:xfrm>
              <a:off x="2232779" y="0"/>
              <a:ext cx="9636585" cy="4111183"/>
            </a:xfrm>
            <a:custGeom>
              <a:avLst/>
              <a:gdLst>
                <a:gd name="T0" fmla="*/ 5638 w 6320"/>
                <a:gd name="T1" fmla="*/ 2400 h 2694"/>
                <a:gd name="T2" fmla="*/ 5330 w 6320"/>
                <a:gd name="T3" fmla="*/ 2275 h 2694"/>
                <a:gd name="T4" fmla="*/ 4634 w 6320"/>
                <a:gd name="T5" fmla="*/ 1960 h 2694"/>
                <a:gd name="T6" fmla="*/ 3947 w 6320"/>
                <a:gd name="T7" fmla="*/ 1278 h 2694"/>
                <a:gd name="T8" fmla="*/ 3122 w 6320"/>
                <a:gd name="T9" fmla="*/ 527 h 2694"/>
                <a:gd name="T10" fmla="*/ 1923 w 6320"/>
                <a:gd name="T11" fmla="*/ 413 h 2694"/>
                <a:gd name="T12" fmla="*/ 939 w 6320"/>
                <a:gd name="T13" fmla="*/ 372 h 2694"/>
                <a:gd name="T14" fmla="*/ 214 w 6320"/>
                <a:gd name="T15" fmla="*/ 88 h 2694"/>
                <a:gd name="T16" fmla="*/ 21 w 6320"/>
                <a:gd name="T17" fmla="*/ 0 h 2694"/>
                <a:gd name="T18" fmla="*/ 0 w 6320"/>
                <a:gd name="T19" fmla="*/ 0 h 2694"/>
                <a:gd name="T20" fmla="*/ 210 w 6320"/>
                <a:gd name="T21" fmla="*/ 96 h 2694"/>
                <a:gd name="T22" fmla="*/ 936 w 6320"/>
                <a:gd name="T23" fmla="*/ 380 h 2694"/>
                <a:gd name="T24" fmla="*/ 1923 w 6320"/>
                <a:gd name="T25" fmla="*/ 422 h 2694"/>
                <a:gd name="T26" fmla="*/ 3119 w 6320"/>
                <a:gd name="T27" fmla="*/ 535 h 2694"/>
                <a:gd name="T28" fmla="*/ 3940 w 6320"/>
                <a:gd name="T29" fmla="*/ 1283 h 2694"/>
                <a:gd name="T30" fmla="*/ 4629 w 6320"/>
                <a:gd name="T31" fmla="*/ 1967 h 2694"/>
                <a:gd name="T32" fmla="*/ 5327 w 6320"/>
                <a:gd name="T33" fmla="*/ 2283 h 2694"/>
                <a:gd name="T34" fmla="*/ 5635 w 6320"/>
                <a:gd name="T35" fmla="*/ 2408 h 2694"/>
                <a:gd name="T36" fmla="*/ 6305 w 6320"/>
                <a:gd name="T37" fmla="*/ 2694 h 2694"/>
                <a:gd name="T38" fmla="*/ 6320 w 6320"/>
                <a:gd name="T39" fmla="*/ 2691 h 2694"/>
                <a:gd name="T40" fmla="*/ 5638 w 6320"/>
                <a:gd name="T41" fmla="*/ 2400 h 2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320" h="2694">
                  <a:moveTo>
                    <a:pt x="5638" y="2400"/>
                  </a:moveTo>
                  <a:cubicBezTo>
                    <a:pt x="5538" y="2357"/>
                    <a:pt x="5432" y="2315"/>
                    <a:pt x="5330" y="2275"/>
                  </a:cubicBezTo>
                  <a:cubicBezTo>
                    <a:pt x="5094" y="2182"/>
                    <a:pt x="4849" y="2086"/>
                    <a:pt x="4634" y="1960"/>
                  </a:cubicBezTo>
                  <a:cubicBezTo>
                    <a:pt x="4352" y="1795"/>
                    <a:pt x="4146" y="1532"/>
                    <a:pt x="3947" y="1278"/>
                  </a:cubicBezTo>
                  <a:cubicBezTo>
                    <a:pt x="3717" y="983"/>
                    <a:pt x="3479" y="679"/>
                    <a:pt x="3122" y="527"/>
                  </a:cubicBezTo>
                  <a:cubicBezTo>
                    <a:pt x="2744" y="366"/>
                    <a:pt x="2326" y="390"/>
                    <a:pt x="1923" y="413"/>
                  </a:cubicBezTo>
                  <a:cubicBezTo>
                    <a:pt x="1595" y="432"/>
                    <a:pt x="1255" y="452"/>
                    <a:pt x="939" y="372"/>
                  </a:cubicBezTo>
                  <a:cubicBezTo>
                    <a:pt x="692" y="310"/>
                    <a:pt x="449" y="197"/>
                    <a:pt x="214" y="88"/>
                  </a:cubicBezTo>
                  <a:cubicBezTo>
                    <a:pt x="150" y="58"/>
                    <a:pt x="86" y="29"/>
                    <a:pt x="2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0" y="31"/>
                    <a:pt x="141" y="64"/>
                    <a:pt x="210" y="96"/>
                  </a:cubicBezTo>
                  <a:cubicBezTo>
                    <a:pt x="445" y="205"/>
                    <a:pt x="689" y="318"/>
                    <a:pt x="936" y="380"/>
                  </a:cubicBezTo>
                  <a:cubicBezTo>
                    <a:pt x="1254" y="460"/>
                    <a:pt x="1594" y="441"/>
                    <a:pt x="1923" y="422"/>
                  </a:cubicBezTo>
                  <a:cubicBezTo>
                    <a:pt x="2326" y="399"/>
                    <a:pt x="2743" y="374"/>
                    <a:pt x="3119" y="535"/>
                  </a:cubicBezTo>
                  <a:cubicBezTo>
                    <a:pt x="3473" y="686"/>
                    <a:pt x="3710" y="990"/>
                    <a:pt x="3940" y="1283"/>
                  </a:cubicBezTo>
                  <a:cubicBezTo>
                    <a:pt x="4140" y="1538"/>
                    <a:pt x="4346" y="1801"/>
                    <a:pt x="4629" y="1967"/>
                  </a:cubicBezTo>
                  <a:cubicBezTo>
                    <a:pt x="4846" y="2094"/>
                    <a:pt x="5090" y="2190"/>
                    <a:pt x="5327" y="2283"/>
                  </a:cubicBezTo>
                  <a:cubicBezTo>
                    <a:pt x="5429" y="2323"/>
                    <a:pt x="5535" y="2365"/>
                    <a:pt x="5635" y="2408"/>
                  </a:cubicBezTo>
                  <a:cubicBezTo>
                    <a:pt x="6305" y="2694"/>
                    <a:pt x="6305" y="2694"/>
                    <a:pt x="6305" y="2694"/>
                  </a:cubicBezTo>
                  <a:cubicBezTo>
                    <a:pt x="6320" y="2691"/>
                    <a:pt x="6320" y="2691"/>
                    <a:pt x="6320" y="2691"/>
                  </a:cubicBezTo>
                  <a:lnTo>
                    <a:pt x="5638" y="2400"/>
                  </a:lnTo>
                  <a:close/>
                </a:path>
              </a:pathLst>
            </a:custGeom>
            <a:solidFill>
              <a:srgbClr val="C5C7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4" name="Freeform 33"/>
            <p:cNvSpPr>
              <a:spLocks/>
            </p:cNvSpPr>
            <p:nvPr userDrawn="1"/>
          </p:nvSpPr>
          <p:spPr bwMode="auto">
            <a:xfrm>
              <a:off x="2676927" y="0"/>
              <a:ext cx="9524346" cy="4053460"/>
            </a:xfrm>
            <a:custGeom>
              <a:avLst/>
              <a:gdLst>
                <a:gd name="T0" fmla="*/ 5394 w 6246"/>
                <a:gd name="T1" fmla="*/ 2289 h 2656"/>
                <a:gd name="T2" fmla="*/ 5084 w 6246"/>
                <a:gd name="T3" fmla="*/ 2163 h 2656"/>
                <a:gd name="T4" fmla="*/ 4389 w 6246"/>
                <a:gd name="T5" fmla="*/ 1851 h 2656"/>
                <a:gd name="T6" fmla="*/ 3702 w 6246"/>
                <a:gd name="T7" fmla="*/ 1217 h 2656"/>
                <a:gd name="T8" fmla="*/ 2884 w 6246"/>
                <a:gd name="T9" fmla="*/ 519 h 2656"/>
                <a:gd name="T10" fmla="*/ 1682 w 6246"/>
                <a:gd name="T11" fmla="*/ 354 h 2656"/>
                <a:gd name="T12" fmla="*/ 695 w 6246"/>
                <a:gd name="T13" fmla="*/ 264 h 2656"/>
                <a:gd name="T14" fmla="*/ 21 w 6246"/>
                <a:gd name="T15" fmla="*/ 0 h 2656"/>
                <a:gd name="T16" fmla="*/ 0 w 6246"/>
                <a:gd name="T17" fmla="*/ 0 h 2656"/>
                <a:gd name="T18" fmla="*/ 692 w 6246"/>
                <a:gd name="T19" fmla="*/ 273 h 2656"/>
                <a:gd name="T20" fmla="*/ 1682 w 6246"/>
                <a:gd name="T21" fmla="*/ 363 h 2656"/>
                <a:gd name="T22" fmla="*/ 2880 w 6246"/>
                <a:gd name="T23" fmla="*/ 527 h 2656"/>
                <a:gd name="T24" fmla="*/ 3696 w 6246"/>
                <a:gd name="T25" fmla="*/ 1223 h 2656"/>
                <a:gd name="T26" fmla="*/ 4385 w 6246"/>
                <a:gd name="T27" fmla="*/ 1858 h 2656"/>
                <a:gd name="T28" fmla="*/ 5081 w 6246"/>
                <a:gd name="T29" fmla="*/ 2171 h 2656"/>
                <a:gd name="T30" fmla="*/ 5390 w 6246"/>
                <a:gd name="T31" fmla="*/ 2297 h 2656"/>
                <a:gd name="T32" fmla="*/ 6230 w 6246"/>
                <a:gd name="T33" fmla="*/ 2656 h 2656"/>
                <a:gd name="T34" fmla="*/ 6246 w 6246"/>
                <a:gd name="T35" fmla="*/ 2653 h 2656"/>
                <a:gd name="T36" fmla="*/ 5394 w 6246"/>
                <a:gd name="T37" fmla="*/ 2289 h 2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246" h="2656">
                  <a:moveTo>
                    <a:pt x="5394" y="2289"/>
                  </a:moveTo>
                  <a:cubicBezTo>
                    <a:pt x="5292" y="2246"/>
                    <a:pt x="5186" y="2204"/>
                    <a:pt x="5084" y="2163"/>
                  </a:cubicBezTo>
                  <a:cubicBezTo>
                    <a:pt x="4849" y="2070"/>
                    <a:pt x="4607" y="1974"/>
                    <a:pt x="4389" y="1851"/>
                  </a:cubicBezTo>
                  <a:cubicBezTo>
                    <a:pt x="4115" y="1695"/>
                    <a:pt x="3905" y="1452"/>
                    <a:pt x="3702" y="1217"/>
                  </a:cubicBezTo>
                  <a:cubicBezTo>
                    <a:pt x="3468" y="946"/>
                    <a:pt x="3226" y="666"/>
                    <a:pt x="2884" y="519"/>
                  </a:cubicBezTo>
                  <a:cubicBezTo>
                    <a:pt x="2505" y="357"/>
                    <a:pt x="2087" y="355"/>
                    <a:pt x="1682" y="354"/>
                  </a:cubicBezTo>
                  <a:cubicBezTo>
                    <a:pt x="1353" y="353"/>
                    <a:pt x="1012" y="352"/>
                    <a:pt x="695" y="264"/>
                  </a:cubicBezTo>
                  <a:cubicBezTo>
                    <a:pt x="466" y="201"/>
                    <a:pt x="240" y="100"/>
                    <a:pt x="2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25" y="103"/>
                    <a:pt x="457" y="208"/>
                    <a:pt x="692" y="273"/>
                  </a:cubicBezTo>
                  <a:cubicBezTo>
                    <a:pt x="1011" y="361"/>
                    <a:pt x="1352" y="362"/>
                    <a:pt x="1682" y="363"/>
                  </a:cubicBezTo>
                  <a:cubicBezTo>
                    <a:pt x="2086" y="364"/>
                    <a:pt x="2503" y="366"/>
                    <a:pt x="2880" y="527"/>
                  </a:cubicBezTo>
                  <a:cubicBezTo>
                    <a:pt x="3221" y="673"/>
                    <a:pt x="3462" y="952"/>
                    <a:pt x="3696" y="1223"/>
                  </a:cubicBezTo>
                  <a:cubicBezTo>
                    <a:pt x="3899" y="1458"/>
                    <a:pt x="4109" y="1702"/>
                    <a:pt x="4385" y="1858"/>
                  </a:cubicBezTo>
                  <a:cubicBezTo>
                    <a:pt x="4603" y="1982"/>
                    <a:pt x="4846" y="2078"/>
                    <a:pt x="5081" y="2171"/>
                  </a:cubicBezTo>
                  <a:cubicBezTo>
                    <a:pt x="5183" y="2212"/>
                    <a:pt x="5289" y="2254"/>
                    <a:pt x="5390" y="2297"/>
                  </a:cubicBezTo>
                  <a:cubicBezTo>
                    <a:pt x="6230" y="2656"/>
                    <a:pt x="6230" y="2656"/>
                    <a:pt x="6230" y="2656"/>
                  </a:cubicBezTo>
                  <a:cubicBezTo>
                    <a:pt x="6246" y="2653"/>
                    <a:pt x="6246" y="2653"/>
                    <a:pt x="6246" y="2653"/>
                  </a:cubicBezTo>
                  <a:lnTo>
                    <a:pt x="5394" y="2289"/>
                  </a:lnTo>
                  <a:close/>
                </a:path>
              </a:pathLst>
            </a:custGeom>
            <a:solidFill>
              <a:srgbClr val="C5C6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20" name="Freeform: Shape 119"/>
            <p:cNvSpPr>
              <a:spLocks/>
            </p:cNvSpPr>
            <p:nvPr userDrawn="1"/>
          </p:nvSpPr>
          <p:spPr bwMode="auto">
            <a:xfrm>
              <a:off x="3133904" y="0"/>
              <a:ext cx="9059296" cy="3860342"/>
            </a:xfrm>
            <a:custGeom>
              <a:avLst/>
              <a:gdLst>
                <a:gd name="connsiteX0" fmla="*/ 0 w 9059296"/>
                <a:gd name="connsiteY0" fmla="*/ 0 h 3860342"/>
                <a:gd name="connsiteX1" fmla="*/ 35068 w 9059296"/>
                <a:gd name="connsiteY1" fmla="*/ 0 h 3860342"/>
                <a:gd name="connsiteX2" fmla="*/ 676971 w 9059296"/>
                <a:gd name="connsiteY2" fmla="*/ 238014 h 3860342"/>
                <a:gd name="connsiteX3" fmla="*/ 2189481 w 9059296"/>
                <a:gd name="connsiteY3" fmla="*/ 451616 h 3860342"/>
                <a:gd name="connsiteX4" fmla="*/ 4025230 w 9059296"/>
                <a:gd name="connsiteY4" fmla="*/ 781173 h 3860342"/>
                <a:gd name="connsiteX5" fmla="*/ 5260243 w 9059296"/>
                <a:gd name="connsiteY5" fmla="*/ 1763743 h 3860342"/>
                <a:gd name="connsiteX6" fmla="*/ 6309242 w 9059296"/>
                <a:gd name="connsiteY6" fmla="*/ 2657820 h 3860342"/>
                <a:gd name="connsiteX7" fmla="*/ 7365865 w 9059296"/>
                <a:gd name="connsiteY7" fmla="*/ 3129271 h 3860342"/>
                <a:gd name="connsiteX8" fmla="*/ 7840049 w 9059296"/>
                <a:gd name="connsiteY8" fmla="*/ 3323038 h 3860342"/>
                <a:gd name="connsiteX9" fmla="*/ 8929279 w 9059296"/>
                <a:gd name="connsiteY9" fmla="*/ 3789445 h 3860342"/>
                <a:gd name="connsiteX10" fmla="*/ 9059296 w 9059296"/>
                <a:gd name="connsiteY10" fmla="*/ 3845119 h 3860342"/>
                <a:gd name="connsiteX11" fmla="*/ 9059296 w 9059296"/>
                <a:gd name="connsiteY11" fmla="*/ 3860342 h 3860342"/>
                <a:gd name="connsiteX12" fmla="*/ 8995968 w 9059296"/>
                <a:gd name="connsiteY12" fmla="*/ 3833204 h 3860342"/>
                <a:gd name="connsiteX13" fmla="*/ 7833950 w 9059296"/>
                <a:gd name="connsiteY13" fmla="*/ 3335244 h 3860342"/>
                <a:gd name="connsiteX14" fmla="*/ 7361290 w 9059296"/>
                <a:gd name="connsiteY14" fmla="*/ 3141477 h 3860342"/>
                <a:gd name="connsiteX15" fmla="*/ 6303144 w 9059296"/>
                <a:gd name="connsiteY15" fmla="*/ 2670026 h 3860342"/>
                <a:gd name="connsiteX16" fmla="*/ 5249570 w 9059296"/>
                <a:gd name="connsiteY16" fmla="*/ 1774423 h 3860342"/>
                <a:gd name="connsiteX17" fmla="*/ 4019131 w 9059296"/>
                <a:gd name="connsiteY17" fmla="*/ 794905 h 3860342"/>
                <a:gd name="connsiteX18" fmla="*/ 2187956 w 9059296"/>
                <a:gd name="connsiteY18" fmla="*/ 465347 h 3860342"/>
                <a:gd name="connsiteX19" fmla="*/ 673921 w 9059296"/>
                <a:gd name="connsiteY19" fmla="*/ 251745 h 3860342"/>
                <a:gd name="connsiteX20" fmla="*/ 0 w 9059296"/>
                <a:gd name="connsiteY20" fmla="*/ 0 h 3860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059296" h="3860342">
                  <a:moveTo>
                    <a:pt x="0" y="0"/>
                  </a:moveTo>
                  <a:cubicBezTo>
                    <a:pt x="0" y="0"/>
                    <a:pt x="0" y="0"/>
                    <a:pt x="35068" y="0"/>
                  </a:cubicBezTo>
                  <a:cubicBezTo>
                    <a:pt x="247003" y="90018"/>
                    <a:pt x="460462" y="173933"/>
                    <a:pt x="676971" y="238014"/>
                  </a:cubicBezTo>
                  <a:cubicBezTo>
                    <a:pt x="1163352" y="384484"/>
                    <a:pt x="1684803" y="419576"/>
                    <a:pt x="2189481" y="451616"/>
                  </a:cubicBezTo>
                  <a:cubicBezTo>
                    <a:pt x="2806988" y="491285"/>
                    <a:pt x="3444316" y="532480"/>
                    <a:pt x="4025230" y="781173"/>
                  </a:cubicBezTo>
                  <a:cubicBezTo>
                    <a:pt x="4525334" y="996301"/>
                    <a:pt x="4898887" y="1386888"/>
                    <a:pt x="5260243" y="1763743"/>
                  </a:cubicBezTo>
                  <a:cubicBezTo>
                    <a:pt x="5575858" y="2093301"/>
                    <a:pt x="5900620" y="2433538"/>
                    <a:pt x="6309242" y="2657820"/>
                  </a:cubicBezTo>
                  <a:cubicBezTo>
                    <a:pt x="6644678" y="2839382"/>
                    <a:pt x="7010608" y="2987378"/>
                    <a:pt x="7365865" y="3129271"/>
                  </a:cubicBezTo>
                  <a:cubicBezTo>
                    <a:pt x="7522910" y="3191826"/>
                    <a:pt x="7684529" y="3255906"/>
                    <a:pt x="7840049" y="3323038"/>
                  </a:cubicBezTo>
                  <a:cubicBezTo>
                    <a:pt x="7840049" y="3323038"/>
                    <a:pt x="7840049" y="3323038"/>
                    <a:pt x="8929279" y="3789445"/>
                  </a:cubicBezTo>
                  <a:lnTo>
                    <a:pt x="9059296" y="3845119"/>
                  </a:lnTo>
                  <a:lnTo>
                    <a:pt x="9059296" y="3860342"/>
                  </a:lnTo>
                  <a:lnTo>
                    <a:pt x="8995968" y="3833204"/>
                  </a:lnTo>
                  <a:cubicBezTo>
                    <a:pt x="8829966" y="3762067"/>
                    <a:pt x="8497961" y="3619793"/>
                    <a:pt x="7833950" y="3335244"/>
                  </a:cubicBezTo>
                  <a:cubicBezTo>
                    <a:pt x="7678430" y="3269638"/>
                    <a:pt x="7516811" y="3204031"/>
                    <a:pt x="7361290" y="3141477"/>
                  </a:cubicBezTo>
                  <a:cubicBezTo>
                    <a:pt x="7006034" y="2999584"/>
                    <a:pt x="6638579" y="2853114"/>
                    <a:pt x="6303144" y="2670026"/>
                  </a:cubicBezTo>
                  <a:cubicBezTo>
                    <a:pt x="5892997" y="2445744"/>
                    <a:pt x="5565184" y="2103981"/>
                    <a:pt x="5249570" y="1774423"/>
                  </a:cubicBezTo>
                  <a:cubicBezTo>
                    <a:pt x="4889739" y="1397568"/>
                    <a:pt x="4516186" y="1008507"/>
                    <a:pt x="4019131" y="794905"/>
                  </a:cubicBezTo>
                  <a:cubicBezTo>
                    <a:pt x="3441266" y="546211"/>
                    <a:pt x="2803938" y="505016"/>
                    <a:pt x="2187956" y="465347"/>
                  </a:cubicBezTo>
                  <a:cubicBezTo>
                    <a:pt x="1683278" y="433307"/>
                    <a:pt x="1161828" y="398215"/>
                    <a:pt x="673921" y="251745"/>
                  </a:cubicBezTo>
                  <a:cubicBezTo>
                    <a:pt x="446740" y="183088"/>
                    <a:pt x="221083" y="94595"/>
                    <a:pt x="0" y="0"/>
                  </a:cubicBezTo>
                  <a:close/>
                </a:path>
              </a:pathLst>
            </a:custGeom>
            <a:solidFill>
              <a:srgbClr val="C4C6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16" name="Freeform: Shape 115"/>
            <p:cNvSpPr>
              <a:spLocks/>
            </p:cNvSpPr>
            <p:nvPr userDrawn="1"/>
          </p:nvSpPr>
          <p:spPr bwMode="auto">
            <a:xfrm>
              <a:off x="3630966" y="1"/>
              <a:ext cx="8562234" cy="3661559"/>
            </a:xfrm>
            <a:custGeom>
              <a:avLst/>
              <a:gdLst>
                <a:gd name="connsiteX0" fmla="*/ 0 w 8562234"/>
                <a:gd name="connsiteY0" fmla="*/ 0 h 3661559"/>
                <a:gd name="connsiteX1" fmla="*/ 39643 w 8562234"/>
                <a:gd name="connsiteY1" fmla="*/ 0 h 3661559"/>
                <a:gd name="connsiteX2" fmla="*/ 254626 w 8562234"/>
                <a:gd name="connsiteY2" fmla="*/ 74782 h 3661559"/>
                <a:gd name="connsiteX3" fmla="*/ 1773234 w 8562234"/>
                <a:gd name="connsiteY3" fmla="*/ 363226 h 3661559"/>
                <a:gd name="connsiteX4" fmla="*/ 3612031 w 8562234"/>
                <a:gd name="connsiteY4" fmla="*/ 772237 h 3661559"/>
                <a:gd name="connsiteX5" fmla="*/ 4834846 w 8562234"/>
                <a:gd name="connsiteY5" fmla="*/ 1672671 h 3661559"/>
                <a:gd name="connsiteX6" fmla="*/ 5886894 w 8562234"/>
                <a:gd name="connsiteY6" fmla="*/ 2492219 h 3661559"/>
                <a:gd name="connsiteX7" fmla="*/ 6937417 w 8562234"/>
                <a:gd name="connsiteY7" fmla="*/ 2957698 h 3661559"/>
                <a:gd name="connsiteX8" fmla="*/ 7414650 w 8562234"/>
                <a:gd name="connsiteY8" fmla="*/ 3154572 h 3661559"/>
                <a:gd name="connsiteX9" fmla="*/ 8444833 w 8562234"/>
                <a:gd name="connsiteY9" fmla="*/ 3595961 h 3661559"/>
                <a:gd name="connsiteX10" fmla="*/ 8562234 w 8562234"/>
                <a:gd name="connsiteY10" fmla="*/ 3646262 h 3661559"/>
                <a:gd name="connsiteX11" fmla="*/ 8562234 w 8562234"/>
                <a:gd name="connsiteY11" fmla="*/ 3661559 h 3661559"/>
                <a:gd name="connsiteX12" fmla="*/ 8508056 w 8562234"/>
                <a:gd name="connsiteY12" fmla="*/ 3638365 h 3661559"/>
                <a:gd name="connsiteX13" fmla="*/ 7410076 w 8562234"/>
                <a:gd name="connsiteY13" fmla="*/ 3168308 h 3661559"/>
                <a:gd name="connsiteX14" fmla="*/ 6932843 w 8562234"/>
                <a:gd name="connsiteY14" fmla="*/ 2971433 h 3661559"/>
                <a:gd name="connsiteX15" fmla="*/ 5879270 w 8562234"/>
                <a:gd name="connsiteY15" fmla="*/ 2504428 h 3661559"/>
                <a:gd name="connsiteX16" fmla="*/ 4825698 w 8562234"/>
                <a:gd name="connsiteY16" fmla="*/ 1683354 h 3661559"/>
                <a:gd name="connsiteX17" fmla="*/ 3605932 w 8562234"/>
                <a:gd name="connsiteY17" fmla="*/ 785972 h 3661559"/>
                <a:gd name="connsiteX18" fmla="*/ 1771710 w 8562234"/>
                <a:gd name="connsiteY18" fmla="*/ 378488 h 3661559"/>
                <a:gd name="connsiteX19" fmla="*/ 250052 w 8562234"/>
                <a:gd name="connsiteY19" fmla="*/ 88517 h 3661559"/>
                <a:gd name="connsiteX20" fmla="*/ 0 w 8562234"/>
                <a:gd name="connsiteY20" fmla="*/ 0 h 3661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8562234" h="3661559">
                  <a:moveTo>
                    <a:pt x="0" y="0"/>
                  </a:moveTo>
                  <a:cubicBezTo>
                    <a:pt x="0" y="0"/>
                    <a:pt x="0" y="0"/>
                    <a:pt x="39643" y="0"/>
                  </a:cubicBezTo>
                  <a:cubicBezTo>
                    <a:pt x="111304" y="25945"/>
                    <a:pt x="182965" y="51890"/>
                    <a:pt x="254626" y="74782"/>
                  </a:cubicBezTo>
                  <a:cubicBezTo>
                    <a:pt x="744057" y="233503"/>
                    <a:pt x="1267032" y="300654"/>
                    <a:pt x="1773234" y="363226"/>
                  </a:cubicBezTo>
                  <a:cubicBezTo>
                    <a:pt x="2390741" y="441060"/>
                    <a:pt x="3028068" y="521947"/>
                    <a:pt x="3612031" y="772237"/>
                  </a:cubicBezTo>
                  <a:cubicBezTo>
                    <a:pt x="4090789" y="978269"/>
                    <a:pt x="4468917" y="1330812"/>
                    <a:pt x="4834846" y="1672671"/>
                  </a:cubicBezTo>
                  <a:cubicBezTo>
                    <a:pt x="5155034" y="1973325"/>
                    <a:pt x="5487420" y="2283135"/>
                    <a:pt x="5886894" y="2492219"/>
                  </a:cubicBezTo>
                  <a:cubicBezTo>
                    <a:pt x="6222330" y="2669254"/>
                    <a:pt x="6586734" y="2815765"/>
                    <a:pt x="6937417" y="2957698"/>
                  </a:cubicBezTo>
                  <a:cubicBezTo>
                    <a:pt x="7095986" y="3021797"/>
                    <a:pt x="7257606" y="3087421"/>
                    <a:pt x="7414650" y="3154572"/>
                  </a:cubicBezTo>
                  <a:cubicBezTo>
                    <a:pt x="7414650" y="3154572"/>
                    <a:pt x="7414650" y="3154572"/>
                    <a:pt x="8444833" y="3595961"/>
                  </a:cubicBezTo>
                  <a:lnTo>
                    <a:pt x="8562234" y="3646262"/>
                  </a:lnTo>
                  <a:lnTo>
                    <a:pt x="8562234" y="3661559"/>
                  </a:lnTo>
                  <a:lnTo>
                    <a:pt x="8508056" y="3638365"/>
                  </a:lnTo>
                  <a:cubicBezTo>
                    <a:pt x="8351202" y="3571214"/>
                    <a:pt x="8037493" y="3436912"/>
                    <a:pt x="7410076" y="3168308"/>
                  </a:cubicBezTo>
                  <a:cubicBezTo>
                    <a:pt x="7253032" y="3099631"/>
                    <a:pt x="7089888" y="3034006"/>
                    <a:pt x="6932843" y="2971433"/>
                  </a:cubicBezTo>
                  <a:cubicBezTo>
                    <a:pt x="6580636" y="2827974"/>
                    <a:pt x="6216230" y="2681463"/>
                    <a:pt x="5879270" y="2504428"/>
                  </a:cubicBezTo>
                  <a:cubicBezTo>
                    <a:pt x="5479797" y="2293818"/>
                    <a:pt x="5147411" y="1984008"/>
                    <a:pt x="4825698" y="1683354"/>
                  </a:cubicBezTo>
                  <a:cubicBezTo>
                    <a:pt x="4459768" y="1343021"/>
                    <a:pt x="4081641" y="990478"/>
                    <a:pt x="3605932" y="785972"/>
                  </a:cubicBezTo>
                  <a:cubicBezTo>
                    <a:pt x="3025019" y="535682"/>
                    <a:pt x="2387691" y="456322"/>
                    <a:pt x="1771710" y="378488"/>
                  </a:cubicBezTo>
                  <a:cubicBezTo>
                    <a:pt x="1265507" y="314389"/>
                    <a:pt x="741008" y="247238"/>
                    <a:pt x="250052" y="88517"/>
                  </a:cubicBezTo>
                  <a:cubicBezTo>
                    <a:pt x="166193" y="61046"/>
                    <a:pt x="82335" y="30523"/>
                    <a:pt x="0" y="0"/>
                  </a:cubicBezTo>
                  <a:close/>
                </a:path>
              </a:pathLst>
            </a:custGeom>
            <a:solidFill>
              <a:srgbClr val="C4C5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18" name="Freeform: Shape 117"/>
            <p:cNvSpPr>
              <a:spLocks/>
            </p:cNvSpPr>
            <p:nvPr userDrawn="1"/>
          </p:nvSpPr>
          <p:spPr bwMode="auto">
            <a:xfrm>
              <a:off x="4188958" y="1"/>
              <a:ext cx="8004242" cy="3467965"/>
            </a:xfrm>
            <a:custGeom>
              <a:avLst/>
              <a:gdLst>
                <a:gd name="connsiteX0" fmla="*/ 0 w 8004242"/>
                <a:gd name="connsiteY0" fmla="*/ 0 h 3467965"/>
                <a:gd name="connsiteX1" fmla="*/ 50316 w 8004242"/>
                <a:gd name="connsiteY1" fmla="*/ 0 h 3467965"/>
                <a:gd name="connsiteX2" fmla="*/ 1299059 w 8004242"/>
                <a:gd name="connsiteY2" fmla="*/ 276214 h 3467965"/>
                <a:gd name="connsiteX3" fmla="*/ 3136342 w 8004242"/>
                <a:gd name="connsiteY3" fmla="*/ 761495 h 3467965"/>
                <a:gd name="connsiteX4" fmla="*/ 4346967 w 8004242"/>
                <a:gd name="connsiteY4" fmla="*/ 1579454 h 3467965"/>
                <a:gd name="connsiteX5" fmla="*/ 5402071 w 8004242"/>
                <a:gd name="connsiteY5" fmla="*/ 2325689 h 3467965"/>
                <a:gd name="connsiteX6" fmla="*/ 7582416 w 8004242"/>
                <a:gd name="connsiteY6" fmla="*/ 3279466 h 3467965"/>
                <a:gd name="connsiteX7" fmla="*/ 8004242 w 8004242"/>
                <a:gd name="connsiteY7" fmla="*/ 3452516 h 3467965"/>
                <a:gd name="connsiteX8" fmla="*/ 8004242 w 8004242"/>
                <a:gd name="connsiteY8" fmla="*/ 3467965 h 3467965"/>
                <a:gd name="connsiteX9" fmla="*/ 7576316 w 8004242"/>
                <a:gd name="connsiteY9" fmla="*/ 3293200 h 3467965"/>
                <a:gd name="connsiteX10" fmla="*/ 5394447 w 8004242"/>
                <a:gd name="connsiteY10" fmla="*/ 2337897 h 3467965"/>
                <a:gd name="connsiteX11" fmla="*/ 4337818 w 8004242"/>
                <a:gd name="connsiteY11" fmla="*/ 1591663 h 3467965"/>
                <a:gd name="connsiteX12" fmla="*/ 3130243 w 8004242"/>
                <a:gd name="connsiteY12" fmla="*/ 775230 h 3467965"/>
                <a:gd name="connsiteX13" fmla="*/ 1296009 w 8004242"/>
                <a:gd name="connsiteY13" fmla="*/ 289948 h 3467965"/>
                <a:gd name="connsiteX14" fmla="*/ 0 w 8004242"/>
                <a:gd name="connsiteY14" fmla="*/ 0 h 3467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004242" h="3467965">
                  <a:moveTo>
                    <a:pt x="0" y="0"/>
                  </a:moveTo>
                  <a:cubicBezTo>
                    <a:pt x="0" y="0"/>
                    <a:pt x="0" y="0"/>
                    <a:pt x="50316" y="0"/>
                  </a:cubicBezTo>
                  <a:cubicBezTo>
                    <a:pt x="460465" y="119031"/>
                    <a:pt x="885861" y="198386"/>
                    <a:pt x="1299059" y="276214"/>
                  </a:cubicBezTo>
                  <a:cubicBezTo>
                    <a:pt x="1913519" y="390667"/>
                    <a:pt x="2550851" y="509698"/>
                    <a:pt x="3136342" y="761495"/>
                  </a:cubicBezTo>
                  <a:cubicBezTo>
                    <a:pt x="3593757" y="958355"/>
                    <a:pt x="3976461" y="1274246"/>
                    <a:pt x="4346967" y="1579454"/>
                  </a:cubicBezTo>
                  <a:cubicBezTo>
                    <a:pt x="4673256" y="1849564"/>
                    <a:pt x="5011744" y="2130356"/>
                    <a:pt x="5402071" y="2325689"/>
                  </a:cubicBezTo>
                  <a:cubicBezTo>
                    <a:pt x="6104965" y="2679731"/>
                    <a:pt x="6856650" y="2984939"/>
                    <a:pt x="7582416" y="3279466"/>
                  </a:cubicBezTo>
                  <a:lnTo>
                    <a:pt x="8004242" y="3452516"/>
                  </a:lnTo>
                  <a:lnTo>
                    <a:pt x="8004242" y="3467965"/>
                  </a:lnTo>
                  <a:lnTo>
                    <a:pt x="7576316" y="3293200"/>
                  </a:lnTo>
                  <a:cubicBezTo>
                    <a:pt x="6850552" y="2998674"/>
                    <a:pt x="6100391" y="2693465"/>
                    <a:pt x="5394447" y="2337897"/>
                  </a:cubicBezTo>
                  <a:cubicBezTo>
                    <a:pt x="5004120" y="2142564"/>
                    <a:pt x="4665632" y="1861772"/>
                    <a:pt x="4337818" y="1591663"/>
                  </a:cubicBezTo>
                  <a:cubicBezTo>
                    <a:pt x="3968837" y="1286454"/>
                    <a:pt x="3586133" y="970563"/>
                    <a:pt x="3130243" y="775230"/>
                  </a:cubicBezTo>
                  <a:cubicBezTo>
                    <a:pt x="2546277" y="523433"/>
                    <a:pt x="1910470" y="405927"/>
                    <a:pt x="1296009" y="289948"/>
                  </a:cubicBezTo>
                  <a:cubicBezTo>
                    <a:pt x="867564" y="210594"/>
                    <a:pt x="425396" y="128188"/>
                    <a:pt x="0" y="0"/>
                  </a:cubicBezTo>
                  <a:close/>
                </a:path>
              </a:pathLst>
            </a:custGeom>
            <a:solidFill>
              <a:srgbClr val="C3C5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14" name="Freeform: Shape 113"/>
            <p:cNvSpPr>
              <a:spLocks/>
            </p:cNvSpPr>
            <p:nvPr userDrawn="1"/>
          </p:nvSpPr>
          <p:spPr bwMode="auto">
            <a:xfrm>
              <a:off x="4780622" y="1"/>
              <a:ext cx="7412579" cy="3266743"/>
            </a:xfrm>
            <a:custGeom>
              <a:avLst/>
              <a:gdLst>
                <a:gd name="connsiteX0" fmla="*/ 0 w 7412579"/>
                <a:gd name="connsiteY0" fmla="*/ 0 h 3266743"/>
                <a:gd name="connsiteX1" fmla="*/ 54890 w 7412579"/>
                <a:gd name="connsiteY1" fmla="*/ 0 h 3266743"/>
                <a:gd name="connsiteX2" fmla="*/ 792845 w 7412579"/>
                <a:gd name="connsiteY2" fmla="*/ 189200 h 3266743"/>
                <a:gd name="connsiteX3" fmla="*/ 2625536 w 7412579"/>
                <a:gd name="connsiteY3" fmla="*/ 749170 h 3266743"/>
                <a:gd name="connsiteX4" fmla="*/ 3822427 w 7412579"/>
                <a:gd name="connsiteY4" fmla="*/ 1484608 h 3266743"/>
                <a:gd name="connsiteX5" fmla="*/ 4882095 w 7412579"/>
                <a:gd name="connsiteY5" fmla="*/ 2159014 h 3266743"/>
                <a:gd name="connsiteX6" fmla="*/ 7057843 w 7412579"/>
                <a:gd name="connsiteY6" fmla="*/ 3103487 h 3266743"/>
                <a:gd name="connsiteX7" fmla="*/ 7412579 w 7412579"/>
                <a:gd name="connsiteY7" fmla="*/ 3250217 h 3266743"/>
                <a:gd name="connsiteX8" fmla="*/ 7412579 w 7412579"/>
                <a:gd name="connsiteY8" fmla="*/ 3266743 h 3266743"/>
                <a:gd name="connsiteX9" fmla="*/ 7053269 w 7412579"/>
                <a:gd name="connsiteY9" fmla="*/ 3117219 h 3266743"/>
                <a:gd name="connsiteX10" fmla="*/ 4875995 w 7412579"/>
                <a:gd name="connsiteY10" fmla="*/ 2171220 h 3266743"/>
                <a:gd name="connsiteX11" fmla="*/ 3814803 w 7412579"/>
                <a:gd name="connsiteY11" fmla="*/ 1496814 h 3266743"/>
                <a:gd name="connsiteX12" fmla="*/ 2620962 w 7412579"/>
                <a:gd name="connsiteY12" fmla="*/ 761377 h 3266743"/>
                <a:gd name="connsiteX13" fmla="*/ 789796 w 7412579"/>
                <a:gd name="connsiteY13" fmla="*/ 202932 h 3266743"/>
                <a:gd name="connsiteX14" fmla="*/ 0 w 7412579"/>
                <a:gd name="connsiteY14" fmla="*/ 0 h 3266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412579" h="3266743">
                  <a:moveTo>
                    <a:pt x="0" y="0"/>
                  </a:moveTo>
                  <a:cubicBezTo>
                    <a:pt x="0" y="0"/>
                    <a:pt x="0" y="0"/>
                    <a:pt x="54890" y="0"/>
                  </a:cubicBezTo>
                  <a:cubicBezTo>
                    <a:pt x="301891" y="67135"/>
                    <a:pt x="548893" y="128168"/>
                    <a:pt x="792845" y="189200"/>
                  </a:cubicBezTo>
                  <a:cubicBezTo>
                    <a:pt x="1404250" y="340254"/>
                    <a:pt x="2037001" y="495887"/>
                    <a:pt x="2625536" y="749170"/>
                  </a:cubicBezTo>
                  <a:cubicBezTo>
                    <a:pt x="3063126" y="936844"/>
                    <a:pt x="3448875" y="1214541"/>
                    <a:pt x="3822427" y="1484608"/>
                  </a:cubicBezTo>
                  <a:cubicBezTo>
                    <a:pt x="4156337" y="1725685"/>
                    <a:pt x="4502443" y="1975917"/>
                    <a:pt x="4882095" y="2159014"/>
                  </a:cubicBezTo>
                  <a:cubicBezTo>
                    <a:pt x="5592605" y="2500794"/>
                    <a:pt x="6338185" y="2807480"/>
                    <a:pt x="7057843" y="3103487"/>
                  </a:cubicBezTo>
                  <a:lnTo>
                    <a:pt x="7412579" y="3250217"/>
                  </a:lnTo>
                  <a:lnTo>
                    <a:pt x="7412579" y="3266743"/>
                  </a:lnTo>
                  <a:lnTo>
                    <a:pt x="7053269" y="3117219"/>
                  </a:lnTo>
                  <a:cubicBezTo>
                    <a:pt x="6332085" y="2821213"/>
                    <a:pt x="5586507" y="2513000"/>
                    <a:pt x="4875995" y="2171220"/>
                  </a:cubicBezTo>
                  <a:cubicBezTo>
                    <a:pt x="4494820" y="1988123"/>
                    <a:pt x="4148713" y="1737892"/>
                    <a:pt x="3814803" y="1496814"/>
                  </a:cubicBezTo>
                  <a:cubicBezTo>
                    <a:pt x="3441252" y="1226747"/>
                    <a:pt x="3055502" y="949051"/>
                    <a:pt x="2620962" y="761377"/>
                  </a:cubicBezTo>
                  <a:cubicBezTo>
                    <a:pt x="2030903" y="509619"/>
                    <a:pt x="1399676" y="353987"/>
                    <a:pt x="789796" y="202932"/>
                  </a:cubicBezTo>
                  <a:cubicBezTo>
                    <a:pt x="529072" y="138848"/>
                    <a:pt x="263774" y="73239"/>
                    <a:pt x="0" y="0"/>
                  </a:cubicBezTo>
                  <a:close/>
                </a:path>
              </a:pathLst>
            </a:custGeom>
            <a:solidFill>
              <a:srgbClr val="C3C4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12" name="Freeform: Shape 111"/>
            <p:cNvSpPr>
              <a:spLocks/>
            </p:cNvSpPr>
            <p:nvPr userDrawn="1"/>
          </p:nvSpPr>
          <p:spPr bwMode="auto">
            <a:xfrm>
              <a:off x="5279287" y="1"/>
              <a:ext cx="6913913" cy="3065889"/>
            </a:xfrm>
            <a:custGeom>
              <a:avLst/>
              <a:gdLst>
                <a:gd name="connsiteX0" fmla="*/ 0 w 6913913"/>
                <a:gd name="connsiteY0" fmla="*/ 0 h 3065889"/>
                <a:gd name="connsiteX1" fmla="*/ 50315 w 6913913"/>
                <a:gd name="connsiteY1" fmla="*/ 0 h 3065889"/>
                <a:gd name="connsiteX2" fmla="*/ 385745 w 6913913"/>
                <a:gd name="connsiteY2" fmla="*/ 102261 h 3065889"/>
                <a:gd name="connsiteX3" fmla="*/ 2204691 w 6913913"/>
                <a:gd name="connsiteY3" fmla="*/ 731090 h 3065889"/>
                <a:gd name="connsiteX4" fmla="*/ 3387845 w 6913913"/>
                <a:gd name="connsiteY4" fmla="*/ 1387393 h 3065889"/>
                <a:gd name="connsiteX5" fmla="*/ 4456647 w 6913913"/>
                <a:gd name="connsiteY5" fmla="*/ 1993328 h 3065889"/>
                <a:gd name="connsiteX6" fmla="*/ 6621696 w 6913913"/>
                <a:gd name="connsiteY6" fmla="*/ 2927414 h 3065889"/>
                <a:gd name="connsiteX7" fmla="*/ 6913913 w 6913913"/>
                <a:gd name="connsiteY7" fmla="*/ 3049393 h 3065889"/>
                <a:gd name="connsiteX8" fmla="*/ 6913913 w 6913913"/>
                <a:gd name="connsiteY8" fmla="*/ 3065889 h 3065889"/>
                <a:gd name="connsiteX9" fmla="*/ 6617122 w 6913913"/>
                <a:gd name="connsiteY9" fmla="*/ 2941151 h 3065889"/>
                <a:gd name="connsiteX10" fmla="*/ 4450549 w 6913913"/>
                <a:gd name="connsiteY10" fmla="*/ 2005538 h 3065889"/>
                <a:gd name="connsiteX11" fmla="*/ 3380221 w 6913913"/>
                <a:gd name="connsiteY11" fmla="*/ 1399603 h 3065889"/>
                <a:gd name="connsiteX12" fmla="*/ 2200117 w 6913913"/>
                <a:gd name="connsiteY12" fmla="*/ 744827 h 3065889"/>
                <a:gd name="connsiteX13" fmla="*/ 381171 w 6913913"/>
                <a:gd name="connsiteY13" fmla="*/ 117524 h 3065889"/>
                <a:gd name="connsiteX14" fmla="*/ 0 w 6913913"/>
                <a:gd name="connsiteY14" fmla="*/ 0 h 3065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913913" h="3065889">
                  <a:moveTo>
                    <a:pt x="0" y="0"/>
                  </a:moveTo>
                  <a:cubicBezTo>
                    <a:pt x="0" y="0"/>
                    <a:pt x="0" y="0"/>
                    <a:pt x="50315" y="0"/>
                  </a:cubicBezTo>
                  <a:cubicBezTo>
                    <a:pt x="163141" y="35105"/>
                    <a:pt x="274443" y="68683"/>
                    <a:pt x="385745" y="102261"/>
                  </a:cubicBezTo>
                  <a:cubicBezTo>
                    <a:pt x="989519" y="286942"/>
                    <a:pt x="1614639" y="477727"/>
                    <a:pt x="2204691" y="731090"/>
                  </a:cubicBezTo>
                  <a:cubicBezTo>
                    <a:pt x="2622454" y="911192"/>
                    <a:pt x="3011248" y="1152345"/>
                    <a:pt x="3387845" y="1387393"/>
                  </a:cubicBezTo>
                  <a:cubicBezTo>
                    <a:pt x="3729373" y="1601073"/>
                    <a:pt x="4083100" y="1820858"/>
                    <a:pt x="4456647" y="1993328"/>
                  </a:cubicBezTo>
                  <a:cubicBezTo>
                    <a:pt x="5170199" y="2319953"/>
                    <a:pt x="5908145" y="2629789"/>
                    <a:pt x="6621696" y="2927414"/>
                  </a:cubicBezTo>
                  <a:lnTo>
                    <a:pt x="6913913" y="3049393"/>
                  </a:lnTo>
                  <a:lnTo>
                    <a:pt x="6913913" y="3065889"/>
                  </a:lnTo>
                  <a:lnTo>
                    <a:pt x="6617122" y="2941151"/>
                  </a:lnTo>
                  <a:cubicBezTo>
                    <a:pt x="5902046" y="2641999"/>
                    <a:pt x="5164099" y="2333689"/>
                    <a:pt x="4450549" y="2005538"/>
                  </a:cubicBezTo>
                  <a:cubicBezTo>
                    <a:pt x="4075477" y="1834594"/>
                    <a:pt x="3721750" y="1613283"/>
                    <a:pt x="3380221" y="1399603"/>
                  </a:cubicBezTo>
                  <a:cubicBezTo>
                    <a:pt x="3005149" y="1166082"/>
                    <a:pt x="2616355" y="923402"/>
                    <a:pt x="2200117" y="744827"/>
                  </a:cubicBezTo>
                  <a:cubicBezTo>
                    <a:pt x="1608540" y="491464"/>
                    <a:pt x="984945" y="300678"/>
                    <a:pt x="381171" y="117524"/>
                  </a:cubicBezTo>
                  <a:cubicBezTo>
                    <a:pt x="254622" y="77841"/>
                    <a:pt x="128074" y="39683"/>
                    <a:pt x="0" y="0"/>
                  </a:cubicBezTo>
                  <a:close/>
                </a:path>
              </a:pathLst>
            </a:custGeom>
            <a:solidFill>
              <a:srgbClr val="C2C4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10" name="Freeform: Shape 109"/>
            <p:cNvSpPr>
              <a:spLocks/>
            </p:cNvSpPr>
            <p:nvPr userDrawn="1"/>
          </p:nvSpPr>
          <p:spPr bwMode="auto">
            <a:xfrm>
              <a:off x="5667316" y="1"/>
              <a:ext cx="6525884" cy="2863221"/>
            </a:xfrm>
            <a:custGeom>
              <a:avLst/>
              <a:gdLst>
                <a:gd name="connsiteX0" fmla="*/ 0 w 6525884"/>
                <a:gd name="connsiteY0" fmla="*/ 0 h 2863221"/>
                <a:gd name="connsiteX1" fmla="*/ 44221 w 6525884"/>
                <a:gd name="connsiteY1" fmla="*/ 0 h 2863221"/>
                <a:gd name="connsiteX2" fmla="*/ 109790 w 6525884"/>
                <a:gd name="connsiteY2" fmla="*/ 24416 h 2863221"/>
                <a:gd name="connsiteX3" fmla="*/ 1889300 w 6525884"/>
                <a:gd name="connsiteY3" fmla="*/ 708059 h 2863221"/>
                <a:gd name="connsiteX4" fmla="*/ 3051242 w 6525884"/>
                <a:gd name="connsiteY4" fmla="*/ 1281831 h 2863221"/>
                <a:gd name="connsiteX5" fmla="*/ 4141516 w 6525884"/>
                <a:gd name="connsiteY5" fmla="*/ 1825084 h 2863221"/>
                <a:gd name="connsiteX6" fmla="*/ 6273268 w 6525884"/>
                <a:gd name="connsiteY6" fmla="*/ 2739151 h 2863221"/>
                <a:gd name="connsiteX7" fmla="*/ 6525884 w 6525884"/>
                <a:gd name="connsiteY7" fmla="*/ 2846566 h 2863221"/>
                <a:gd name="connsiteX8" fmla="*/ 6525884 w 6525884"/>
                <a:gd name="connsiteY8" fmla="*/ 2863221 h 2863221"/>
                <a:gd name="connsiteX9" fmla="*/ 6267168 w 6525884"/>
                <a:gd name="connsiteY9" fmla="*/ 2752885 h 2863221"/>
                <a:gd name="connsiteX10" fmla="*/ 4135416 w 6525884"/>
                <a:gd name="connsiteY10" fmla="*/ 1838818 h 2863221"/>
                <a:gd name="connsiteX11" fmla="*/ 3045142 w 6525884"/>
                <a:gd name="connsiteY11" fmla="*/ 1295565 h 2863221"/>
                <a:gd name="connsiteX12" fmla="*/ 1883200 w 6525884"/>
                <a:gd name="connsiteY12" fmla="*/ 721793 h 2863221"/>
                <a:gd name="connsiteX13" fmla="*/ 105215 w 6525884"/>
                <a:gd name="connsiteY13" fmla="*/ 38150 h 2863221"/>
                <a:gd name="connsiteX14" fmla="*/ 0 w 6525884"/>
                <a:gd name="connsiteY14" fmla="*/ 0 h 2863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525884" h="2863221">
                  <a:moveTo>
                    <a:pt x="0" y="0"/>
                  </a:moveTo>
                  <a:cubicBezTo>
                    <a:pt x="0" y="0"/>
                    <a:pt x="0" y="0"/>
                    <a:pt x="44221" y="0"/>
                  </a:cubicBezTo>
                  <a:cubicBezTo>
                    <a:pt x="65569" y="7630"/>
                    <a:pt x="88442" y="15260"/>
                    <a:pt x="109790" y="24416"/>
                  </a:cubicBezTo>
                  <a:cubicBezTo>
                    <a:pt x="698385" y="238054"/>
                    <a:pt x="1305279" y="457797"/>
                    <a:pt x="1889300" y="708059"/>
                  </a:cubicBezTo>
                  <a:cubicBezTo>
                    <a:pt x="2288813" y="878970"/>
                    <a:pt x="2676127" y="1083453"/>
                    <a:pt x="3051242" y="1281831"/>
                  </a:cubicBezTo>
                  <a:cubicBezTo>
                    <a:pt x="3403484" y="1469528"/>
                    <a:pt x="3769450" y="1661803"/>
                    <a:pt x="4141516" y="1825084"/>
                  </a:cubicBezTo>
                  <a:cubicBezTo>
                    <a:pt x="4849050" y="2136385"/>
                    <a:pt x="5573358" y="2443109"/>
                    <a:pt x="6273268" y="2739151"/>
                  </a:cubicBezTo>
                  <a:lnTo>
                    <a:pt x="6525884" y="2846566"/>
                  </a:lnTo>
                  <a:lnTo>
                    <a:pt x="6525884" y="2863221"/>
                  </a:lnTo>
                  <a:lnTo>
                    <a:pt x="6267168" y="2752885"/>
                  </a:lnTo>
                  <a:cubicBezTo>
                    <a:pt x="5567258" y="2456843"/>
                    <a:pt x="4842950" y="2150119"/>
                    <a:pt x="4135416" y="1838818"/>
                  </a:cubicBezTo>
                  <a:cubicBezTo>
                    <a:pt x="3761826" y="1675537"/>
                    <a:pt x="3397385" y="1481736"/>
                    <a:pt x="3045142" y="1295565"/>
                  </a:cubicBezTo>
                  <a:cubicBezTo>
                    <a:pt x="2670027" y="1097187"/>
                    <a:pt x="2281188" y="892704"/>
                    <a:pt x="1883200" y="721793"/>
                  </a:cubicBezTo>
                  <a:cubicBezTo>
                    <a:pt x="1299180" y="471531"/>
                    <a:pt x="692286" y="251788"/>
                    <a:pt x="105215" y="38150"/>
                  </a:cubicBezTo>
                  <a:cubicBezTo>
                    <a:pt x="70144" y="25942"/>
                    <a:pt x="35072" y="12208"/>
                    <a:pt x="0" y="0"/>
                  </a:cubicBezTo>
                  <a:close/>
                </a:path>
              </a:pathLst>
            </a:custGeom>
            <a:solidFill>
              <a:srgbClr val="C2C3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51" name="Freeform 40"/>
            <p:cNvSpPr>
              <a:spLocks/>
            </p:cNvSpPr>
            <p:nvPr userDrawn="1"/>
          </p:nvSpPr>
          <p:spPr bwMode="auto">
            <a:xfrm>
              <a:off x="-792" y="4832724"/>
              <a:ext cx="5053996" cy="732765"/>
            </a:xfrm>
            <a:custGeom>
              <a:avLst/>
              <a:gdLst>
                <a:gd name="T0" fmla="*/ 2531 w 3314"/>
                <a:gd name="T1" fmla="*/ 341 h 480"/>
                <a:gd name="T2" fmla="*/ 2388 w 3314"/>
                <a:gd name="T3" fmla="*/ 357 h 480"/>
                <a:gd name="T4" fmla="*/ 2141 w 3314"/>
                <a:gd name="T5" fmla="*/ 386 h 480"/>
                <a:gd name="T6" fmla="*/ 1044 w 3314"/>
                <a:gd name="T7" fmla="*/ 413 h 480"/>
                <a:gd name="T8" fmla="*/ 290 w 3314"/>
                <a:gd name="T9" fmla="*/ 132 h 480"/>
                <a:gd name="T10" fmla="*/ 18 w 3314"/>
                <a:gd name="T11" fmla="*/ 8 h 480"/>
                <a:gd name="T12" fmla="*/ 0 w 3314"/>
                <a:gd name="T13" fmla="*/ 0 h 480"/>
                <a:gd name="T14" fmla="*/ 0 w 3314"/>
                <a:gd name="T15" fmla="*/ 4 h 480"/>
                <a:gd name="T16" fmla="*/ 17 w 3314"/>
                <a:gd name="T17" fmla="*/ 11 h 480"/>
                <a:gd name="T18" fmla="*/ 288 w 3314"/>
                <a:gd name="T19" fmla="*/ 135 h 480"/>
                <a:gd name="T20" fmla="*/ 1043 w 3314"/>
                <a:gd name="T21" fmla="*/ 416 h 480"/>
                <a:gd name="T22" fmla="*/ 2142 w 3314"/>
                <a:gd name="T23" fmla="*/ 390 h 480"/>
                <a:gd name="T24" fmla="*/ 2388 w 3314"/>
                <a:gd name="T25" fmla="*/ 361 h 480"/>
                <a:gd name="T26" fmla="*/ 2532 w 3314"/>
                <a:gd name="T27" fmla="*/ 345 h 480"/>
                <a:gd name="T28" fmla="*/ 3302 w 3314"/>
                <a:gd name="T29" fmla="*/ 315 h 480"/>
                <a:gd name="T30" fmla="*/ 3314 w 3314"/>
                <a:gd name="T31" fmla="*/ 313 h 480"/>
                <a:gd name="T32" fmla="*/ 2531 w 3314"/>
                <a:gd name="T33" fmla="*/ 341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14" h="480">
                  <a:moveTo>
                    <a:pt x="2531" y="341"/>
                  </a:moveTo>
                  <a:cubicBezTo>
                    <a:pt x="2481" y="347"/>
                    <a:pt x="2434" y="352"/>
                    <a:pt x="2388" y="357"/>
                  </a:cubicBezTo>
                  <a:cubicBezTo>
                    <a:pt x="2306" y="366"/>
                    <a:pt x="2222" y="376"/>
                    <a:pt x="2141" y="386"/>
                  </a:cubicBezTo>
                  <a:cubicBezTo>
                    <a:pt x="1778" y="431"/>
                    <a:pt x="1402" y="477"/>
                    <a:pt x="1044" y="413"/>
                  </a:cubicBezTo>
                  <a:cubicBezTo>
                    <a:pt x="788" y="367"/>
                    <a:pt x="535" y="247"/>
                    <a:pt x="290" y="132"/>
                  </a:cubicBezTo>
                  <a:cubicBezTo>
                    <a:pt x="196" y="88"/>
                    <a:pt x="107" y="46"/>
                    <a:pt x="18" y="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06" y="49"/>
                    <a:pt x="194" y="91"/>
                    <a:pt x="288" y="135"/>
                  </a:cubicBezTo>
                  <a:cubicBezTo>
                    <a:pt x="533" y="251"/>
                    <a:pt x="787" y="370"/>
                    <a:pt x="1043" y="416"/>
                  </a:cubicBezTo>
                  <a:cubicBezTo>
                    <a:pt x="1402" y="480"/>
                    <a:pt x="1778" y="434"/>
                    <a:pt x="2142" y="390"/>
                  </a:cubicBezTo>
                  <a:cubicBezTo>
                    <a:pt x="2223" y="380"/>
                    <a:pt x="2307" y="370"/>
                    <a:pt x="2388" y="361"/>
                  </a:cubicBezTo>
                  <a:cubicBezTo>
                    <a:pt x="2434" y="356"/>
                    <a:pt x="2482" y="351"/>
                    <a:pt x="2532" y="345"/>
                  </a:cubicBezTo>
                  <a:cubicBezTo>
                    <a:pt x="2781" y="315"/>
                    <a:pt x="3053" y="284"/>
                    <a:pt x="3302" y="315"/>
                  </a:cubicBezTo>
                  <a:cubicBezTo>
                    <a:pt x="3314" y="313"/>
                    <a:pt x="3314" y="313"/>
                    <a:pt x="3314" y="313"/>
                  </a:cubicBezTo>
                  <a:cubicBezTo>
                    <a:pt x="3062" y="279"/>
                    <a:pt x="2785" y="311"/>
                    <a:pt x="2531" y="341"/>
                  </a:cubicBezTo>
                  <a:close/>
                </a:path>
              </a:pathLst>
            </a:custGeom>
            <a:solidFill>
              <a:srgbClr val="D3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2" name="Freeform 41"/>
            <p:cNvSpPr>
              <a:spLocks/>
            </p:cNvSpPr>
            <p:nvPr userDrawn="1"/>
          </p:nvSpPr>
          <p:spPr bwMode="auto">
            <a:xfrm>
              <a:off x="-792" y="4632296"/>
              <a:ext cx="5714608" cy="755213"/>
            </a:xfrm>
            <a:custGeom>
              <a:avLst/>
              <a:gdLst>
                <a:gd name="T0" fmla="*/ 3707 w 3747"/>
                <a:gd name="T1" fmla="*/ 348 h 495"/>
                <a:gd name="T2" fmla="*/ 2619 w 3747"/>
                <a:gd name="T3" fmla="*/ 320 h 495"/>
                <a:gd name="T4" fmla="*/ 2467 w 3747"/>
                <a:gd name="T5" fmla="*/ 342 h 495"/>
                <a:gd name="T6" fmla="*/ 2211 w 3747"/>
                <a:gd name="T7" fmla="*/ 379 h 495"/>
                <a:gd name="T8" fmla="*/ 1093 w 3747"/>
                <a:gd name="T9" fmla="*/ 431 h 495"/>
                <a:gd name="T10" fmla="*/ 336 w 3747"/>
                <a:gd name="T11" fmla="*/ 152 h 495"/>
                <a:gd name="T12" fmla="*/ 66 w 3747"/>
                <a:gd name="T13" fmla="*/ 28 h 495"/>
                <a:gd name="T14" fmla="*/ 0 w 3747"/>
                <a:gd name="T15" fmla="*/ 0 h 495"/>
                <a:gd name="T16" fmla="*/ 0 w 3747"/>
                <a:gd name="T17" fmla="*/ 4 h 495"/>
                <a:gd name="T18" fmla="*/ 64 w 3747"/>
                <a:gd name="T19" fmla="*/ 31 h 495"/>
                <a:gd name="T20" fmla="*/ 334 w 3747"/>
                <a:gd name="T21" fmla="*/ 155 h 495"/>
                <a:gd name="T22" fmla="*/ 1092 w 3747"/>
                <a:gd name="T23" fmla="*/ 435 h 495"/>
                <a:gd name="T24" fmla="*/ 2212 w 3747"/>
                <a:gd name="T25" fmla="*/ 382 h 495"/>
                <a:gd name="T26" fmla="*/ 2468 w 3747"/>
                <a:gd name="T27" fmla="*/ 346 h 495"/>
                <a:gd name="T28" fmla="*/ 2620 w 3747"/>
                <a:gd name="T29" fmla="*/ 324 h 495"/>
                <a:gd name="T30" fmla="*/ 3705 w 3747"/>
                <a:gd name="T31" fmla="*/ 351 h 495"/>
                <a:gd name="T32" fmla="*/ 3741 w 3747"/>
                <a:gd name="T33" fmla="*/ 368 h 495"/>
                <a:gd name="T34" fmla="*/ 3747 w 3747"/>
                <a:gd name="T35" fmla="*/ 367 h 495"/>
                <a:gd name="T36" fmla="*/ 3707 w 3747"/>
                <a:gd name="T37" fmla="*/ 348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747" h="495">
                  <a:moveTo>
                    <a:pt x="3707" y="348"/>
                  </a:moveTo>
                  <a:cubicBezTo>
                    <a:pt x="3390" y="209"/>
                    <a:pt x="2962" y="271"/>
                    <a:pt x="2619" y="320"/>
                  </a:cubicBezTo>
                  <a:cubicBezTo>
                    <a:pt x="2566" y="328"/>
                    <a:pt x="2516" y="335"/>
                    <a:pt x="2467" y="342"/>
                  </a:cubicBezTo>
                  <a:cubicBezTo>
                    <a:pt x="2383" y="353"/>
                    <a:pt x="2296" y="366"/>
                    <a:pt x="2211" y="379"/>
                  </a:cubicBezTo>
                  <a:cubicBezTo>
                    <a:pt x="1841" y="434"/>
                    <a:pt x="1458" y="491"/>
                    <a:pt x="1093" y="431"/>
                  </a:cubicBezTo>
                  <a:cubicBezTo>
                    <a:pt x="837" y="389"/>
                    <a:pt x="582" y="268"/>
                    <a:pt x="336" y="152"/>
                  </a:cubicBezTo>
                  <a:cubicBezTo>
                    <a:pt x="242" y="107"/>
                    <a:pt x="154" y="66"/>
                    <a:pt x="66" y="2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64" y="31"/>
                    <a:pt x="64" y="31"/>
                    <a:pt x="64" y="31"/>
                  </a:cubicBezTo>
                  <a:cubicBezTo>
                    <a:pt x="153" y="69"/>
                    <a:pt x="241" y="111"/>
                    <a:pt x="334" y="155"/>
                  </a:cubicBezTo>
                  <a:cubicBezTo>
                    <a:pt x="580" y="272"/>
                    <a:pt x="835" y="392"/>
                    <a:pt x="1092" y="435"/>
                  </a:cubicBezTo>
                  <a:cubicBezTo>
                    <a:pt x="1458" y="495"/>
                    <a:pt x="1841" y="438"/>
                    <a:pt x="2212" y="382"/>
                  </a:cubicBezTo>
                  <a:cubicBezTo>
                    <a:pt x="2296" y="370"/>
                    <a:pt x="2384" y="357"/>
                    <a:pt x="2468" y="346"/>
                  </a:cubicBezTo>
                  <a:cubicBezTo>
                    <a:pt x="2517" y="339"/>
                    <a:pt x="2567" y="332"/>
                    <a:pt x="2620" y="324"/>
                  </a:cubicBezTo>
                  <a:cubicBezTo>
                    <a:pt x="2962" y="275"/>
                    <a:pt x="3389" y="213"/>
                    <a:pt x="3705" y="351"/>
                  </a:cubicBezTo>
                  <a:cubicBezTo>
                    <a:pt x="3717" y="357"/>
                    <a:pt x="3729" y="362"/>
                    <a:pt x="3741" y="368"/>
                  </a:cubicBezTo>
                  <a:cubicBezTo>
                    <a:pt x="3747" y="367"/>
                    <a:pt x="3747" y="367"/>
                    <a:pt x="3747" y="367"/>
                  </a:cubicBezTo>
                  <a:cubicBezTo>
                    <a:pt x="3734" y="361"/>
                    <a:pt x="3720" y="354"/>
                    <a:pt x="3707" y="348"/>
                  </a:cubicBezTo>
                  <a:close/>
                </a:path>
              </a:pathLst>
            </a:custGeom>
            <a:solidFill>
              <a:srgbClr val="D3D4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3" name="Freeform 42"/>
            <p:cNvSpPr>
              <a:spLocks/>
            </p:cNvSpPr>
            <p:nvPr userDrawn="1"/>
          </p:nvSpPr>
          <p:spPr bwMode="auto">
            <a:xfrm>
              <a:off x="-792" y="4433471"/>
              <a:ext cx="6110654" cy="780868"/>
            </a:xfrm>
            <a:custGeom>
              <a:avLst/>
              <a:gdLst>
                <a:gd name="T0" fmla="*/ 3801 w 4007"/>
                <a:gd name="T1" fmla="*/ 317 h 512"/>
                <a:gd name="T2" fmla="*/ 2697 w 4007"/>
                <a:gd name="T3" fmla="*/ 307 h 512"/>
                <a:gd name="T4" fmla="*/ 2542 w 4007"/>
                <a:gd name="T5" fmla="*/ 332 h 512"/>
                <a:gd name="T6" fmla="*/ 2277 w 4007"/>
                <a:gd name="T7" fmla="*/ 376 h 512"/>
                <a:gd name="T8" fmla="*/ 1141 w 4007"/>
                <a:gd name="T9" fmla="*/ 450 h 512"/>
                <a:gd name="T10" fmla="*/ 383 w 4007"/>
                <a:gd name="T11" fmla="*/ 172 h 512"/>
                <a:gd name="T12" fmla="*/ 113 w 4007"/>
                <a:gd name="T13" fmla="*/ 48 h 512"/>
                <a:gd name="T14" fmla="*/ 0 w 4007"/>
                <a:gd name="T15" fmla="*/ 0 h 512"/>
                <a:gd name="T16" fmla="*/ 0 w 4007"/>
                <a:gd name="T17" fmla="*/ 4 h 512"/>
                <a:gd name="T18" fmla="*/ 112 w 4007"/>
                <a:gd name="T19" fmla="*/ 52 h 512"/>
                <a:gd name="T20" fmla="*/ 381 w 4007"/>
                <a:gd name="T21" fmla="*/ 176 h 512"/>
                <a:gd name="T22" fmla="*/ 1140 w 4007"/>
                <a:gd name="T23" fmla="*/ 454 h 512"/>
                <a:gd name="T24" fmla="*/ 2277 w 4007"/>
                <a:gd name="T25" fmla="*/ 380 h 512"/>
                <a:gd name="T26" fmla="*/ 2542 w 4007"/>
                <a:gd name="T27" fmla="*/ 336 h 512"/>
                <a:gd name="T28" fmla="*/ 2698 w 4007"/>
                <a:gd name="T29" fmla="*/ 311 h 512"/>
                <a:gd name="T30" fmla="*/ 3799 w 4007"/>
                <a:gd name="T31" fmla="*/ 321 h 512"/>
                <a:gd name="T32" fmla="*/ 4002 w 4007"/>
                <a:gd name="T33" fmla="*/ 453 h 512"/>
                <a:gd name="T34" fmla="*/ 4007 w 4007"/>
                <a:gd name="T35" fmla="*/ 453 h 512"/>
                <a:gd name="T36" fmla="*/ 3801 w 4007"/>
                <a:gd name="T37" fmla="*/ 317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07" h="512">
                  <a:moveTo>
                    <a:pt x="3801" y="317"/>
                  </a:moveTo>
                  <a:cubicBezTo>
                    <a:pt x="3480" y="176"/>
                    <a:pt x="3046" y="249"/>
                    <a:pt x="2697" y="307"/>
                  </a:cubicBezTo>
                  <a:cubicBezTo>
                    <a:pt x="2643" y="316"/>
                    <a:pt x="2591" y="325"/>
                    <a:pt x="2542" y="332"/>
                  </a:cubicBezTo>
                  <a:cubicBezTo>
                    <a:pt x="2455" y="346"/>
                    <a:pt x="2364" y="361"/>
                    <a:pt x="2277" y="376"/>
                  </a:cubicBezTo>
                  <a:cubicBezTo>
                    <a:pt x="1901" y="441"/>
                    <a:pt x="1512" y="508"/>
                    <a:pt x="1141" y="450"/>
                  </a:cubicBezTo>
                  <a:cubicBezTo>
                    <a:pt x="885" y="410"/>
                    <a:pt x="630" y="289"/>
                    <a:pt x="383" y="172"/>
                  </a:cubicBezTo>
                  <a:cubicBezTo>
                    <a:pt x="289" y="128"/>
                    <a:pt x="201" y="86"/>
                    <a:pt x="113" y="4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12" y="52"/>
                    <a:pt x="112" y="52"/>
                    <a:pt x="112" y="52"/>
                  </a:cubicBezTo>
                  <a:cubicBezTo>
                    <a:pt x="200" y="89"/>
                    <a:pt x="288" y="131"/>
                    <a:pt x="381" y="176"/>
                  </a:cubicBezTo>
                  <a:cubicBezTo>
                    <a:pt x="628" y="293"/>
                    <a:pt x="884" y="414"/>
                    <a:pt x="1140" y="454"/>
                  </a:cubicBezTo>
                  <a:cubicBezTo>
                    <a:pt x="1512" y="512"/>
                    <a:pt x="1901" y="445"/>
                    <a:pt x="2277" y="380"/>
                  </a:cubicBezTo>
                  <a:cubicBezTo>
                    <a:pt x="2365" y="365"/>
                    <a:pt x="2455" y="350"/>
                    <a:pt x="2542" y="336"/>
                  </a:cubicBezTo>
                  <a:cubicBezTo>
                    <a:pt x="2592" y="329"/>
                    <a:pt x="2643" y="320"/>
                    <a:pt x="2698" y="311"/>
                  </a:cubicBezTo>
                  <a:cubicBezTo>
                    <a:pt x="3046" y="253"/>
                    <a:pt x="3479" y="180"/>
                    <a:pt x="3799" y="321"/>
                  </a:cubicBezTo>
                  <a:cubicBezTo>
                    <a:pt x="3877" y="355"/>
                    <a:pt x="3944" y="400"/>
                    <a:pt x="4002" y="453"/>
                  </a:cubicBezTo>
                  <a:cubicBezTo>
                    <a:pt x="4007" y="453"/>
                    <a:pt x="4007" y="453"/>
                    <a:pt x="4007" y="453"/>
                  </a:cubicBezTo>
                  <a:cubicBezTo>
                    <a:pt x="3945" y="396"/>
                    <a:pt x="3877" y="351"/>
                    <a:pt x="3801" y="317"/>
                  </a:cubicBezTo>
                  <a:close/>
                </a:path>
              </a:pathLst>
            </a:custGeom>
            <a:solidFill>
              <a:srgbClr val="D2D4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4" name="Freeform 43"/>
            <p:cNvSpPr>
              <a:spLocks/>
            </p:cNvSpPr>
            <p:nvPr userDrawn="1"/>
          </p:nvSpPr>
          <p:spPr bwMode="auto">
            <a:xfrm>
              <a:off x="-792" y="4233043"/>
              <a:ext cx="6388046" cy="841798"/>
            </a:xfrm>
            <a:custGeom>
              <a:avLst/>
              <a:gdLst>
                <a:gd name="T0" fmla="*/ 3883 w 4189"/>
                <a:gd name="T1" fmla="*/ 299 h 552"/>
                <a:gd name="T2" fmla="*/ 2764 w 4189"/>
                <a:gd name="T3" fmla="*/ 302 h 552"/>
                <a:gd name="T4" fmla="*/ 2609 w 4189"/>
                <a:gd name="T5" fmla="*/ 330 h 552"/>
                <a:gd name="T6" fmla="*/ 2337 w 4189"/>
                <a:gd name="T7" fmla="*/ 380 h 552"/>
                <a:gd name="T8" fmla="*/ 1188 w 4189"/>
                <a:gd name="T9" fmla="*/ 471 h 552"/>
                <a:gd name="T10" fmla="*/ 431 w 4189"/>
                <a:gd name="T11" fmla="*/ 193 h 552"/>
                <a:gd name="T12" fmla="*/ 160 w 4189"/>
                <a:gd name="T13" fmla="*/ 68 h 552"/>
                <a:gd name="T14" fmla="*/ 0 w 4189"/>
                <a:gd name="T15" fmla="*/ 0 h 552"/>
                <a:gd name="T16" fmla="*/ 0 w 4189"/>
                <a:gd name="T17" fmla="*/ 4 h 552"/>
                <a:gd name="T18" fmla="*/ 159 w 4189"/>
                <a:gd name="T19" fmla="*/ 72 h 552"/>
                <a:gd name="T20" fmla="*/ 430 w 4189"/>
                <a:gd name="T21" fmla="*/ 197 h 552"/>
                <a:gd name="T22" fmla="*/ 1187 w 4189"/>
                <a:gd name="T23" fmla="*/ 475 h 552"/>
                <a:gd name="T24" fmla="*/ 2338 w 4189"/>
                <a:gd name="T25" fmla="*/ 384 h 552"/>
                <a:gd name="T26" fmla="*/ 2610 w 4189"/>
                <a:gd name="T27" fmla="*/ 334 h 552"/>
                <a:gd name="T28" fmla="*/ 2765 w 4189"/>
                <a:gd name="T29" fmla="*/ 306 h 552"/>
                <a:gd name="T30" fmla="*/ 3881 w 4189"/>
                <a:gd name="T31" fmla="*/ 303 h 552"/>
                <a:gd name="T32" fmla="*/ 4183 w 4189"/>
                <a:gd name="T33" fmla="*/ 552 h 552"/>
                <a:gd name="T34" fmla="*/ 4189 w 4189"/>
                <a:gd name="T35" fmla="*/ 551 h 552"/>
                <a:gd name="T36" fmla="*/ 3883 w 4189"/>
                <a:gd name="T37" fmla="*/ 299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189" h="552">
                  <a:moveTo>
                    <a:pt x="3883" y="299"/>
                  </a:moveTo>
                  <a:cubicBezTo>
                    <a:pt x="3557" y="156"/>
                    <a:pt x="3118" y="237"/>
                    <a:pt x="2764" y="302"/>
                  </a:cubicBezTo>
                  <a:cubicBezTo>
                    <a:pt x="2710" y="312"/>
                    <a:pt x="2659" y="322"/>
                    <a:pt x="2609" y="330"/>
                  </a:cubicBezTo>
                  <a:cubicBezTo>
                    <a:pt x="2520" y="345"/>
                    <a:pt x="2427" y="363"/>
                    <a:pt x="2337" y="380"/>
                  </a:cubicBezTo>
                  <a:cubicBezTo>
                    <a:pt x="1956" y="453"/>
                    <a:pt x="1563" y="528"/>
                    <a:pt x="1188" y="471"/>
                  </a:cubicBezTo>
                  <a:cubicBezTo>
                    <a:pt x="933" y="432"/>
                    <a:pt x="678" y="310"/>
                    <a:pt x="431" y="193"/>
                  </a:cubicBezTo>
                  <a:cubicBezTo>
                    <a:pt x="338" y="148"/>
                    <a:pt x="249" y="106"/>
                    <a:pt x="160" y="6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59" y="72"/>
                    <a:pt x="159" y="72"/>
                    <a:pt x="159" y="72"/>
                  </a:cubicBezTo>
                  <a:cubicBezTo>
                    <a:pt x="247" y="110"/>
                    <a:pt x="336" y="152"/>
                    <a:pt x="430" y="197"/>
                  </a:cubicBezTo>
                  <a:cubicBezTo>
                    <a:pt x="676" y="314"/>
                    <a:pt x="932" y="436"/>
                    <a:pt x="1187" y="475"/>
                  </a:cubicBezTo>
                  <a:cubicBezTo>
                    <a:pt x="1563" y="532"/>
                    <a:pt x="1957" y="457"/>
                    <a:pt x="2338" y="384"/>
                  </a:cubicBezTo>
                  <a:cubicBezTo>
                    <a:pt x="2428" y="367"/>
                    <a:pt x="2521" y="350"/>
                    <a:pt x="2610" y="334"/>
                  </a:cubicBezTo>
                  <a:cubicBezTo>
                    <a:pt x="2660" y="326"/>
                    <a:pt x="2711" y="316"/>
                    <a:pt x="2765" y="306"/>
                  </a:cubicBezTo>
                  <a:cubicBezTo>
                    <a:pt x="3118" y="241"/>
                    <a:pt x="3556" y="161"/>
                    <a:pt x="3881" y="303"/>
                  </a:cubicBezTo>
                  <a:cubicBezTo>
                    <a:pt x="4012" y="360"/>
                    <a:pt x="4108" y="447"/>
                    <a:pt x="4183" y="552"/>
                  </a:cubicBezTo>
                  <a:cubicBezTo>
                    <a:pt x="4189" y="551"/>
                    <a:pt x="4189" y="551"/>
                    <a:pt x="4189" y="551"/>
                  </a:cubicBezTo>
                  <a:cubicBezTo>
                    <a:pt x="4106" y="436"/>
                    <a:pt x="4005" y="353"/>
                    <a:pt x="3883" y="299"/>
                  </a:cubicBezTo>
                  <a:close/>
                </a:path>
              </a:pathLst>
            </a:custGeom>
            <a:solidFill>
              <a:srgbClr val="D2D3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5" name="Freeform 44"/>
            <p:cNvSpPr>
              <a:spLocks/>
            </p:cNvSpPr>
            <p:nvPr userDrawn="1"/>
          </p:nvSpPr>
          <p:spPr bwMode="auto">
            <a:xfrm>
              <a:off x="-792" y="4032615"/>
              <a:ext cx="6590077" cy="1006952"/>
            </a:xfrm>
            <a:custGeom>
              <a:avLst/>
              <a:gdLst>
                <a:gd name="T0" fmla="*/ 3951 w 4322"/>
                <a:gd name="T1" fmla="*/ 296 h 660"/>
                <a:gd name="T2" fmla="*/ 2820 w 4322"/>
                <a:gd name="T3" fmla="*/ 308 h 660"/>
                <a:gd name="T4" fmla="*/ 2669 w 4322"/>
                <a:gd name="T5" fmla="*/ 336 h 660"/>
                <a:gd name="T6" fmla="*/ 2391 w 4322"/>
                <a:gd name="T7" fmla="*/ 391 h 660"/>
                <a:gd name="T8" fmla="*/ 1234 w 4322"/>
                <a:gd name="T9" fmla="*/ 493 h 660"/>
                <a:gd name="T10" fmla="*/ 482 w 4322"/>
                <a:gd name="T11" fmla="*/ 214 h 660"/>
                <a:gd name="T12" fmla="*/ 208 w 4322"/>
                <a:gd name="T13" fmla="*/ 88 h 660"/>
                <a:gd name="T14" fmla="*/ 0 w 4322"/>
                <a:gd name="T15" fmla="*/ 0 h 660"/>
                <a:gd name="T16" fmla="*/ 0 w 4322"/>
                <a:gd name="T17" fmla="*/ 4 h 660"/>
                <a:gd name="T18" fmla="*/ 206 w 4322"/>
                <a:gd name="T19" fmla="*/ 92 h 660"/>
                <a:gd name="T20" fmla="*/ 480 w 4322"/>
                <a:gd name="T21" fmla="*/ 218 h 660"/>
                <a:gd name="T22" fmla="*/ 1233 w 4322"/>
                <a:gd name="T23" fmla="*/ 497 h 660"/>
                <a:gd name="T24" fmla="*/ 2392 w 4322"/>
                <a:gd name="T25" fmla="*/ 396 h 660"/>
                <a:gd name="T26" fmla="*/ 2670 w 4322"/>
                <a:gd name="T27" fmla="*/ 341 h 660"/>
                <a:gd name="T28" fmla="*/ 2821 w 4322"/>
                <a:gd name="T29" fmla="*/ 312 h 660"/>
                <a:gd name="T30" fmla="*/ 3949 w 4322"/>
                <a:gd name="T31" fmla="*/ 300 h 660"/>
                <a:gd name="T32" fmla="*/ 4317 w 4322"/>
                <a:gd name="T33" fmla="*/ 660 h 660"/>
                <a:gd name="T34" fmla="*/ 4322 w 4322"/>
                <a:gd name="T35" fmla="*/ 659 h 660"/>
                <a:gd name="T36" fmla="*/ 3951 w 4322"/>
                <a:gd name="T37" fmla="*/ 296 h 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322" h="660">
                  <a:moveTo>
                    <a:pt x="3951" y="296"/>
                  </a:moveTo>
                  <a:cubicBezTo>
                    <a:pt x="3619" y="151"/>
                    <a:pt x="3176" y="238"/>
                    <a:pt x="2820" y="308"/>
                  </a:cubicBezTo>
                  <a:cubicBezTo>
                    <a:pt x="2767" y="318"/>
                    <a:pt x="2718" y="328"/>
                    <a:pt x="2669" y="336"/>
                  </a:cubicBezTo>
                  <a:cubicBezTo>
                    <a:pt x="2578" y="353"/>
                    <a:pt x="2487" y="372"/>
                    <a:pt x="2391" y="391"/>
                  </a:cubicBezTo>
                  <a:cubicBezTo>
                    <a:pt x="2008" y="470"/>
                    <a:pt x="1611" y="552"/>
                    <a:pt x="1234" y="493"/>
                  </a:cubicBezTo>
                  <a:cubicBezTo>
                    <a:pt x="981" y="453"/>
                    <a:pt x="727" y="332"/>
                    <a:pt x="482" y="214"/>
                  </a:cubicBezTo>
                  <a:cubicBezTo>
                    <a:pt x="387" y="169"/>
                    <a:pt x="297" y="126"/>
                    <a:pt x="208" y="8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06" y="92"/>
                    <a:pt x="206" y="92"/>
                    <a:pt x="206" y="92"/>
                  </a:cubicBezTo>
                  <a:cubicBezTo>
                    <a:pt x="295" y="130"/>
                    <a:pt x="385" y="173"/>
                    <a:pt x="480" y="218"/>
                  </a:cubicBezTo>
                  <a:cubicBezTo>
                    <a:pt x="725" y="336"/>
                    <a:pt x="979" y="457"/>
                    <a:pt x="1233" y="497"/>
                  </a:cubicBezTo>
                  <a:cubicBezTo>
                    <a:pt x="1611" y="556"/>
                    <a:pt x="2008" y="475"/>
                    <a:pt x="2392" y="396"/>
                  </a:cubicBezTo>
                  <a:cubicBezTo>
                    <a:pt x="2488" y="376"/>
                    <a:pt x="2579" y="357"/>
                    <a:pt x="2670" y="341"/>
                  </a:cubicBezTo>
                  <a:cubicBezTo>
                    <a:pt x="2718" y="332"/>
                    <a:pt x="2768" y="322"/>
                    <a:pt x="2821" y="312"/>
                  </a:cubicBezTo>
                  <a:cubicBezTo>
                    <a:pt x="3176" y="242"/>
                    <a:pt x="3618" y="156"/>
                    <a:pt x="3949" y="300"/>
                  </a:cubicBezTo>
                  <a:cubicBezTo>
                    <a:pt x="4124" y="377"/>
                    <a:pt x="4237" y="505"/>
                    <a:pt x="4317" y="660"/>
                  </a:cubicBezTo>
                  <a:cubicBezTo>
                    <a:pt x="4322" y="659"/>
                    <a:pt x="4322" y="659"/>
                    <a:pt x="4322" y="659"/>
                  </a:cubicBezTo>
                  <a:cubicBezTo>
                    <a:pt x="4232" y="485"/>
                    <a:pt x="4111" y="366"/>
                    <a:pt x="3951" y="296"/>
                  </a:cubicBezTo>
                  <a:close/>
                </a:path>
              </a:pathLst>
            </a:custGeom>
            <a:solidFill>
              <a:srgbClr val="D1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6" name="Freeform 45"/>
            <p:cNvSpPr>
              <a:spLocks/>
            </p:cNvSpPr>
            <p:nvPr userDrawn="1"/>
          </p:nvSpPr>
          <p:spPr bwMode="auto">
            <a:xfrm>
              <a:off x="-792" y="3832187"/>
              <a:ext cx="6752023" cy="1178518"/>
            </a:xfrm>
            <a:custGeom>
              <a:avLst/>
              <a:gdLst>
                <a:gd name="T0" fmla="*/ 4389 w 4428"/>
                <a:gd name="T1" fmla="*/ 681 h 773"/>
                <a:gd name="T2" fmla="*/ 4010 w 4428"/>
                <a:gd name="T3" fmla="*/ 297 h 773"/>
                <a:gd name="T4" fmla="*/ 2870 w 4428"/>
                <a:gd name="T5" fmla="*/ 316 h 773"/>
                <a:gd name="T6" fmla="*/ 2723 w 4428"/>
                <a:gd name="T7" fmla="*/ 346 h 773"/>
                <a:gd name="T8" fmla="*/ 2443 w 4428"/>
                <a:gd name="T9" fmla="*/ 405 h 773"/>
                <a:gd name="T10" fmla="*/ 1280 w 4428"/>
                <a:gd name="T11" fmla="*/ 515 h 773"/>
                <a:gd name="T12" fmla="*/ 531 w 4428"/>
                <a:gd name="T13" fmla="*/ 237 h 773"/>
                <a:gd name="T14" fmla="*/ 255 w 4428"/>
                <a:gd name="T15" fmla="*/ 109 h 773"/>
                <a:gd name="T16" fmla="*/ 0 w 4428"/>
                <a:gd name="T17" fmla="*/ 0 h 773"/>
                <a:gd name="T18" fmla="*/ 0 w 4428"/>
                <a:gd name="T19" fmla="*/ 5 h 773"/>
                <a:gd name="T20" fmla="*/ 253 w 4428"/>
                <a:gd name="T21" fmla="*/ 113 h 773"/>
                <a:gd name="T22" fmla="*/ 529 w 4428"/>
                <a:gd name="T23" fmla="*/ 241 h 773"/>
                <a:gd name="T24" fmla="*/ 1279 w 4428"/>
                <a:gd name="T25" fmla="*/ 519 h 773"/>
                <a:gd name="T26" fmla="*/ 2444 w 4428"/>
                <a:gd name="T27" fmla="*/ 409 h 773"/>
                <a:gd name="T28" fmla="*/ 2724 w 4428"/>
                <a:gd name="T29" fmla="*/ 350 h 773"/>
                <a:gd name="T30" fmla="*/ 2871 w 4428"/>
                <a:gd name="T31" fmla="*/ 320 h 773"/>
                <a:gd name="T32" fmla="*/ 4008 w 4428"/>
                <a:gd name="T33" fmla="*/ 301 h 773"/>
                <a:gd name="T34" fmla="*/ 4423 w 4428"/>
                <a:gd name="T35" fmla="*/ 773 h 773"/>
                <a:gd name="T36" fmla="*/ 4428 w 4428"/>
                <a:gd name="T37" fmla="*/ 772 h 773"/>
                <a:gd name="T38" fmla="*/ 4389 w 4428"/>
                <a:gd name="T39" fmla="*/ 681 h 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428" h="773">
                  <a:moveTo>
                    <a:pt x="4389" y="681"/>
                  </a:moveTo>
                  <a:cubicBezTo>
                    <a:pt x="4301" y="495"/>
                    <a:pt x="4177" y="370"/>
                    <a:pt x="4010" y="297"/>
                  </a:cubicBezTo>
                  <a:cubicBezTo>
                    <a:pt x="3673" y="150"/>
                    <a:pt x="3228" y="242"/>
                    <a:pt x="2870" y="316"/>
                  </a:cubicBezTo>
                  <a:cubicBezTo>
                    <a:pt x="2819" y="326"/>
                    <a:pt x="2770" y="336"/>
                    <a:pt x="2723" y="346"/>
                  </a:cubicBezTo>
                  <a:cubicBezTo>
                    <a:pt x="2631" y="363"/>
                    <a:pt x="2540" y="383"/>
                    <a:pt x="2443" y="405"/>
                  </a:cubicBezTo>
                  <a:cubicBezTo>
                    <a:pt x="2057" y="489"/>
                    <a:pt x="1658" y="576"/>
                    <a:pt x="1280" y="515"/>
                  </a:cubicBezTo>
                  <a:cubicBezTo>
                    <a:pt x="1028" y="475"/>
                    <a:pt x="776" y="354"/>
                    <a:pt x="531" y="237"/>
                  </a:cubicBezTo>
                  <a:cubicBezTo>
                    <a:pt x="436" y="191"/>
                    <a:pt x="345" y="148"/>
                    <a:pt x="255" y="10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253" y="113"/>
                    <a:pt x="253" y="113"/>
                    <a:pt x="253" y="113"/>
                  </a:cubicBezTo>
                  <a:cubicBezTo>
                    <a:pt x="343" y="152"/>
                    <a:pt x="434" y="195"/>
                    <a:pt x="529" y="241"/>
                  </a:cubicBezTo>
                  <a:cubicBezTo>
                    <a:pt x="774" y="358"/>
                    <a:pt x="1027" y="479"/>
                    <a:pt x="1279" y="519"/>
                  </a:cubicBezTo>
                  <a:cubicBezTo>
                    <a:pt x="1658" y="580"/>
                    <a:pt x="2057" y="493"/>
                    <a:pt x="2444" y="409"/>
                  </a:cubicBezTo>
                  <a:cubicBezTo>
                    <a:pt x="2541" y="388"/>
                    <a:pt x="2632" y="368"/>
                    <a:pt x="2724" y="350"/>
                  </a:cubicBezTo>
                  <a:cubicBezTo>
                    <a:pt x="2771" y="341"/>
                    <a:pt x="2820" y="331"/>
                    <a:pt x="2871" y="320"/>
                  </a:cubicBezTo>
                  <a:cubicBezTo>
                    <a:pt x="3228" y="247"/>
                    <a:pt x="3672" y="155"/>
                    <a:pt x="4008" y="301"/>
                  </a:cubicBezTo>
                  <a:cubicBezTo>
                    <a:pt x="4224" y="396"/>
                    <a:pt x="4344" y="569"/>
                    <a:pt x="4423" y="773"/>
                  </a:cubicBezTo>
                  <a:cubicBezTo>
                    <a:pt x="4428" y="772"/>
                    <a:pt x="4428" y="772"/>
                    <a:pt x="4428" y="772"/>
                  </a:cubicBezTo>
                  <a:cubicBezTo>
                    <a:pt x="4416" y="741"/>
                    <a:pt x="4403" y="710"/>
                    <a:pt x="4389" y="681"/>
                  </a:cubicBezTo>
                  <a:close/>
                </a:path>
              </a:pathLst>
            </a:custGeom>
            <a:solidFill>
              <a:srgbClr val="D1D2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7" name="Freeform 46"/>
            <p:cNvSpPr>
              <a:spLocks/>
            </p:cNvSpPr>
            <p:nvPr userDrawn="1"/>
          </p:nvSpPr>
          <p:spPr bwMode="auto">
            <a:xfrm>
              <a:off x="-792" y="3631758"/>
              <a:ext cx="6878694" cy="1356498"/>
            </a:xfrm>
            <a:custGeom>
              <a:avLst/>
              <a:gdLst>
                <a:gd name="T0" fmla="*/ 4069 w 4511"/>
                <a:gd name="T1" fmla="*/ 269 h 889"/>
                <a:gd name="T2" fmla="*/ 2931 w 4511"/>
                <a:gd name="T3" fmla="*/ 304 h 889"/>
                <a:gd name="T4" fmla="*/ 2777 w 4511"/>
                <a:gd name="T5" fmla="*/ 338 h 889"/>
                <a:gd name="T6" fmla="*/ 2497 w 4511"/>
                <a:gd name="T7" fmla="*/ 401 h 889"/>
                <a:gd name="T8" fmla="*/ 1330 w 4511"/>
                <a:gd name="T9" fmla="*/ 532 h 889"/>
                <a:gd name="T10" fmla="*/ 574 w 4511"/>
                <a:gd name="T11" fmla="*/ 255 h 889"/>
                <a:gd name="T12" fmla="*/ 303 w 4511"/>
                <a:gd name="T13" fmla="*/ 129 h 889"/>
                <a:gd name="T14" fmla="*/ 0 w 4511"/>
                <a:gd name="T15" fmla="*/ 0 h 889"/>
                <a:gd name="T16" fmla="*/ 0 w 4511"/>
                <a:gd name="T17" fmla="*/ 5 h 889"/>
                <a:gd name="T18" fmla="*/ 301 w 4511"/>
                <a:gd name="T19" fmla="*/ 134 h 889"/>
                <a:gd name="T20" fmla="*/ 572 w 4511"/>
                <a:gd name="T21" fmla="*/ 259 h 889"/>
                <a:gd name="T22" fmla="*/ 1330 w 4511"/>
                <a:gd name="T23" fmla="*/ 536 h 889"/>
                <a:gd name="T24" fmla="*/ 2498 w 4511"/>
                <a:gd name="T25" fmla="*/ 406 h 889"/>
                <a:gd name="T26" fmla="*/ 2778 w 4511"/>
                <a:gd name="T27" fmla="*/ 343 h 889"/>
                <a:gd name="T28" fmla="*/ 2932 w 4511"/>
                <a:gd name="T29" fmla="*/ 309 h 889"/>
                <a:gd name="T30" fmla="*/ 4067 w 4511"/>
                <a:gd name="T31" fmla="*/ 273 h 889"/>
                <a:gd name="T32" fmla="*/ 4507 w 4511"/>
                <a:gd name="T33" fmla="*/ 889 h 889"/>
                <a:gd name="T34" fmla="*/ 4511 w 4511"/>
                <a:gd name="T35" fmla="*/ 889 h 889"/>
                <a:gd name="T36" fmla="*/ 4069 w 4511"/>
                <a:gd name="T37" fmla="*/ 269 h 8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511" h="889">
                  <a:moveTo>
                    <a:pt x="4069" y="269"/>
                  </a:moveTo>
                  <a:cubicBezTo>
                    <a:pt x="3738" y="123"/>
                    <a:pt x="3290" y="224"/>
                    <a:pt x="2931" y="304"/>
                  </a:cubicBezTo>
                  <a:cubicBezTo>
                    <a:pt x="2877" y="316"/>
                    <a:pt x="2826" y="328"/>
                    <a:pt x="2777" y="338"/>
                  </a:cubicBezTo>
                  <a:cubicBezTo>
                    <a:pt x="2686" y="357"/>
                    <a:pt x="2594" y="379"/>
                    <a:pt x="2497" y="401"/>
                  </a:cubicBezTo>
                  <a:cubicBezTo>
                    <a:pt x="2111" y="492"/>
                    <a:pt x="1711" y="585"/>
                    <a:pt x="1330" y="532"/>
                  </a:cubicBezTo>
                  <a:cubicBezTo>
                    <a:pt x="1076" y="496"/>
                    <a:pt x="821" y="373"/>
                    <a:pt x="574" y="255"/>
                  </a:cubicBezTo>
                  <a:cubicBezTo>
                    <a:pt x="480" y="210"/>
                    <a:pt x="391" y="167"/>
                    <a:pt x="303" y="12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301" y="134"/>
                    <a:pt x="301" y="134"/>
                    <a:pt x="301" y="134"/>
                  </a:cubicBezTo>
                  <a:cubicBezTo>
                    <a:pt x="389" y="171"/>
                    <a:pt x="478" y="214"/>
                    <a:pt x="572" y="259"/>
                  </a:cubicBezTo>
                  <a:cubicBezTo>
                    <a:pt x="819" y="378"/>
                    <a:pt x="1075" y="500"/>
                    <a:pt x="1330" y="536"/>
                  </a:cubicBezTo>
                  <a:cubicBezTo>
                    <a:pt x="1712" y="590"/>
                    <a:pt x="2112" y="496"/>
                    <a:pt x="2498" y="406"/>
                  </a:cubicBezTo>
                  <a:cubicBezTo>
                    <a:pt x="2595" y="383"/>
                    <a:pt x="2687" y="362"/>
                    <a:pt x="2778" y="343"/>
                  </a:cubicBezTo>
                  <a:cubicBezTo>
                    <a:pt x="2827" y="332"/>
                    <a:pt x="2878" y="321"/>
                    <a:pt x="2932" y="309"/>
                  </a:cubicBezTo>
                  <a:cubicBezTo>
                    <a:pt x="3291" y="228"/>
                    <a:pt x="3737" y="128"/>
                    <a:pt x="4067" y="273"/>
                  </a:cubicBezTo>
                  <a:cubicBezTo>
                    <a:pt x="4312" y="380"/>
                    <a:pt x="4429" y="634"/>
                    <a:pt x="4507" y="889"/>
                  </a:cubicBezTo>
                  <a:cubicBezTo>
                    <a:pt x="4511" y="889"/>
                    <a:pt x="4511" y="889"/>
                    <a:pt x="4511" y="889"/>
                  </a:cubicBezTo>
                  <a:cubicBezTo>
                    <a:pt x="4433" y="632"/>
                    <a:pt x="4316" y="377"/>
                    <a:pt x="4069" y="269"/>
                  </a:cubicBez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8" name="Freeform 47"/>
            <p:cNvSpPr>
              <a:spLocks/>
            </p:cNvSpPr>
            <p:nvPr userDrawn="1"/>
          </p:nvSpPr>
          <p:spPr bwMode="auto">
            <a:xfrm>
              <a:off x="-792" y="3431331"/>
              <a:ext cx="6998951" cy="1537685"/>
            </a:xfrm>
            <a:custGeom>
              <a:avLst/>
              <a:gdLst>
                <a:gd name="T0" fmla="*/ 4455 w 4590"/>
                <a:gd name="T1" fmla="*/ 619 h 1007"/>
                <a:gd name="T2" fmla="*/ 4114 w 4590"/>
                <a:gd name="T3" fmla="*/ 255 h 1007"/>
                <a:gd name="T4" fmla="*/ 2978 w 4590"/>
                <a:gd name="T5" fmla="*/ 303 h 1007"/>
                <a:gd name="T6" fmla="*/ 2822 w 4590"/>
                <a:gd name="T7" fmla="*/ 339 h 1007"/>
                <a:gd name="T8" fmla="*/ 2545 w 4590"/>
                <a:gd name="T9" fmla="*/ 405 h 1007"/>
                <a:gd name="T10" fmla="*/ 1379 w 4590"/>
                <a:gd name="T11" fmla="*/ 549 h 1007"/>
                <a:gd name="T12" fmla="*/ 619 w 4590"/>
                <a:gd name="T13" fmla="*/ 274 h 1007"/>
                <a:gd name="T14" fmla="*/ 350 w 4590"/>
                <a:gd name="T15" fmla="*/ 150 h 1007"/>
                <a:gd name="T16" fmla="*/ 0 w 4590"/>
                <a:gd name="T17" fmla="*/ 0 h 1007"/>
                <a:gd name="T18" fmla="*/ 0 w 4590"/>
                <a:gd name="T19" fmla="*/ 5 h 1007"/>
                <a:gd name="T20" fmla="*/ 348 w 4590"/>
                <a:gd name="T21" fmla="*/ 154 h 1007"/>
                <a:gd name="T22" fmla="*/ 617 w 4590"/>
                <a:gd name="T23" fmla="*/ 278 h 1007"/>
                <a:gd name="T24" fmla="*/ 1379 w 4590"/>
                <a:gd name="T25" fmla="*/ 554 h 1007"/>
                <a:gd name="T26" fmla="*/ 2546 w 4590"/>
                <a:gd name="T27" fmla="*/ 410 h 1007"/>
                <a:gd name="T28" fmla="*/ 2823 w 4590"/>
                <a:gd name="T29" fmla="*/ 344 h 1007"/>
                <a:gd name="T30" fmla="*/ 2979 w 4590"/>
                <a:gd name="T31" fmla="*/ 307 h 1007"/>
                <a:gd name="T32" fmla="*/ 4112 w 4590"/>
                <a:gd name="T33" fmla="*/ 259 h 1007"/>
                <a:gd name="T34" fmla="*/ 4585 w 4590"/>
                <a:gd name="T35" fmla="*/ 1007 h 1007"/>
                <a:gd name="T36" fmla="*/ 4590 w 4590"/>
                <a:gd name="T37" fmla="*/ 1006 h 1007"/>
                <a:gd name="T38" fmla="*/ 4455 w 4590"/>
                <a:gd name="T39" fmla="*/ 619 h 10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590" h="1007">
                  <a:moveTo>
                    <a:pt x="4455" y="619"/>
                  </a:moveTo>
                  <a:cubicBezTo>
                    <a:pt x="4367" y="436"/>
                    <a:pt x="4255" y="317"/>
                    <a:pt x="4114" y="255"/>
                  </a:cubicBezTo>
                  <a:cubicBezTo>
                    <a:pt x="3785" y="110"/>
                    <a:pt x="3337" y="217"/>
                    <a:pt x="2978" y="303"/>
                  </a:cubicBezTo>
                  <a:cubicBezTo>
                    <a:pt x="2923" y="316"/>
                    <a:pt x="2872" y="328"/>
                    <a:pt x="2822" y="339"/>
                  </a:cubicBezTo>
                  <a:cubicBezTo>
                    <a:pt x="2731" y="359"/>
                    <a:pt x="2641" y="381"/>
                    <a:pt x="2545" y="405"/>
                  </a:cubicBezTo>
                  <a:cubicBezTo>
                    <a:pt x="2160" y="500"/>
                    <a:pt x="1761" y="598"/>
                    <a:pt x="1379" y="549"/>
                  </a:cubicBezTo>
                  <a:cubicBezTo>
                    <a:pt x="1124" y="517"/>
                    <a:pt x="867" y="393"/>
                    <a:pt x="619" y="274"/>
                  </a:cubicBezTo>
                  <a:cubicBezTo>
                    <a:pt x="525" y="229"/>
                    <a:pt x="437" y="187"/>
                    <a:pt x="350" y="15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348" y="154"/>
                    <a:pt x="348" y="154"/>
                    <a:pt x="348" y="154"/>
                  </a:cubicBezTo>
                  <a:cubicBezTo>
                    <a:pt x="435" y="191"/>
                    <a:pt x="523" y="234"/>
                    <a:pt x="617" y="278"/>
                  </a:cubicBezTo>
                  <a:cubicBezTo>
                    <a:pt x="865" y="398"/>
                    <a:pt x="1123" y="521"/>
                    <a:pt x="1379" y="554"/>
                  </a:cubicBezTo>
                  <a:cubicBezTo>
                    <a:pt x="1762" y="603"/>
                    <a:pt x="2160" y="505"/>
                    <a:pt x="2546" y="410"/>
                  </a:cubicBezTo>
                  <a:cubicBezTo>
                    <a:pt x="2642" y="386"/>
                    <a:pt x="2732" y="364"/>
                    <a:pt x="2823" y="344"/>
                  </a:cubicBezTo>
                  <a:cubicBezTo>
                    <a:pt x="2873" y="333"/>
                    <a:pt x="2924" y="320"/>
                    <a:pt x="2979" y="307"/>
                  </a:cubicBezTo>
                  <a:cubicBezTo>
                    <a:pt x="3338" y="222"/>
                    <a:pt x="3784" y="115"/>
                    <a:pt x="4112" y="259"/>
                  </a:cubicBezTo>
                  <a:cubicBezTo>
                    <a:pt x="4394" y="383"/>
                    <a:pt x="4506" y="711"/>
                    <a:pt x="4585" y="1007"/>
                  </a:cubicBezTo>
                  <a:cubicBezTo>
                    <a:pt x="4590" y="1006"/>
                    <a:pt x="4590" y="1006"/>
                    <a:pt x="4590" y="1006"/>
                  </a:cubicBezTo>
                  <a:cubicBezTo>
                    <a:pt x="4555" y="878"/>
                    <a:pt x="4514" y="742"/>
                    <a:pt x="4455" y="619"/>
                  </a:cubicBezTo>
                  <a:close/>
                </a:path>
              </a:pathLst>
            </a:custGeom>
            <a:solidFill>
              <a:srgbClr val="D0D1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9" name="Freeform 48"/>
            <p:cNvSpPr>
              <a:spLocks/>
            </p:cNvSpPr>
            <p:nvPr userDrawn="1"/>
          </p:nvSpPr>
          <p:spPr bwMode="auto">
            <a:xfrm>
              <a:off x="-792" y="3232506"/>
              <a:ext cx="7101570" cy="1717269"/>
            </a:xfrm>
            <a:custGeom>
              <a:avLst/>
              <a:gdLst>
                <a:gd name="T0" fmla="*/ 4653 w 4657"/>
                <a:gd name="T1" fmla="*/ 1112 h 1126"/>
                <a:gd name="T2" fmla="*/ 4486 w 4657"/>
                <a:gd name="T3" fmla="*/ 618 h 1126"/>
                <a:gd name="T4" fmla="*/ 4144 w 4657"/>
                <a:gd name="T5" fmla="*/ 253 h 1126"/>
                <a:gd name="T6" fmla="*/ 3013 w 4657"/>
                <a:gd name="T7" fmla="*/ 309 h 1126"/>
                <a:gd name="T8" fmla="*/ 2860 w 4657"/>
                <a:gd name="T9" fmla="*/ 347 h 1126"/>
                <a:gd name="T10" fmla="*/ 2586 w 4657"/>
                <a:gd name="T11" fmla="*/ 415 h 1126"/>
                <a:gd name="T12" fmla="*/ 1427 w 4657"/>
                <a:gd name="T13" fmla="*/ 568 h 1126"/>
                <a:gd name="T14" fmla="*/ 665 w 4657"/>
                <a:gd name="T15" fmla="*/ 294 h 1126"/>
                <a:gd name="T16" fmla="*/ 397 w 4657"/>
                <a:gd name="T17" fmla="*/ 170 h 1126"/>
                <a:gd name="T18" fmla="*/ 0 w 4657"/>
                <a:gd name="T19" fmla="*/ 0 h 1126"/>
                <a:gd name="T20" fmla="*/ 0 w 4657"/>
                <a:gd name="T21" fmla="*/ 5 h 1126"/>
                <a:gd name="T22" fmla="*/ 395 w 4657"/>
                <a:gd name="T23" fmla="*/ 174 h 1126"/>
                <a:gd name="T24" fmla="*/ 663 w 4657"/>
                <a:gd name="T25" fmla="*/ 298 h 1126"/>
                <a:gd name="T26" fmla="*/ 1426 w 4657"/>
                <a:gd name="T27" fmla="*/ 573 h 1126"/>
                <a:gd name="T28" fmla="*/ 2587 w 4657"/>
                <a:gd name="T29" fmla="*/ 420 h 1126"/>
                <a:gd name="T30" fmla="*/ 2861 w 4657"/>
                <a:gd name="T31" fmla="*/ 352 h 1126"/>
                <a:gd name="T32" fmla="*/ 3014 w 4657"/>
                <a:gd name="T33" fmla="*/ 314 h 1126"/>
                <a:gd name="T34" fmla="*/ 4142 w 4657"/>
                <a:gd name="T35" fmla="*/ 258 h 1126"/>
                <a:gd name="T36" fmla="*/ 4648 w 4657"/>
                <a:gd name="T37" fmla="*/ 1114 h 1126"/>
                <a:gd name="T38" fmla="*/ 4652 w 4657"/>
                <a:gd name="T39" fmla="*/ 1126 h 1126"/>
                <a:gd name="T40" fmla="*/ 4657 w 4657"/>
                <a:gd name="T41" fmla="*/ 1125 h 1126"/>
                <a:gd name="T42" fmla="*/ 4653 w 4657"/>
                <a:gd name="T43" fmla="*/ 1112 h 1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657" h="1126">
                  <a:moveTo>
                    <a:pt x="4653" y="1112"/>
                  </a:moveTo>
                  <a:cubicBezTo>
                    <a:pt x="4611" y="955"/>
                    <a:pt x="4564" y="777"/>
                    <a:pt x="4486" y="618"/>
                  </a:cubicBezTo>
                  <a:cubicBezTo>
                    <a:pt x="4397" y="435"/>
                    <a:pt x="4285" y="315"/>
                    <a:pt x="4144" y="253"/>
                  </a:cubicBezTo>
                  <a:cubicBezTo>
                    <a:pt x="3817" y="109"/>
                    <a:pt x="3371" y="220"/>
                    <a:pt x="3013" y="309"/>
                  </a:cubicBezTo>
                  <a:cubicBezTo>
                    <a:pt x="2959" y="323"/>
                    <a:pt x="2908" y="335"/>
                    <a:pt x="2860" y="347"/>
                  </a:cubicBezTo>
                  <a:cubicBezTo>
                    <a:pt x="2770" y="368"/>
                    <a:pt x="2681" y="391"/>
                    <a:pt x="2586" y="415"/>
                  </a:cubicBezTo>
                  <a:cubicBezTo>
                    <a:pt x="2203" y="513"/>
                    <a:pt x="1808" y="614"/>
                    <a:pt x="1427" y="568"/>
                  </a:cubicBezTo>
                  <a:cubicBezTo>
                    <a:pt x="1172" y="537"/>
                    <a:pt x="914" y="413"/>
                    <a:pt x="665" y="294"/>
                  </a:cubicBezTo>
                  <a:cubicBezTo>
                    <a:pt x="572" y="249"/>
                    <a:pt x="484" y="207"/>
                    <a:pt x="397" y="17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395" y="174"/>
                    <a:pt x="395" y="174"/>
                    <a:pt x="395" y="174"/>
                  </a:cubicBezTo>
                  <a:cubicBezTo>
                    <a:pt x="482" y="211"/>
                    <a:pt x="570" y="254"/>
                    <a:pt x="663" y="298"/>
                  </a:cubicBezTo>
                  <a:cubicBezTo>
                    <a:pt x="912" y="418"/>
                    <a:pt x="1170" y="542"/>
                    <a:pt x="1426" y="573"/>
                  </a:cubicBezTo>
                  <a:cubicBezTo>
                    <a:pt x="1808" y="620"/>
                    <a:pt x="2204" y="518"/>
                    <a:pt x="2587" y="420"/>
                  </a:cubicBezTo>
                  <a:cubicBezTo>
                    <a:pt x="2682" y="395"/>
                    <a:pt x="2771" y="372"/>
                    <a:pt x="2861" y="352"/>
                  </a:cubicBezTo>
                  <a:cubicBezTo>
                    <a:pt x="2909" y="340"/>
                    <a:pt x="2960" y="328"/>
                    <a:pt x="3014" y="314"/>
                  </a:cubicBezTo>
                  <a:cubicBezTo>
                    <a:pt x="3372" y="225"/>
                    <a:pt x="3817" y="115"/>
                    <a:pt x="4142" y="258"/>
                  </a:cubicBezTo>
                  <a:cubicBezTo>
                    <a:pt x="4457" y="396"/>
                    <a:pt x="4567" y="811"/>
                    <a:pt x="4648" y="1114"/>
                  </a:cubicBezTo>
                  <a:cubicBezTo>
                    <a:pt x="4649" y="1118"/>
                    <a:pt x="4650" y="1122"/>
                    <a:pt x="4652" y="1126"/>
                  </a:cubicBezTo>
                  <a:cubicBezTo>
                    <a:pt x="4657" y="1125"/>
                    <a:pt x="4657" y="1125"/>
                    <a:pt x="4657" y="1125"/>
                  </a:cubicBezTo>
                  <a:cubicBezTo>
                    <a:pt x="4655" y="1121"/>
                    <a:pt x="4654" y="1117"/>
                    <a:pt x="4653" y="1112"/>
                  </a:cubicBezTo>
                  <a:close/>
                </a:path>
              </a:pathLst>
            </a:custGeom>
            <a:solidFill>
              <a:srgbClr val="CFD1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0" name="Freeform 49"/>
            <p:cNvSpPr>
              <a:spLocks/>
            </p:cNvSpPr>
            <p:nvPr userDrawn="1"/>
          </p:nvSpPr>
          <p:spPr bwMode="auto">
            <a:xfrm>
              <a:off x="-792" y="3032077"/>
              <a:ext cx="7194569" cy="1901662"/>
            </a:xfrm>
            <a:custGeom>
              <a:avLst/>
              <a:gdLst>
                <a:gd name="T0" fmla="*/ 4699 w 4718"/>
                <a:gd name="T1" fmla="*/ 1179 h 1246"/>
                <a:gd name="T2" fmla="*/ 4683 w 4718"/>
                <a:gd name="T3" fmla="*/ 1122 h 1246"/>
                <a:gd name="T4" fmla="*/ 4509 w 4718"/>
                <a:gd name="T5" fmla="*/ 628 h 1246"/>
                <a:gd name="T6" fmla="*/ 4163 w 4718"/>
                <a:gd name="T7" fmla="*/ 263 h 1246"/>
                <a:gd name="T8" fmla="*/ 3038 w 4718"/>
                <a:gd name="T9" fmla="*/ 324 h 1246"/>
                <a:gd name="T10" fmla="*/ 2891 w 4718"/>
                <a:gd name="T11" fmla="*/ 361 h 1246"/>
                <a:gd name="T12" fmla="*/ 2622 w 4718"/>
                <a:gd name="T13" fmla="*/ 430 h 1246"/>
                <a:gd name="T14" fmla="*/ 1474 w 4718"/>
                <a:gd name="T15" fmla="*/ 588 h 1246"/>
                <a:gd name="T16" fmla="*/ 712 w 4718"/>
                <a:gd name="T17" fmla="*/ 314 h 1246"/>
                <a:gd name="T18" fmla="*/ 445 w 4718"/>
                <a:gd name="T19" fmla="*/ 190 h 1246"/>
                <a:gd name="T20" fmla="*/ 0 w 4718"/>
                <a:gd name="T21" fmla="*/ 0 h 1246"/>
                <a:gd name="T22" fmla="*/ 0 w 4718"/>
                <a:gd name="T23" fmla="*/ 5 h 1246"/>
                <a:gd name="T24" fmla="*/ 443 w 4718"/>
                <a:gd name="T25" fmla="*/ 195 h 1246"/>
                <a:gd name="T26" fmla="*/ 710 w 4718"/>
                <a:gd name="T27" fmla="*/ 319 h 1246"/>
                <a:gd name="T28" fmla="*/ 1473 w 4718"/>
                <a:gd name="T29" fmla="*/ 593 h 1246"/>
                <a:gd name="T30" fmla="*/ 2623 w 4718"/>
                <a:gd name="T31" fmla="*/ 435 h 1246"/>
                <a:gd name="T32" fmla="*/ 2892 w 4718"/>
                <a:gd name="T33" fmla="*/ 366 h 1246"/>
                <a:gd name="T34" fmla="*/ 3039 w 4718"/>
                <a:gd name="T35" fmla="*/ 329 h 1246"/>
                <a:gd name="T36" fmla="*/ 4161 w 4718"/>
                <a:gd name="T37" fmla="*/ 267 h 1246"/>
                <a:gd name="T38" fmla="*/ 4678 w 4718"/>
                <a:gd name="T39" fmla="*/ 1124 h 1246"/>
                <a:gd name="T40" fmla="*/ 4694 w 4718"/>
                <a:gd name="T41" fmla="*/ 1181 h 1246"/>
                <a:gd name="T42" fmla="*/ 4712 w 4718"/>
                <a:gd name="T43" fmla="*/ 1246 h 1246"/>
                <a:gd name="T44" fmla="*/ 4718 w 4718"/>
                <a:gd name="T45" fmla="*/ 1245 h 1246"/>
                <a:gd name="T46" fmla="*/ 4699 w 4718"/>
                <a:gd name="T47" fmla="*/ 1179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718" h="1246">
                  <a:moveTo>
                    <a:pt x="4699" y="1179"/>
                  </a:moveTo>
                  <a:cubicBezTo>
                    <a:pt x="4694" y="1161"/>
                    <a:pt x="4689" y="1142"/>
                    <a:pt x="4683" y="1122"/>
                  </a:cubicBezTo>
                  <a:cubicBezTo>
                    <a:pt x="4639" y="965"/>
                    <a:pt x="4588" y="786"/>
                    <a:pt x="4509" y="628"/>
                  </a:cubicBezTo>
                  <a:cubicBezTo>
                    <a:pt x="4417" y="444"/>
                    <a:pt x="4304" y="324"/>
                    <a:pt x="4163" y="263"/>
                  </a:cubicBezTo>
                  <a:cubicBezTo>
                    <a:pt x="3837" y="119"/>
                    <a:pt x="3394" y="232"/>
                    <a:pt x="3038" y="324"/>
                  </a:cubicBezTo>
                  <a:cubicBezTo>
                    <a:pt x="2986" y="337"/>
                    <a:pt x="2937" y="349"/>
                    <a:pt x="2891" y="361"/>
                  </a:cubicBezTo>
                  <a:cubicBezTo>
                    <a:pt x="2803" y="382"/>
                    <a:pt x="2715" y="405"/>
                    <a:pt x="2622" y="430"/>
                  </a:cubicBezTo>
                  <a:cubicBezTo>
                    <a:pt x="2243" y="530"/>
                    <a:pt x="1851" y="633"/>
                    <a:pt x="1474" y="588"/>
                  </a:cubicBezTo>
                  <a:cubicBezTo>
                    <a:pt x="1219" y="558"/>
                    <a:pt x="961" y="434"/>
                    <a:pt x="712" y="314"/>
                  </a:cubicBezTo>
                  <a:cubicBezTo>
                    <a:pt x="619" y="269"/>
                    <a:pt x="532" y="227"/>
                    <a:pt x="445" y="19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443" y="195"/>
                    <a:pt x="443" y="195"/>
                    <a:pt x="443" y="195"/>
                  </a:cubicBezTo>
                  <a:cubicBezTo>
                    <a:pt x="530" y="232"/>
                    <a:pt x="617" y="274"/>
                    <a:pt x="710" y="319"/>
                  </a:cubicBezTo>
                  <a:cubicBezTo>
                    <a:pt x="960" y="439"/>
                    <a:pt x="1217" y="563"/>
                    <a:pt x="1473" y="593"/>
                  </a:cubicBezTo>
                  <a:cubicBezTo>
                    <a:pt x="1852" y="639"/>
                    <a:pt x="2244" y="535"/>
                    <a:pt x="2623" y="435"/>
                  </a:cubicBezTo>
                  <a:cubicBezTo>
                    <a:pt x="2716" y="410"/>
                    <a:pt x="2804" y="387"/>
                    <a:pt x="2892" y="366"/>
                  </a:cubicBezTo>
                  <a:cubicBezTo>
                    <a:pt x="2939" y="354"/>
                    <a:pt x="2988" y="342"/>
                    <a:pt x="3039" y="329"/>
                  </a:cubicBezTo>
                  <a:cubicBezTo>
                    <a:pt x="3394" y="238"/>
                    <a:pt x="3837" y="125"/>
                    <a:pt x="4161" y="267"/>
                  </a:cubicBezTo>
                  <a:cubicBezTo>
                    <a:pt x="4476" y="406"/>
                    <a:pt x="4588" y="804"/>
                    <a:pt x="4678" y="1124"/>
                  </a:cubicBezTo>
                  <a:cubicBezTo>
                    <a:pt x="4684" y="1143"/>
                    <a:pt x="4689" y="1162"/>
                    <a:pt x="4694" y="1181"/>
                  </a:cubicBezTo>
                  <a:cubicBezTo>
                    <a:pt x="4700" y="1202"/>
                    <a:pt x="4706" y="1224"/>
                    <a:pt x="4712" y="1246"/>
                  </a:cubicBezTo>
                  <a:cubicBezTo>
                    <a:pt x="4718" y="1245"/>
                    <a:pt x="4718" y="1245"/>
                    <a:pt x="4718" y="1245"/>
                  </a:cubicBezTo>
                  <a:cubicBezTo>
                    <a:pt x="4711" y="1223"/>
                    <a:pt x="4705" y="1201"/>
                    <a:pt x="4699" y="1179"/>
                  </a:cubicBezTo>
                  <a:close/>
                </a:path>
              </a:pathLst>
            </a:custGeom>
            <a:solidFill>
              <a:srgbClr val="CFD0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1" name="Freeform 50"/>
            <p:cNvSpPr>
              <a:spLocks/>
            </p:cNvSpPr>
            <p:nvPr userDrawn="1"/>
          </p:nvSpPr>
          <p:spPr bwMode="auto">
            <a:xfrm>
              <a:off x="-792" y="2831650"/>
              <a:ext cx="7281154" cy="2086056"/>
            </a:xfrm>
            <a:custGeom>
              <a:avLst/>
              <a:gdLst>
                <a:gd name="T0" fmla="*/ 4769 w 4775"/>
                <a:gd name="T1" fmla="*/ 1346 h 1367"/>
                <a:gd name="T2" fmla="*/ 4726 w 4775"/>
                <a:gd name="T3" fmla="*/ 1198 h 1367"/>
                <a:gd name="T4" fmla="*/ 4708 w 4775"/>
                <a:gd name="T5" fmla="*/ 1139 h 1367"/>
                <a:gd name="T6" fmla="*/ 4173 w 4775"/>
                <a:gd name="T7" fmla="*/ 281 h 1367"/>
                <a:gd name="T8" fmla="*/ 3055 w 4775"/>
                <a:gd name="T9" fmla="*/ 344 h 1367"/>
                <a:gd name="T10" fmla="*/ 2916 w 4775"/>
                <a:gd name="T11" fmla="*/ 379 h 1367"/>
                <a:gd name="T12" fmla="*/ 2654 w 4775"/>
                <a:gd name="T13" fmla="*/ 448 h 1367"/>
                <a:gd name="T14" fmla="*/ 1520 w 4775"/>
                <a:gd name="T15" fmla="*/ 609 h 1367"/>
                <a:gd name="T16" fmla="*/ 761 w 4775"/>
                <a:gd name="T17" fmla="*/ 334 h 1367"/>
                <a:gd name="T18" fmla="*/ 492 w 4775"/>
                <a:gd name="T19" fmla="*/ 210 h 1367"/>
                <a:gd name="T20" fmla="*/ 0 w 4775"/>
                <a:gd name="T21" fmla="*/ 0 h 1367"/>
                <a:gd name="T22" fmla="*/ 0 w 4775"/>
                <a:gd name="T23" fmla="*/ 6 h 1367"/>
                <a:gd name="T24" fmla="*/ 490 w 4775"/>
                <a:gd name="T25" fmla="*/ 215 h 1367"/>
                <a:gd name="T26" fmla="*/ 758 w 4775"/>
                <a:gd name="T27" fmla="*/ 339 h 1367"/>
                <a:gd name="T28" fmla="*/ 1519 w 4775"/>
                <a:gd name="T29" fmla="*/ 614 h 1367"/>
                <a:gd name="T30" fmla="*/ 2655 w 4775"/>
                <a:gd name="T31" fmla="*/ 454 h 1367"/>
                <a:gd name="T32" fmla="*/ 2918 w 4775"/>
                <a:gd name="T33" fmla="*/ 385 h 1367"/>
                <a:gd name="T34" fmla="*/ 3057 w 4775"/>
                <a:gd name="T35" fmla="*/ 349 h 1367"/>
                <a:gd name="T36" fmla="*/ 4171 w 4775"/>
                <a:gd name="T37" fmla="*/ 286 h 1367"/>
                <a:gd name="T38" fmla="*/ 4703 w 4775"/>
                <a:gd name="T39" fmla="*/ 1141 h 1367"/>
                <a:gd name="T40" fmla="*/ 4721 w 4775"/>
                <a:gd name="T41" fmla="*/ 1200 h 1367"/>
                <a:gd name="T42" fmla="*/ 4764 w 4775"/>
                <a:gd name="T43" fmla="*/ 1348 h 1367"/>
                <a:gd name="T44" fmla="*/ 4770 w 4775"/>
                <a:gd name="T45" fmla="*/ 1367 h 1367"/>
                <a:gd name="T46" fmla="*/ 4775 w 4775"/>
                <a:gd name="T47" fmla="*/ 1366 h 1367"/>
                <a:gd name="T48" fmla="*/ 4769 w 4775"/>
                <a:gd name="T49" fmla="*/ 1346 h 1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775" h="1367">
                  <a:moveTo>
                    <a:pt x="4769" y="1346"/>
                  </a:moveTo>
                  <a:cubicBezTo>
                    <a:pt x="4755" y="1295"/>
                    <a:pt x="4741" y="1246"/>
                    <a:pt x="4726" y="1198"/>
                  </a:cubicBezTo>
                  <a:cubicBezTo>
                    <a:pt x="4720" y="1179"/>
                    <a:pt x="4714" y="1160"/>
                    <a:pt x="4708" y="1139"/>
                  </a:cubicBezTo>
                  <a:cubicBezTo>
                    <a:pt x="4612" y="819"/>
                    <a:pt x="4491" y="420"/>
                    <a:pt x="4173" y="281"/>
                  </a:cubicBezTo>
                  <a:cubicBezTo>
                    <a:pt x="3847" y="138"/>
                    <a:pt x="3408" y="252"/>
                    <a:pt x="3055" y="344"/>
                  </a:cubicBezTo>
                  <a:cubicBezTo>
                    <a:pt x="3007" y="356"/>
                    <a:pt x="2961" y="368"/>
                    <a:pt x="2916" y="379"/>
                  </a:cubicBezTo>
                  <a:cubicBezTo>
                    <a:pt x="2830" y="401"/>
                    <a:pt x="2744" y="424"/>
                    <a:pt x="2654" y="448"/>
                  </a:cubicBezTo>
                  <a:cubicBezTo>
                    <a:pt x="2280" y="550"/>
                    <a:pt x="1893" y="654"/>
                    <a:pt x="1520" y="609"/>
                  </a:cubicBezTo>
                  <a:cubicBezTo>
                    <a:pt x="1266" y="578"/>
                    <a:pt x="1009" y="454"/>
                    <a:pt x="761" y="334"/>
                  </a:cubicBezTo>
                  <a:cubicBezTo>
                    <a:pt x="667" y="290"/>
                    <a:pt x="579" y="247"/>
                    <a:pt x="492" y="21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490" y="215"/>
                    <a:pt x="490" y="215"/>
                    <a:pt x="490" y="215"/>
                  </a:cubicBezTo>
                  <a:cubicBezTo>
                    <a:pt x="577" y="252"/>
                    <a:pt x="665" y="294"/>
                    <a:pt x="758" y="339"/>
                  </a:cubicBezTo>
                  <a:cubicBezTo>
                    <a:pt x="1007" y="459"/>
                    <a:pt x="1264" y="583"/>
                    <a:pt x="1519" y="614"/>
                  </a:cubicBezTo>
                  <a:cubicBezTo>
                    <a:pt x="1893" y="660"/>
                    <a:pt x="2281" y="555"/>
                    <a:pt x="2655" y="454"/>
                  </a:cubicBezTo>
                  <a:cubicBezTo>
                    <a:pt x="2746" y="429"/>
                    <a:pt x="2832" y="406"/>
                    <a:pt x="2918" y="385"/>
                  </a:cubicBezTo>
                  <a:cubicBezTo>
                    <a:pt x="2962" y="374"/>
                    <a:pt x="3008" y="362"/>
                    <a:pt x="3057" y="349"/>
                  </a:cubicBezTo>
                  <a:cubicBezTo>
                    <a:pt x="3408" y="257"/>
                    <a:pt x="3846" y="143"/>
                    <a:pt x="4171" y="286"/>
                  </a:cubicBezTo>
                  <a:cubicBezTo>
                    <a:pt x="4487" y="424"/>
                    <a:pt x="4607" y="822"/>
                    <a:pt x="4703" y="1141"/>
                  </a:cubicBezTo>
                  <a:cubicBezTo>
                    <a:pt x="4709" y="1161"/>
                    <a:pt x="4715" y="1181"/>
                    <a:pt x="4721" y="1200"/>
                  </a:cubicBezTo>
                  <a:cubicBezTo>
                    <a:pt x="4735" y="1248"/>
                    <a:pt x="4749" y="1296"/>
                    <a:pt x="4764" y="1348"/>
                  </a:cubicBezTo>
                  <a:cubicBezTo>
                    <a:pt x="4766" y="1354"/>
                    <a:pt x="4768" y="1360"/>
                    <a:pt x="4770" y="1367"/>
                  </a:cubicBezTo>
                  <a:cubicBezTo>
                    <a:pt x="4775" y="1366"/>
                    <a:pt x="4775" y="1366"/>
                    <a:pt x="4775" y="1366"/>
                  </a:cubicBezTo>
                  <a:cubicBezTo>
                    <a:pt x="4773" y="1359"/>
                    <a:pt x="4771" y="1353"/>
                    <a:pt x="4769" y="1346"/>
                  </a:cubicBezTo>
                  <a:close/>
                </a:path>
              </a:pathLst>
            </a:custGeom>
            <a:solidFill>
              <a:srgbClr val="CED0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2" name="Freeform 51"/>
            <p:cNvSpPr>
              <a:spLocks/>
            </p:cNvSpPr>
            <p:nvPr userDrawn="1"/>
          </p:nvSpPr>
          <p:spPr bwMode="auto">
            <a:xfrm>
              <a:off x="-792" y="2632825"/>
              <a:ext cx="7369342" cy="2270450"/>
            </a:xfrm>
            <a:custGeom>
              <a:avLst/>
              <a:gdLst>
                <a:gd name="T0" fmla="*/ 4796 w 4833"/>
                <a:gd name="T1" fmla="*/ 1369 h 1488"/>
                <a:gd name="T2" fmla="*/ 4749 w 4833"/>
                <a:gd name="T3" fmla="*/ 1221 h 1488"/>
                <a:gd name="T4" fmla="*/ 4730 w 4833"/>
                <a:gd name="T5" fmla="*/ 1162 h 1488"/>
                <a:gd name="T6" fmla="*/ 4175 w 4833"/>
                <a:gd name="T7" fmla="*/ 306 h 1488"/>
                <a:gd name="T8" fmla="*/ 3066 w 4833"/>
                <a:gd name="T9" fmla="*/ 369 h 1488"/>
                <a:gd name="T10" fmla="*/ 2938 w 4833"/>
                <a:gd name="T11" fmla="*/ 402 h 1488"/>
                <a:gd name="T12" fmla="*/ 2682 w 4833"/>
                <a:gd name="T13" fmla="*/ 471 h 1488"/>
                <a:gd name="T14" fmla="*/ 1565 w 4833"/>
                <a:gd name="T15" fmla="*/ 630 h 1488"/>
                <a:gd name="T16" fmla="*/ 810 w 4833"/>
                <a:gd name="T17" fmla="*/ 355 h 1488"/>
                <a:gd name="T18" fmla="*/ 540 w 4833"/>
                <a:gd name="T19" fmla="*/ 230 h 1488"/>
                <a:gd name="T20" fmla="*/ 0 w 4833"/>
                <a:gd name="T21" fmla="*/ 0 h 1488"/>
                <a:gd name="T22" fmla="*/ 0 w 4833"/>
                <a:gd name="T23" fmla="*/ 6 h 1488"/>
                <a:gd name="T24" fmla="*/ 537 w 4833"/>
                <a:gd name="T25" fmla="*/ 235 h 1488"/>
                <a:gd name="T26" fmla="*/ 807 w 4833"/>
                <a:gd name="T27" fmla="*/ 360 h 1488"/>
                <a:gd name="T28" fmla="*/ 1564 w 4833"/>
                <a:gd name="T29" fmla="*/ 636 h 1488"/>
                <a:gd name="T30" fmla="*/ 2683 w 4833"/>
                <a:gd name="T31" fmla="*/ 476 h 1488"/>
                <a:gd name="T32" fmla="*/ 2939 w 4833"/>
                <a:gd name="T33" fmla="*/ 408 h 1488"/>
                <a:gd name="T34" fmla="*/ 3067 w 4833"/>
                <a:gd name="T35" fmla="*/ 374 h 1488"/>
                <a:gd name="T36" fmla="*/ 4173 w 4833"/>
                <a:gd name="T37" fmla="*/ 311 h 1488"/>
                <a:gd name="T38" fmla="*/ 4724 w 4833"/>
                <a:gd name="T39" fmla="*/ 1164 h 1488"/>
                <a:gd name="T40" fmla="*/ 4743 w 4833"/>
                <a:gd name="T41" fmla="*/ 1223 h 1488"/>
                <a:gd name="T42" fmla="*/ 4790 w 4833"/>
                <a:gd name="T43" fmla="*/ 1371 h 1488"/>
                <a:gd name="T44" fmla="*/ 4827 w 4833"/>
                <a:gd name="T45" fmla="*/ 1488 h 1488"/>
                <a:gd name="T46" fmla="*/ 4833 w 4833"/>
                <a:gd name="T47" fmla="*/ 1487 h 1488"/>
                <a:gd name="T48" fmla="*/ 4796 w 4833"/>
                <a:gd name="T49" fmla="*/ 1369 h 1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833" h="1488">
                  <a:moveTo>
                    <a:pt x="4796" y="1369"/>
                  </a:moveTo>
                  <a:cubicBezTo>
                    <a:pt x="4780" y="1317"/>
                    <a:pt x="4764" y="1269"/>
                    <a:pt x="4749" y="1221"/>
                  </a:cubicBezTo>
                  <a:cubicBezTo>
                    <a:pt x="4742" y="1202"/>
                    <a:pt x="4736" y="1182"/>
                    <a:pt x="4730" y="1162"/>
                  </a:cubicBezTo>
                  <a:cubicBezTo>
                    <a:pt x="4626" y="843"/>
                    <a:pt x="4496" y="446"/>
                    <a:pt x="4175" y="306"/>
                  </a:cubicBezTo>
                  <a:cubicBezTo>
                    <a:pt x="3848" y="163"/>
                    <a:pt x="3414" y="277"/>
                    <a:pt x="3066" y="369"/>
                  </a:cubicBezTo>
                  <a:cubicBezTo>
                    <a:pt x="3021" y="381"/>
                    <a:pt x="2979" y="392"/>
                    <a:pt x="2938" y="402"/>
                  </a:cubicBezTo>
                  <a:cubicBezTo>
                    <a:pt x="2854" y="423"/>
                    <a:pt x="2770" y="446"/>
                    <a:pt x="2682" y="471"/>
                  </a:cubicBezTo>
                  <a:cubicBezTo>
                    <a:pt x="2313" y="572"/>
                    <a:pt x="1932" y="677"/>
                    <a:pt x="1565" y="630"/>
                  </a:cubicBezTo>
                  <a:cubicBezTo>
                    <a:pt x="1312" y="598"/>
                    <a:pt x="1057" y="475"/>
                    <a:pt x="810" y="355"/>
                  </a:cubicBezTo>
                  <a:cubicBezTo>
                    <a:pt x="716" y="310"/>
                    <a:pt x="627" y="267"/>
                    <a:pt x="540" y="23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537" y="235"/>
                    <a:pt x="537" y="235"/>
                    <a:pt x="537" y="235"/>
                  </a:cubicBezTo>
                  <a:cubicBezTo>
                    <a:pt x="625" y="273"/>
                    <a:pt x="714" y="315"/>
                    <a:pt x="807" y="360"/>
                  </a:cubicBezTo>
                  <a:cubicBezTo>
                    <a:pt x="1055" y="480"/>
                    <a:pt x="1311" y="603"/>
                    <a:pt x="1564" y="636"/>
                  </a:cubicBezTo>
                  <a:cubicBezTo>
                    <a:pt x="1933" y="683"/>
                    <a:pt x="2314" y="578"/>
                    <a:pt x="2683" y="476"/>
                  </a:cubicBezTo>
                  <a:cubicBezTo>
                    <a:pt x="2772" y="452"/>
                    <a:pt x="2855" y="429"/>
                    <a:pt x="2939" y="408"/>
                  </a:cubicBezTo>
                  <a:cubicBezTo>
                    <a:pt x="2980" y="397"/>
                    <a:pt x="3023" y="386"/>
                    <a:pt x="3067" y="374"/>
                  </a:cubicBezTo>
                  <a:cubicBezTo>
                    <a:pt x="3415" y="283"/>
                    <a:pt x="3847" y="169"/>
                    <a:pt x="4173" y="311"/>
                  </a:cubicBezTo>
                  <a:cubicBezTo>
                    <a:pt x="4492" y="450"/>
                    <a:pt x="4621" y="846"/>
                    <a:pt x="4724" y="1164"/>
                  </a:cubicBezTo>
                  <a:cubicBezTo>
                    <a:pt x="4731" y="1184"/>
                    <a:pt x="4737" y="1204"/>
                    <a:pt x="4743" y="1223"/>
                  </a:cubicBezTo>
                  <a:cubicBezTo>
                    <a:pt x="4759" y="1271"/>
                    <a:pt x="4774" y="1319"/>
                    <a:pt x="4790" y="1371"/>
                  </a:cubicBezTo>
                  <a:cubicBezTo>
                    <a:pt x="4802" y="1409"/>
                    <a:pt x="4814" y="1448"/>
                    <a:pt x="4827" y="1488"/>
                  </a:cubicBezTo>
                  <a:cubicBezTo>
                    <a:pt x="4833" y="1487"/>
                    <a:pt x="4833" y="1487"/>
                    <a:pt x="4833" y="1487"/>
                  </a:cubicBezTo>
                  <a:cubicBezTo>
                    <a:pt x="4820" y="1447"/>
                    <a:pt x="4808" y="1408"/>
                    <a:pt x="4796" y="1369"/>
                  </a:cubicBezTo>
                  <a:close/>
                </a:path>
              </a:pathLst>
            </a:custGeom>
            <a:solidFill>
              <a:srgbClr val="CECF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3" name="Freeform 52"/>
            <p:cNvSpPr>
              <a:spLocks/>
            </p:cNvSpPr>
            <p:nvPr userDrawn="1"/>
          </p:nvSpPr>
          <p:spPr bwMode="auto">
            <a:xfrm>
              <a:off x="-792" y="2430793"/>
              <a:ext cx="7462341" cy="2454844"/>
            </a:xfrm>
            <a:custGeom>
              <a:avLst/>
              <a:gdLst>
                <a:gd name="T0" fmla="*/ 4819 w 4894"/>
                <a:gd name="T1" fmla="*/ 1395 h 1609"/>
                <a:gd name="T2" fmla="*/ 4768 w 4894"/>
                <a:gd name="T3" fmla="*/ 1248 h 1609"/>
                <a:gd name="T4" fmla="*/ 4749 w 4894"/>
                <a:gd name="T5" fmla="*/ 1191 h 1609"/>
                <a:gd name="T6" fmla="*/ 4172 w 4894"/>
                <a:gd name="T7" fmla="*/ 337 h 1609"/>
                <a:gd name="T8" fmla="*/ 3072 w 4894"/>
                <a:gd name="T9" fmla="*/ 398 h 1609"/>
                <a:gd name="T10" fmla="*/ 2956 w 4894"/>
                <a:gd name="T11" fmla="*/ 429 h 1609"/>
                <a:gd name="T12" fmla="*/ 2707 w 4894"/>
                <a:gd name="T13" fmla="*/ 496 h 1609"/>
                <a:gd name="T14" fmla="*/ 1610 w 4894"/>
                <a:gd name="T15" fmla="*/ 653 h 1609"/>
                <a:gd name="T16" fmla="*/ 860 w 4894"/>
                <a:gd name="T17" fmla="*/ 378 h 1609"/>
                <a:gd name="T18" fmla="*/ 587 w 4894"/>
                <a:gd name="T19" fmla="*/ 251 h 1609"/>
                <a:gd name="T20" fmla="*/ 0 w 4894"/>
                <a:gd name="T21" fmla="*/ 0 h 1609"/>
                <a:gd name="T22" fmla="*/ 0 w 4894"/>
                <a:gd name="T23" fmla="*/ 7 h 1609"/>
                <a:gd name="T24" fmla="*/ 585 w 4894"/>
                <a:gd name="T25" fmla="*/ 256 h 1609"/>
                <a:gd name="T26" fmla="*/ 857 w 4894"/>
                <a:gd name="T27" fmla="*/ 383 h 1609"/>
                <a:gd name="T28" fmla="*/ 1609 w 4894"/>
                <a:gd name="T29" fmla="*/ 658 h 1609"/>
                <a:gd name="T30" fmla="*/ 2709 w 4894"/>
                <a:gd name="T31" fmla="*/ 502 h 1609"/>
                <a:gd name="T32" fmla="*/ 2957 w 4894"/>
                <a:gd name="T33" fmla="*/ 434 h 1609"/>
                <a:gd name="T34" fmla="*/ 3073 w 4894"/>
                <a:gd name="T35" fmla="*/ 404 h 1609"/>
                <a:gd name="T36" fmla="*/ 4169 w 4894"/>
                <a:gd name="T37" fmla="*/ 342 h 1609"/>
                <a:gd name="T38" fmla="*/ 4743 w 4894"/>
                <a:gd name="T39" fmla="*/ 1193 h 1609"/>
                <a:gd name="T40" fmla="*/ 4763 w 4894"/>
                <a:gd name="T41" fmla="*/ 1250 h 1609"/>
                <a:gd name="T42" fmla="*/ 4814 w 4894"/>
                <a:gd name="T43" fmla="*/ 1397 h 1609"/>
                <a:gd name="T44" fmla="*/ 4888 w 4894"/>
                <a:gd name="T45" fmla="*/ 1609 h 1609"/>
                <a:gd name="T46" fmla="*/ 4894 w 4894"/>
                <a:gd name="T47" fmla="*/ 1608 h 1609"/>
                <a:gd name="T48" fmla="*/ 4819 w 4894"/>
                <a:gd name="T49" fmla="*/ 1395 h 1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894" h="1609">
                  <a:moveTo>
                    <a:pt x="4819" y="1395"/>
                  </a:moveTo>
                  <a:cubicBezTo>
                    <a:pt x="4802" y="1344"/>
                    <a:pt x="4785" y="1295"/>
                    <a:pt x="4768" y="1248"/>
                  </a:cubicBezTo>
                  <a:cubicBezTo>
                    <a:pt x="4762" y="1229"/>
                    <a:pt x="4755" y="1210"/>
                    <a:pt x="4749" y="1191"/>
                  </a:cubicBezTo>
                  <a:cubicBezTo>
                    <a:pt x="4637" y="874"/>
                    <a:pt x="4497" y="478"/>
                    <a:pt x="4172" y="337"/>
                  </a:cubicBezTo>
                  <a:cubicBezTo>
                    <a:pt x="3843" y="194"/>
                    <a:pt x="3416" y="307"/>
                    <a:pt x="3072" y="398"/>
                  </a:cubicBezTo>
                  <a:cubicBezTo>
                    <a:pt x="3032" y="409"/>
                    <a:pt x="2993" y="419"/>
                    <a:pt x="2956" y="429"/>
                  </a:cubicBezTo>
                  <a:cubicBezTo>
                    <a:pt x="2875" y="449"/>
                    <a:pt x="2793" y="472"/>
                    <a:pt x="2707" y="496"/>
                  </a:cubicBezTo>
                  <a:cubicBezTo>
                    <a:pt x="2345" y="597"/>
                    <a:pt x="1970" y="702"/>
                    <a:pt x="1610" y="653"/>
                  </a:cubicBezTo>
                  <a:cubicBezTo>
                    <a:pt x="1359" y="618"/>
                    <a:pt x="1105" y="496"/>
                    <a:pt x="860" y="378"/>
                  </a:cubicBezTo>
                  <a:cubicBezTo>
                    <a:pt x="765" y="332"/>
                    <a:pt x="675" y="289"/>
                    <a:pt x="587" y="2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585" y="256"/>
                    <a:pt x="585" y="256"/>
                    <a:pt x="585" y="256"/>
                  </a:cubicBezTo>
                  <a:cubicBezTo>
                    <a:pt x="673" y="294"/>
                    <a:pt x="763" y="337"/>
                    <a:pt x="857" y="383"/>
                  </a:cubicBezTo>
                  <a:cubicBezTo>
                    <a:pt x="1103" y="501"/>
                    <a:pt x="1357" y="624"/>
                    <a:pt x="1609" y="658"/>
                  </a:cubicBezTo>
                  <a:cubicBezTo>
                    <a:pt x="1971" y="708"/>
                    <a:pt x="2346" y="603"/>
                    <a:pt x="2709" y="502"/>
                  </a:cubicBezTo>
                  <a:cubicBezTo>
                    <a:pt x="2795" y="478"/>
                    <a:pt x="2876" y="455"/>
                    <a:pt x="2957" y="434"/>
                  </a:cubicBezTo>
                  <a:cubicBezTo>
                    <a:pt x="2995" y="425"/>
                    <a:pt x="3033" y="415"/>
                    <a:pt x="3073" y="404"/>
                  </a:cubicBezTo>
                  <a:cubicBezTo>
                    <a:pt x="3416" y="313"/>
                    <a:pt x="3843" y="200"/>
                    <a:pt x="4169" y="342"/>
                  </a:cubicBezTo>
                  <a:cubicBezTo>
                    <a:pt x="4493" y="482"/>
                    <a:pt x="4632" y="877"/>
                    <a:pt x="4743" y="1193"/>
                  </a:cubicBezTo>
                  <a:cubicBezTo>
                    <a:pt x="4750" y="1212"/>
                    <a:pt x="4757" y="1231"/>
                    <a:pt x="4763" y="1250"/>
                  </a:cubicBezTo>
                  <a:cubicBezTo>
                    <a:pt x="4780" y="1297"/>
                    <a:pt x="4796" y="1346"/>
                    <a:pt x="4814" y="1397"/>
                  </a:cubicBezTo>
                  <a:cubicBezTo>
                    <a:pt x="4837" y="1466"/>
                    <a:pt x="4861" y="1538"/>
                    <a:pt x="4888" y="1609"/>
                  </a:cubicBezTo>
                  <a:cubicBezTo>
                    <a:pt x="4894" y="1608"/>
                    <a:pt x="4894" y="1608"/>
                    <a:pt x="4894" y="1608"/>
                  </a:cubicBezTo>
                  <a:cubicBezTo>
                    <a:pt x="4867" y="1537"/>
                    <a:pt x="4843" y="1465"/>
                    <a:pt x="4819" y="1395"/>
                  </a:cubicBezTo>
                  <a:close/>
                </a:path>
              </a:pathLst>
            </a:custGeom>
            <a:solidFill>
              <a:srgbClr val="CDCF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4" name="Freeform 53"/>
            <p:cNvSpPr>
              <a:spLocks/>
            </p:cNvSpPr>
            <p:nvPr userDrawn="1"/>
          </p:nvSpPr>
          <p:spPr bwMode="auto">
            <a:xfrm>
              <a:off x="-792" y="2230365"/>
              <a:ext cx="7563356" cy="2637635"/>
            </a:xfrm>
            <a:custGeom>
              <a:avLst/>
              <a:gdLst>
                <a:gd name="T0" fmla="*/ 4841 w 4960"/>
                <a:gd name="T1" fmla="*/ 1422 h 1728"/>
                <a:gd name="T2" fmla="*/ 4786 w 4960"/>
                <a:gd name="T3" fmla="*/ 1275 h 1728"/>
                <a:gd name="T4" fmla="*/ 4766 w 4960"/>
                <a:gd name="T5" fmla="*/ 1222 h 1728"/>
                <a:gd name="T6" fmla="*/ 4165 w 4960"/>
                <a:gd name="T7" fmla="*/ 370 h 1728"/>
                <a:gd name="T8" fmla="*/ 3074 w 4960"/>
                <a:gd name="T9" fmla="*/ 429 h 1728"/>
                <a:gd name="T10" fmla="*/ 2972 w 4960"/>
                <a:gd name="T11" fmla="*/ 456 h 1728"/>
                <a:gd name="T12" fmla="*/ 2731 w 4960"/>
                <a:gd name="T13" fmla="*/ 522 h 1728"/>
                <a:gd name="T14" fmla="*/ 1654 w 4960"/>
                <a:gd name="T15" fmla="*/ 675 h 1728"/>
                <a:gd name="T16" fmla="*/ 910 w 4960"/>
                <a:gd name="T17" fmla="*/ 399 h 1728"/>
                <a:gd name="T18" fmla="*/ 634 w 4960"/>
                <a:gd name="T19" fmla="*/ 271 h 1728"/>
                <a:gd name="T20" fmla="*/ 0 w 4960"/>
                <a:gd name="T21" fmla="*/ 0 h 1728"/>
                <a:gd name="T22" fmla="*/ 0 w 4960"/>
                <a:gd name="T23" fmla="*/ 7 h 1728"/>
                <a:gd name="T24" fmla="*/ 632 w 4960"/>
                <a:gd name="T25" fmla="*/ 277 h 1728"/>
                <a:gd name="T26" fmla="*/ 907 w 4960"/>
                <a:gd name="T27" fmla="*/ 404 h 1728"/>
                <a:gd name="T28" fmla="*/ 1653 w 4960"/>
                <a:gd name="T29" fmla="*/ 680 h 1728"/>
                <a:gd name="T30" fmla="*/ 2733 w 4960"/>
                <a:gd name="T31" fmla="*/ 528 h 1728"/>
                <a:gd name="T32" fmla="*/ 2974 w 4960"/>
                <a:gd name="T33" fmla="*/ 462 h 1728"/>
                <a:gd name="T34" fmla="*/ 3076 w 4960"/>
                <a:gd name="T35" fmla="*/ 435 h 1728"/>
                <a:gd name="T36" fmla="*/ 4163 w 4960"/>
                <a:gd name="T37" fmla="*/ 375 h 1728"/>
                <a:gd name="T38" fmla="*/ 4761 w 4960"/>
                <a:gd name="T39" fmla="*/ 1224 h 1728"/>
                <a:gd name="T40" fmla="*/ 4781 w 4960"/>
                <a:gd name="T41" fmla="*/ 1277 h 1728"/>
                <a:gd name="T42" fmla="*/ 4836 w 4960"/>
                <a:gd name="T43" fmla="*/ 1424 h 1728"/>
                <a:gd name="T44" fmla="*/ 4954 w 4960"/>
                <a:gd name="T45" fmla="*/ 1728 h 1728"/>
                <a:gd name="T46" fmla="*/ 4960 w 4960"/>
                <a:gd name="T47" fmla="*/ 1727 h 1728"/>
                <a:gd name="T48" fmla="*/ 4841 w 4960"/>
                <a:gd name="T49" fmla="*/ 1422 h 1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960" h="1728">
                  <a:moveTo>
                    <a:pt x="4841" y="1422"/>
                  </a:moveTo>
                  <a:cubicBezTo>
                    <a:pt x="4823" y="1371"/>
                    <a:pt x="4805" y="1322"/>
                    <a:pt x="4786" y="1275"/>
                  </a:cubicBezTo>
                  <a:cubicBezTo>
                    <a:pt x="4780" y="1257"/>
                    <a:pt x="4773" y="1240"/>
                    <a:pt x="4766" y="1222"/>
                  </a:cubicBezTo>
                  <a:cubicBezTo>
                    <a:pt x="4646" y="906"/>
                    <a:pt x="4496" y="513"/>
                    <a:pt x="4165" y="370"/>
                  </a:cubicBezTo>
                  <a:cubicBezTo>
                    <a:pt x="3835" y="227"/>
                    <a:pt x="3413" y="339"/>
                    <a:pt x="3074" y="429"/>
                  </a:cubicBezTo>
                  <a:cubicBezTo>
                    <a:pt x="3040" y="438"/>
                    <a:pt x="3006" y="447"/>
                    <a:pt x="2972" y="456"/>
                  </a:cubicBezTo>
                  <a:cubicBezTo>
                    <a:pt x="2894" y="476"/>
                    <a:pt x="2815" y="499"/>
                    <a:pt x="2731" y="522"/>
                  </a:cubicBezTo>
                  <a:cubicBezTo>
                    <a:pt x="2376" y="623"/>
                    <a:pt x="2008" y="727"/>
                    <a:pt x="1654" y="675"/>
                  </a:cubicBezTo>
                  <a:cubicBezTo>
                    <a:pt x="1406" y="638"/>
                    <a:pt x="1154" y="517"/>
                    <a:pt x="910" y="399"/>
                  </a:cubicBezTo>
                  <a:cubicBezTo>
                    <a:pt x="814" y="353"/>
                    <a:pt x="724" y="309"/>
                    <a:pt x="634" y="27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632" y="277"/>
                    <a:pt x="632" y="277"/>
                    <a:pt x="632" y="277"/>
                  </a:cubicBezTo>
                  <a:cubicBezTo>
                    <a:pt x="721" y="315"/>
                    <a:pt x="812" y="358"/>
                    <a:pt x="907" y="404"/>
                  </a:cubicBezTo>
                  <a:cubicBezTo>
                    <a:pt x="1151" y="522"/>
                    <a:pt x="1404" y="644"/>
                    <a:pt x="1653" y="680"/>
                  </a:cubicBezTo>
                  <a:cubicBezTo>
                    <a:pt x="2008" y="733"/>
                    <a:pt x="2377" y="629"/>
                    <a:pt x="2733" y="528"/>
                  </a:cubicBezTo>
                  <a:cubicBezTo>
                    <a:pt x="2816" y="504"/>
                    <a:pt x="2895" y="482"/>
                    <a:pt x="2974" y="462"/>
                  </a:cubicBezTo>
                  <a:cubicBezTo>
                    <a:pt x="3007" y="453"/>
                    <a:pt x="3041" y="444"/>
                    <a:pt x="3076" y="435"/>
                  </a:cubicBezTo>
                  <a:cubicBezTo>
                    <a:pt x="3414" y="345"/>
                    <a:pt x="3834" y="234"/>
                    <a:pt x="4163" y="375"/>
                  </a:cubicBezTo>
                  <a:cubicBezTo>
                    <a:pt x="4491" y="517"/>
                    <a:pt x="4641" y="909"/>
                    <a:pt x="4761" y="1224"/>
                  </a:cubicBezTo>
                  <a:cubicBezTo>
                    <a:pt x="4768" y="1242"/>
                    <a:pt x="4774" y="1260"/>
                    <a:pt x="4781" y="1277"/>
                  </a:cubicBezTo>
                  <a:cubicBezTo>
                    <a:pt x="4799" y="1324"/>
                    <a:pt x="4817" y="1373"/>
                    <a:pt x="4836" y="1424"/>
                  </a:cubicBezTo>
                  <a:cubicBezTo>
                    <a:pt x="4872" y="1524"/>
                    <a:pt x="4910" y="1627"/>
                    <a:pt x="4954" y="1728"/>
                  </a:cubicBezTo>
                  <a:cubicBezTo>
                    <a:pt x="4960" y="1727"/>
                    <a:pt x="4960" y="1727"/>
                    <a:pt x="4960" y="1727"/>
                  </a:cubicBezTo>
                  <a:cubicBezTo>
                    <a:pt x="4916" y="1626"/>
                    <a:pt x="4878" y="1522"/>
                    <a:pt x="4841" y="1422"/>
                  </a:cubicBezTo>
                  <a:close/>
                </a:path>
              </a:pathLst>
            </a:custGeom>
            <a:solidFill>
              <a:srgbClr val="CDCE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5" name="Freeform 54"/>
            <p:cNvSpPr>
              <a:spLocks/>
            </p:cNvSpPr>
            <p:nvPr userDrawn="1"/>
          </p:nvSpPr>
          <p:spPr bwMode="auto">
            <a:xfrm>
              <a:off x="-792" y="2031540"/>
              <a:ext cx="7677200" cy="2817218"/>
            </a:xfrm>
            <a:custGeom>
              <a:avLst/>
              <a:gdLst>
                <a:gd name="T0" fmla="*/ 4863 w 5034"/>
                <a:gd name="T1" fmla="*/ 1450 h 1846"/>
                <a:gd name="T2" fmla="*/ 4804 w 5034"/>
                <a:gd name="T3" fmla="*/ 1303 h 1846"/>
                <a:gd name="T4" fmla="*/ 4784 w 5034"/>
                <a:gd name="T5" fmla="*/ 1255 h 1846"/>
                <a:gd name="T6" fmla="*/ 4157 w 5034"/>
                <a:gd name="T7" fmla="*/ 404 h 1846"/>
                <a:gd name="T8" fmla="*/ 3075 w 5034"/>
                <a:gd name="T9" fmla="*/ 461 h 1846"/>
                <a:gd name="T10" fmla="*/ 2988 w 5034"/>
                <a:gd name="T11" fmla="*/ 484 h 1846"/>
                <a:gd name="T12" fmla="*/ 2755 w 5034"/>
                <a:gd name="T13" fmla="*/ 549 h 1846"/>
                <a:gd name="T14" fmla="*/ 1699 w 5034"/>
                <a:gd name="T15" fmla="*/ 697 h 1846"/>
                <a:gd name="T16" fmla="*/ 960 w 5034"/>
                <a:gd name="T17" fmla="*/ 421 h 1846"/>
                <a:gd name="T18" fmla="*/ 682 w 5034"/>
                <a:gd name="T19" fmla="*/ 291 h 1846"/>
                <a:gd name="T20" fmla="*/ 0 w 5034"/>
                <a:gd name="T21" fmla="*/ 0 h 1846"/>
                <a:gd name="T22" fmla="*/ 0 w 5034"/>
                <a:gd name="T23" fmla="*/ 7 h 1846"/>
                <a:gd name="T24" fmla="*/ 679 w 5034"/>
                <a:gd name="T25" fmla="*/ 297 h 1846"/>
                <a:gd name="T26" fmla="*/ 958 w 5034"/>
                <a:gd name="T27" fmla="*/ 426 h 1846"/>
                <a:gd name="T28" fmla="*/ 1698 w 5034"/>
                <a:gd name="T29" fmla="*/ 703 h 1846"/>
                <a:gd name="T30" fmla="*/ 2756 w 5034"/>
                <a:gd name="T31" fmla="*/ 555 h 1846"/>
                <a:gd name="T32" fmla="*/ 2990 w 5034"/>
                <a:gd name="T33" fmla="*/ 490 h 1846"/>
                <a:gd name="T34" fmla="*/ 3076 w 5034"/>
                <a:gd name="T35" fmla="*/ 467 h 1846"/>
                <a:gd name="T36" fmla="*/ 4155 w 5034"/>
                <a:gd name="T37" fmla="*/ 410 h 1846"/>
                <a:gd name="T38" fmla="*/ 4778 w 5034"/>
                <a:gd name="T39" fmla="*/ 1257 h 1846"/>
                <a:gd name="T40" fmla="*/ 4798 w 5034"/>
                <a:gd name="T41" fmla="*/ 1305 h 1846"/>
                <a:gd name="T42" fmla="*/ 4857 w 5034"/>
                <a:gd name="T43" fmla="*/ 1452 h 1846"/>
                <a:gd name="T44" fmla="*/ 5028 w 5034"/>
                <a:gd name="T45" fmla="*/ 1846 h 1846"/>
                <a:gd name="T46" fmla="*/ 5034 w 5034"/>
                <a:gd name="T47" fmla="*/ 1845 h 1846"/>
                <a:gd name="T48" fmla="*/ 4863 w 5034"/>
                <a:gd name="T49" fmla="*/ 1450 h 18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034" h="1846">
                  <a:moveTo>
                    <a:pt x="4863" y="1450"/>
                  </a:moveTo>
                  <a:cubicBezTo>
                    <a:pt x="4842" y="1398"/>
                    <a:pt x="4823" y="1350"/>
                    <a:pt x="4804" y="1303"/>
                  </a:cubicBezTo>
                  <a:cubicBezTo>
                    <a:pt x="4797" y="1287"/>
                    <a:pt x="4791" y="1271"/>
                    <a:pt x="4784" y="1255"/>
                  </a:cubicBezTo>
                  <a:cubicBezTo>
                    <a:pt x="4655" y="940"/>
                    <a:pt x="4494" y="549"/>
                    <a:pt x="4157" y="404"/>
                  </a:cubicBezTo>
                  <a:cubicBezTo>
                    <a:pt x="3825" y="262"/>
                    <a:pt x="3409" y="372"/>
                    <a:pt x="3075" y="461"/>
                  </a:cubicBezTo>
                  <a:cubicBezTo>
                    <a:pt x="3045" y="469"/>
                    <a:pt x="3016" y="477"/>
                    <a:pt x="2988" y="484"/>
                  </a:cubicBezTo>
                  <a:cubicBezTo>
                    <a:pt x="2912" y="504"/>
                    <a:pt x="2836" y="526"/>
                    <a:pt x="2755" y="549"/>
                  </a:cubicBezTo>
                  <a:cubicBezTo>
                    <a:pt x="2406" y="648"/>
                    <a:pt x="2045" y="751"/>
                    <a:pt x="1699" y="697"/>
                  </a:cubicBezTo>
                  <a:cubicBezTo>
                    <a:pt x="1452" y="658"/>
                    <a:pt x="1202" y="537"/>
                    <a:pt x="960" y="421"/>
                  </a:cubicBezTo>
                  <a:cubicBezTo>
                    <a:pt x="864" y="374"/>
                    <a:pt x="772" y="330"/>
                    <a:pt x="682" y="29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679" y="297"/>
                    <a:pt x="679" y="297"/>
                    <a:pt x="679" y="297"/>
                  </a:cubicBezTo>
                  <a:cubicBezTo>
                    <a:pt x="770" y="336"/>
                    <a:pt x="861" y="380"/>
                    <a:pt x="958" y="426"/>
                  </a:cubicBezTo>
                  <a:cubicBezTo>
                    <a:pt x="1200" y="543"/>
                    <a:pt x="1450" y="664"/>
                    <a:pt x="1698" y="703"/>
                  </a:cubicBezTo>
                  <a:cubicBezTo>
                    <a:pt x="2045" y="758"/>
                    <a:pt x="2407" y="654"/>
                    <a:pt x="2756" y="555"/>
                  </a:cubicBezTo>
                  <a:cubicBezTo>
                    <a:pt x="2837" y="532"/>
                    <a:pt x="2914" y="510"/>
                    <a:pt x="2990" y="490"/>
                  </a:cubicBezTo>
                  <a:cubicBezTo>
                    <a:pt x="3018" y="483"/>
                    <a:pt x="3047" y="475"/>
                    <a:pt x="3076" y="467"/>
                  </a:cubicBezTo>
                  <a:cubicBezTo>
                    <a:pt x="3409" y="378"/>
                    <a:pt x="3824" y="268"/>
                    <a:pt x="4155" y="410"/>
                  </a:cubicBezTo>
                  <a:cubicBezTo>
                    <a:pt x="4489" y="554"/>
                    <a:pt x="4649" y="944"/>
                    <a:pt x="4778" y="1257"/>
                  </a:cubicBezTo>
                  <a:cubicBezTo>
                    <a:pt x="4785" y="1273"/>
                    <a:pt x="4792" y="1289"/>
                    <a:pt x="4798" y="1305"/>
                  </a:cubicBezTo>
                  <a:cubicBezTo>
                    <a:pt x="4818" y="1352"/>
                    <a:pt x="4837" y="1401"/>
                    <a:pt x="4857" y="1452"/>
                  </a:cubicBezTo>
                  <a:cubicBezTo>
                    <a:pt x="4908" y="1581"/>
                    <a:pt x="4962" y="1718"/>
                    <a:pt x="5028" y="1846"/>
                  </a:cubicBezTo>
                  <a:cubicBezTo>
                    <a:pt x="5034" y="1845"/>
                    <a:pt x="5034" y="1845"/>
                    <a:pt x="5034" y="1845"/>
                  </a:cubicBezTo>
                  <a:cubicBezTo>
                    <a:pt x="4968" y="1716"/>
                    <a:pt x="4914" y="1579"/>
                    <a:pt x="4863" y="1450"/>
                  </a:cubicBezTo>
                  <a:close/>
                </a:path>
              </a:pathLst>
            </a:custGeom>
            <a:solidFill>
              <a:srgbClr val="CCCE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6" name="Freeform 55"/>
            <p:cNvSpPr>
              <a:spLocks/>
            </p:cNvSpPr>
            <p:nvPr userDrawn="1"/>
          </p:nvSpPr>
          <p:spPr bwMode="auto">
            <a:xfrm>
              <a:off x="-792" y="1831112"/>
              <a:ext cx="7800664" cy="2995199"/>
            </a:xfrm>
            <a:custGeom>
              <a:avLst/>
              <a:gdLst>
                <a:gd name="T0" fmla="*/ 4862 w 5116"/>
                <a:gd name="T1" fmla="*/ 1408 h 1963"/>
                <a:gd name="T2" fmla="*/ 4150 w 5116"/>
                <a:gd name="T3" fmla="*/ 438 h 1963"/>
                <a:gd name="T4" fmla="*/ 3074 w 5116"/>
                <a:gd name="T5" fmla="*/ 493 h 1963"/>
                <a:gd name="T6" fmla="*/ 3004 w 5116"/>
                <a:gd name="T7" fmla="*/ 512 h 1963"/>
                <a:gd name="T8" fmla="*/ 2779 w 5116"/>
                <a:gd name="T9" fmla="*/ 575 h 1963"/>
                <a:gd name="T10" fmla="*/ 1743 w 5116"/>
                <a:gd name="T11" fmla="*/ 719 h 1963"/>
                <a:gd name="T12" fmla="*/ 1011 w 5116"/>
                <a:gd name="T13" fmla="*/ 442 h 1963"/>
                <a:gd name="T14" fmla="*/ 729 w 5116"/>
                <a:gd name="T15" fmla="*/ 312 h 1963"/>
                <a:gd name="T16" fmla="*/ 0 w 5116"/>
                <a:gd name="T17" fmla="*/ 0 h 1963"/>
                <a:gd name="T18" fmla="*/ 0 w 5116"/>
                <a:gd name="T19" fmla="*/ 7 h 1963"/>
                <a:gd name="T20" fmla="*/ 727 w 5116"/>
                <a:gd name="T21" fmla="*/ 317 h 1963"/>
                <a:gd name="T22" fmla="*/ 1008 w 5116"/>
                <a:gd name="T23" fmla="*/ 448 h 1963"/>
                <a:gd name="T24" fmla="*/ 1742 w 5116"/>
                <a:gd name="T25" fmla="*/ 725 h 1963"/>
                <a:gd name="T26" fmla="*/ 2780 w 5116"/>
                <a:gd name="T27" fmla="*/ 581 h 1963"/>
                <a:gd name="T28" fmla="*/ 3006 w 5116"/>
                <a:gd name="T29" fmla="*/ 518 h 1963"/>
                <a:gd name="T30" fmla="*/ 3076 w 5116"/>
                <a:gd name="T31" fmla="*/ 499 h 1963"/>
                <a:gd name="T32" fmla="*/ 4147 w 5116"/>
                <a:gd name="T33" fmla="*/ 444 h 1963"/>
                <a:gd name="T34" fmla="*/ 4856 w 5116"/>
                <a:gd name="T35" fmla="*/ 1411 h 1963"/>
                <a:gd name="T36" fmla="*/ 5109 w 5116"/>
                <a:gd name="T37" fmla="*/ 1963 h 1963"/>
                <a:gd name="T38" fmla="*/ 5116 w 5116"/>
                <a:gd name="T39" fmla="*/ 1962 h 1963"/>
                <a:gd name="T40" fmla="*/ 4862 w 5116"/>
                <a:gd name="T41" fmla="*/ 1408 h 1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16" h="1963">
                  <a:moveTo>
                    <a:pt x="4862" y="1408"/>
                  </a:moveTo>
                  <a:cubicBezTo>
                    <a:pt x="4708" y="1015"/>
                    <a:pt x="4548" y="609"/>
                    <a:pt x="4150" y="438"/>
                  </a:cubicBezTo>
                  <a:cubicBezTo>
                    <a:pt x="3815" y="295"/>
                    <a:pt x="3422" y="400"/>
                    <a:pt x="3074" y="493"/>
                  </a:cubicBezTo>
                  <a:cubicBezTo>
                    <a:pt x="3051" y="499"/>
                    <a:pt x="3027" y="506"/>
                    <a:pt x="3004" y="512"/>
                  </a:cubicBezTo>
                  <a:cubicBezTo>
                    <a:pt x="2931" y="531"/>
                    <a:pt x="2857" y="552"/>
                    <a:pt x="2779" y="575"/>
                  </a:cubicBezTo>
                  <a:cubicBezTo>
                    <a:pt x="2436" y="674"/>
                    <a:pt x="2082" y="776"/>
                    <a:pt x="1743" y="719"/>
                  </a:cubicBezTo>
                  <a:cubicBezTo>
                    <a:pt x="1499" y="677"/>
                    <a:pt x="1251" y="558"/>
                    <a:pt x="1011" y="442"/>
                  </a:cubicBezTo>
                  <a:cubicBezTo>
                    <a:pt x="913" y="395"/>
                    <a:pt x="821" y="351"/>
                    <a:pt x="729" y="3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727" y="317"/>
                    <a:pt x="727" y="317"/>
                    <a:pt x="727" y="317"/>
                  </a:cubicBezTo>
                  <a:cubicBezTo>
                    <a:pt x="818" y="356"/>
                    <a:pt x="911" y="401"/>
                    <a:pt x="1008" y="448"/>
                  </a:cubicBezTo>
                  <a:cubicBezTo>
                    <a:pt x="1248" y="564"/>
                    <a:pt x="1497" y="683"/>
                    <a:pt x="1742" y="725"/>
                  </a:cubicBezTo>
                  <a:cubicBezTo>
                    <a:pt x="2083" y="783"/>
                    <a:pt x="2437" y="680"/>
                    <a:pt x="2780" y="581"/>
                  </a:cubicBezTo>
                  <a:cubicBezTo>
                    <a:pt x="2858" y="558"/>
                    <a:pt x="2932" y="537"/>
                    <a:pt x="3006" y="518"/>
                  </a:cubicBezTo>
                  <a:cubicBezTo>
                    <a:pt x="3029" y="512"/>
                    <a:pt x="3052" y="505"/>
                    <a:pt x="3076" y="499"/>
                  </a:cubicBezTo>
                  <a:cubicBezTo>
                    <a:pt x="3422" y="406"/>
                    <a:pt x="3815" y="301"/>
                    <a:pt x="4147" y="444"/>
                  </a:cubicBezTo>
                  <a:cubicBezTo>
                    <a:pt x="4544" y="614"/>
                    <a:pt x="4702" y="1019"/>
                    <a:pt x="4856" y="1411"/>
                  </a:cubicBezTo>
                  <a:cubicBezTo>
                    <a:pt x="4930" y="1600"/>
                    <a:pt x="5006" y="1794"/>
                    <a:pt x="5109" y="1963"/>
                  </a:cubicBezTo>
                  <a:cubicBezTo>
                    <a:pt x="5116" y="1962"/>
                    <a:pt x="5116" y="1962"/>
                    <a:pt x="5116" y="1962"/>
                  </a:cubicBezTo>
                  <a:cubicBezTo>
                    <a:pt x="5012" y="1793"/>
                    <a:pt x="4936" y="1599"/>
                    <a:pt x="4862" y="1408"/>
                  </a:cubicBezTo>
                  <a:close/>
                </a:path>
              </a:pathLst>
            </a:custGeom>
            <a:solidFill>
              <a:srgbClr val="CCCE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7" name="Freeform 56"/>
            <p:cNvSpPr>
              <a:spLocks/>
            </p:cNvSpPr>
            <p:nvPr userDrawn="1"/>
          </p:nvSpPr>
          <p:spPr bwMode="auto">
            <a:xfrm>
              <a:off x="-792" y="1630683"/>
              <a:ext cx="7949782" cy="3169972"/>
            </a:xfrm>
            <a:custGeom>
              <a:avLst/>
              <a:gdLst>
                <a:gd name="T0" fmla="*/ 4880 w 5213"/>
                <a:gd name="T1" fmla="*/ 1433 h 2077"/>
                <a:gd name="T2" fmla="*/ 4145 w 5213"/>
                <a:gd name="T3" fmla="*/ 469 h 2077"/>
                <a:gd name="T4" fmla="*/ 3076 w 5213"/>
                <a:gd name="T5" fmla="*/ 523 h 2077"/>
                <a:gd name="T6" fmla="*/ 3022 w 5213"/>
                <a:gd name="T7" fmla="*/ 538 h 2077"/>
                <a:gd name="T8" fmla="*/ 2804 w 5213"/>
                <a:gd name="T9" fmla="*/ 600 h 2077"/>
                <a:gd name="T10" fmla="*/ 1788 w 5213"/>
                <a:gd name="T11" fmla="*/ 740 h 2077"/>
                <a:gd name="T12" fmla="*/ 1062 w 5213"/>
                <a:gd name="T13" fmla="*/ 464 h 2077"/>
                <a:gd name="T14" fmla="*/ 777 w 5213"/>
                <a:gd name="T15" fmla="*/ 332 h 2077"/>
                <a:gd name="T16" fmla="*/ 0 w 5213"/>
                <a:gd name="T17" fmla="*/ 0 h 2077"/>
                <a:gd name="T18" fmla="*/ 0 w 5213"/>
                <a:gd name="T19" fmla="*/ 7 h 2077"/>
                <a:gd name="T20" fmla="*/ 774 w 5213"/>
                <a:gd name="T21" fmla="*/ 338 h 2077"/>
                <a:gd name="T22" fmla="*/ 1059 w 5213"/>
                <a:gd name="T23" fmla="*/ 470 h 2077"/>
                <a:gd name="T24" fmla="*/ 1787 w 5213"/>
                <a:gd name="T25" fmla="*/ 747 h 2077"/>
                <a:gd name="T26" fmla="*/ 2805 w 5213"/>
                <a:gd name="T27" fmla="*/ 606 h 2077"/>
                <a:gd name="T28" fmla="*/ 3024 w 5213"/>
                <a:gd name="T29" fmla="*/ 544 h 2077"/>
                <a:gd name="T30" fmla="*/ 3078 w 5213"/>
                <a:gd name="T31" fmla="*/ 529 h 2077"/>
                <a:gd name="T32" fmla="*/ 4143 w 5213"/>
                <a:gd name="T33" fmla="*/ 475 h 2077"/>
                <a:gd name="T34" fmla="*/ 4874 w 5213"/>
                <a:gd name="T35" fmla="*/ 1436 h 2077"/>
                <a:gd name="T36" fmla="*/ 5206 w 5213"/>
                <a:gd name="T37" fmla="*/ 2077 h 2077"/>
                <a:gd name="T38" fmla="*/ 5213 w 5213"/>
                <a:gd name="T39" fmla="*/ 2076 h 2077"/>
                <a:gd name="T40" fmla="*/ 4880 w 5213"/>
                <a:gd name="T41" fmla="*/ 1433 h 20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213" h="2077">
                  <a:moveTo>
                    <a:pt x="4880" y="1433"/>
                  </a:moveTo>
                  <a:cubicBezTo>
                    <a:pt x="4716" y="1044"/>
                    <a:pt x="4547" y="641"/>
                    <a:pt x="4145" y="469"/>
                  </a:cubicBezTo>
                  <a:cubicBezTo>
                    <a:pt x="3809" y="326"/>
                    <a:pt x="3419" y="431"/>
                    <a:pt x="3076" y="523"/>
                  </a:cubicBezTo>
                  <a:cubicBezTo>
                    <a:pt x="3058" y="528"/>
                    <a:pt x="3040" y="533"/>
                    <a:pt x="3022" y="538"/>
                  </a:cubicBezTo>
                  <a:cubicBezTo>
                    <a:pt x="2951" y="557"/>
                    <a:pt x="2879" y="578"/>
                    <a:pt x="2804" y="600"/>
                  </a:cubicBezTo>
                  <a:cubicBezTo>
                    <a:pt x="2468" y="698"/>
                    <a:pt x="2120" y="800"/>
                    <a:pt x="1788" y="740"/>
                  </a:cubicBezTo>
                  <a:cubicBezTo>
                    <a:pt x="1545" y="697"/>
                    <a:pt x="1299" y="578"/>
                    <a:pt x="1062" y="464"/>
                  </a:cubicBezTo>
                  <a:cubicBezTo>
                    <a:pt x="963" y="416"/>
                    <a:pt x="869" y="371"/>
                    <a:pt x="777" y="3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774" y="338"/>
                    <a:pt x="774" y="338"/>
                    <a:pt x="774" y="338"/>
                  </a:cubicBezTo>
                  <a:cubicBezTo>
                    <a:pt x="867" y="377"/>
                    <a:pt x="960" y="422"/>
                    <a:pt x="1059" y="470"/>
                  </a:cubicBezTo>
                  <a:cubicBezTo>
                    <a:pt x="1297" y="584"/>
                    <a:pt x="1543" y="703"/>
                    <a:pt x="1787" y="747"/>
                  </a:cubicBezTo>
                  <a:cubicBezTo>
                    <a:pt x="2120" y="807"/>
                    <a:pt x="2469" y="705"/>
                    <a:pt x="2805" y="606"/>
                  </a:cubicBezTo>
                  <a:cubicBezTo>
                    <a:pt x="2881" y="584"/>
                    <a:pt x="2952" y="563"/>
                    <a:pt x="3024" y="544"/>
                  </a:cubicBezTo>
                  <a:cubicBezTo>
                    <a:pt x="3041" y="539"/>
                    <a:pt x="3060" y="534"/>
                    <a:pt x="3078" y="529"/>
                  </a:cubicBezTo>
                  <a:cubicBezTo>
                    <a:pt x="3420" y="437"/>
                    <a:pt x="3808" y="332"/>
                    <a:pt x="4143" y="475"/>
                  </a:cubicBezTo>
                  <a:cubicBezTo>
                    <a:pt x="4542" y="646"/>
                    <a:pt x="4711" y="1047"/>
                    <a:pt x="4874" y="1436"/>
                  </a:cubicBezTo>
                  <a:cubicBezTo>
                    <a:pt x="4968" y="1660"/>
                    <a:pt x="5065" y="1889"/>
                    <a:pt x="5206" y="2077"/>
                  </a:cubicBezTo>
                  <a:cubicBezTo>
                    <a:pt x="5213" y="2076"/>
                    <a:pt x="5213" y="2076"/>
                    <a:pt x="5213" y="2076"/>
                  </a:cubicBezTo>
                  <a:cubicBezTo>
                    <a:pt x="5071" y="1888"/>
                    <a:pt x="4975" y="1658"/>
                    <a:pt x="4880" y="1433"/>
                  </a:cubicBezTo>
                  <a:close/>
                </a:path>
              </a:pathLst>
            </a:custGeom>
            <a:solidFill>
              <a:srgbClr val="CBCD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8" name="Freeform 57"/>
            <p:cNvSpPr>
              <a:spLocks/>
            </p:cNvSpPr>
            <p:nvPr userDrawn="1"/>
          </p:nvSpPr>
          <p:spPr bwMode="auto">
            <a:xfrm>
              <a:off x="-792" y="1431859"/>
              <a:ext cx="8122952" cy="3338331"/>
            </a:xfrm>
            <a:custGeom>
              <a:avLst/>
              <a:gdLst>
                <a:gd name="T0" fmla="*/ 4902 w 5327"/>
                <a:gd name="T1" fmla="*/ 1456 h 2188"/>
                <a:gd name="T2" fmla="*/ 4146 w 5327"/>
                <a:gd name="T3" fmla="*/ 496 h 2188"/>
                <a:gd name="T4" fmla="*/ 2889 w 5327"/>
                <a:gd name="T5" fmla="*/ 597 h 2188"/>
                <a:gd name="T6" fmla="*/ 1833 w 5327"/>
                <a:gd name="T7" fmla="*/ 762 h 2188"/>
                <a:gd name="T8" fmla="*/ 1112 w 5327"/>
                <a:gd name="T9" fmla="*/ 485 h 2188"/>
                <a:gd name="T10" fmla="*/ 824 w 5327"/>
                <a:gd name="T11" fmla="*/ 352 h 2188"/>
                <a:gd name="T12" fmla="*/ 0 w 5327"/>
                <a:gd name="T13" fmla="*/ 0 h 2188"/>
                <a:gd name="T14" fmla="*/ 0 w 5327"/>
                <a:gd name="T15" fmla="*/ 7 h 2188"/>
                <a:gd name="T16" fmla="*/ 821 w 5327"/>
                <a:gd name="T17" fmla="*/ 358 h 2188"/>
                <a:gd name="T18" fmla="*/ 1109 w 5327"/>
                <a:gd name="T19" fmla="*/ 491 h 2188"/>
                <a:gd name="T20" fmla="*/ 1832 w 5327"/>
                <a:gd name="T21" fmla="*/ 768 h 2188"/>
                <a:gd name="T22" fmla="*/ 2891 w 5327"/>
                <a:gd name="T23" fmla="*/ 603 h 2188"/>
                <a:gd name="T24" fmla="*/ 4143 w 5327"/>
                <a:gd name="T25" fmla="*/ 502 h 2188"/>
                <a:gd name="T26" fmla="*/ 4896 w 5327"/>
                <a:gd name="T27" fmla="*/ 1459 h 2188"/>
                <a:gd name="T28" fmla="*/ 5319 w 5327"/>
                <a:gd name="T29" fmla="*/ 2188 h 2188"/>
                <a:gd name="T30" fmla="*/ 5327 w 5327"/>
                <a:gd name="T31" fmla="*/ 2187 h 2188"/>
                <a:gd name="T32" fmla="*/ 4902 w 5327"/>
                <a:gd name="T33" fmla="*/ 1456 h 2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27" h="2188">
                  <a:moveTo>
                    <a:pt x="4902" y="1456"/>
                  </a:moveTo>
                  <a:cubicBezTo>
                    <a:pt x="4729" y="1069"/>
                    <a:pt x="4550" y="668"/>
                    <a:pt x="4146" y="496"/>
                  </a:cubicBezTo>
                  <a:cubicBezTo>
                    <a:pt x="3736" y="321"/>
                    <a:pt x="3306" y="461"/>
                    <a:pt x="2889" y="597"/>
                  </a:cubicBezTo>
                  <a:cubicBezTo>
                    <a:pt x="2541" y="710"/>
                    <a:pt x="2181" y="827"/>
                    <a:pt x="1833" y="762"/>
                  </a:cubicBezTo>
                  <a:cubicBezTo>
                    <a:pt x="1592" y="717"/>
                    <a:pt x="1348" y="599"/>
                    <a:pt x="1112" y="485"/>
                  </a:cubicBezTo>
                  <a:cubicBezTo>
                    <a:pt x="1012" y="437"/>
                    <a:pt x="918" y="392"/>
                    <a:pt x="824" y="35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821" y="358"/>
                    <a:pt x="821" y="358"/>
                    <a:pt x="821" y="358"/>
                  </a:cubicBezTo>
                  <a:cubicBezTo>
                    <a:pt x="915" y="398"/>
                    <a:pt x="1009" y="443"/>
                    <a:pt x="1109" y="491"/>
                  </a:cubicBezTo>
                  <a:cubicBezTo>
                    <a:pt x="1345" y="605"/>
                    <a:pt x="1590" y="723"/>
                    <a:pt x="1832" y="768"/>
                  </a:cubicBezTo>
                  <a:cubicBezTo>
                    <a:pt x="2182" y="834"/>
                    <a:pt x="2542" y="717"/>
                    <a:pt x="2891" y="603"/>
                  </a:cubicBezTo>
                  <a:cubicBezTo>
                    <a:pt x="3306" y="468"/>
                    <a:pt x="3736" y="328"/>
                    <a:pt x="4143" y="502"/>
                  </a:cubicBezTo>
                  <a:cubicBezTo>
                    <a:pt x="4545" y="674"/>
                    <a:pt x="4723" y="1073"/>
                    <a:pt x="4896" y="1459"/>
                  </a:cubicBezTo>
                  <a:cubicBezTo>
                    <a:pt x="5012" y="1720"/>
                    <a:pt x="5131" y="1987"/>
                    <a:pt x="5319" y="2188"/>
                  </a:cubicBezTo>
                  <a:cubicBezTo>
                    <a:pt x="5327" y="2187"/>
                    <a:pt x="5327" y="2187"/>
                    <a:pt x="5327" y="2187"/>
                  </a:cubicBezTo>
                  <a:cubicBezTo>
                    <a:pt x="5138" y="1986"/>
                    <a:pt x="5018" y="1718"/>
                    <a:pt x="4902" y="1456"/>
                  </a:cubicBezTo>
                  <a:close/>
                </a:path>
              </a:pathLst>
            </a:custGeom>
            <a:solidFill>
              <a:srgbClr val="CBCD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9" name="Freeform 58"/>
            <p:cNvSpPr>
              <a:spLocks/>
            </p:cNvSpPr>
            <p:nvPr userDrawn="1"/>
          </p:nvSpPr>
          <p:spPr bwMode="auto">
            <a:xfrm>
              <a:off x="-792" y="1231431"/>
              <a:ext cx="8329794" cy="3501881"/>
            </a:xfrm>
            <a:custGeom>
              <a:avLst/>
              <a:gdLst>
                <a:gd name="T0" fmla="*/ 4928 w 5463"/>
                <a:gd name="T1" fmla="*/ 1476 h 2295"/>
                <a:gd name="T2" fmla="*/ 4153 w 5463"/>
                <a:gd name="T3" fmla="*/ 516 h 2295"/>
                <a:gd name="T4" fmla="*/ 2920 w 5463"/>
                <a:gd name="T5" fmla="*/ 618 h 2295"/>
                <a:gd name="T6" fmla="*/ 1879 w 5463"/>
                <a:gd name="T7" fmla="*/ 783 h 2295"/>
                <a:gd name="T8" fmla="*/ 1161 w 5463"/>
                <a:gd name="T9" fmla="*/ 506 h 2295"/>
                <a:gd name="T10" fmla="*/ 871 w 5463"/>
                <a:gd name="T11" fmla="*/ 372 h 2295"/>
                <a:gd name="T12" fmla="*/ 0 w 5463"/>
                <a:gd name="T13" fmla="*/ 0 h 2295"/>
                <a:gd name="T14" fmla="*/ 0 w 5463"/>
                <a:gd name="T15" fmla="*/ 7 h 2295"/>
                <a:gd name="T16" fmla="*/ 869 w 5463"/>
                <a:gd name="T17" fmla="*/ 378 h 2295"/>
                <a:gd name="T18" fmla="*/ 1158 w 5463"/>
                <a:gd name="T19" fmla="*/ 512 h 2295"/>
                <a:gd name="T20" fmla="*/ 1878 w 5463"/>
                <a:gd name="T21" fmla="*/ 789 h 2295"/>
                <a:gd name="T22" fmla="*/ 2922 w 5463"/>
                <a:gd name="T23" fmla="*/ 625 h 2295"/>
                <a:gd name="T24" fmla="*/ 4150 w 5463"/>
                <a:gd name="T25" fmla="*/ 523 h 2295"/>
                <a:gd name="T26" fmla="*/ 4921 w 5463"/>
                <a:gd name="T27" fmla="*/ 1479 h 2295"/>
                <a:gd name="T28" fmla="*/ 5454 w 5463"/>
                <a:gd name="T29" fmla="*/ 2295 h 2295"/>
                <a:gd name="T30" fmla="*/ 5463 w 5463"/>
                <a:gd name="T31" fmla="*/ 2294 h 2295"/>
                <a:gd name="T32" fmla="*/ 4928 w 5463"/>
                <a:gd name="T33" fmla="*/ 1476 h 2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463" h="2295">
                  <a:moveTo>
                    <a:pt x="4928" y="1476"/>
                  </a:moveTo>
                  <a:cubicBezTo>
                    <a:pt x="4747" y="1090"/>
                    <a:pt x="4561" y="690"/>
                    <a:pt x="4153" y="516"/>
                  </a:cubicBezTo>
                  <a:cubicBezTo>
                    <a:pt x="3748" y="344"/>
                    <a:pt x="3327" y="483"/>
                    <a:pt x="2920" y="618"/>
                  </a:cubicBezTo>
                  <a:cubicBezTo>
                    <a:pt x="2578" y="732"/>
                    <a:pt x="2224" y="849"/>
                    <a:pt x="1879" y="783"/>
                  </a:cubicBezTo>
                  <a:cubicBezTo>
                    <a:pt x="1639" y="737"/>
                    <a:pt x="1396" y="619"/>
                    <a:pt x="1161" y="506"/>
                  </a:cubicBezTo>
                  <a:cubicBezTo>
                    <a:pt x="1060" y="458"/>
                    <a:pt x="966" y="412"/>
                    <a:pt x="871" y="37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869" y="378"/>
                    <a:pt x="869" y="378"/>
                    <a:pt x="869" y="378"/>
                  </a:cubicBezTo>
                  <a:cubicBezTo>
                    <a:pt x="963" y="418"/>
                    <a:pt x="1057" y="464"/>
                    <a:pt x="1158" y="512"/>
                  </a:cubicBezTo>
                  <a:cubicBezTo>
                    <a:pt x="1393" y="626"/>
                    <a:pt x="1637" y="743"/>
                    <a:pt x="1878" y="789"/>
                  </a:cubicBezTo>
                  <a:cubicBezTo>
                    <a:pt x="2224" y="856"/>
                    <a:pt x="2579" y="738"/>
                    <a:pt x="2922" y="625"/>
                  </a:cubicBezTo>
                  <a:cubicBezTo>
                    <a:pt x="3328" y="490"/>
                    <a:pt x="3748" y="351"/>
                    <a:pt x="4150" y="523"/>
                  </a:cubicBezTo>
                  <a:cubicBezTo>
                    <a:pt x="4555" y="695"/>
                    <a:pt x="4741" y="1094"/>
                    <a:pt x="4921" y="1479"/>
                  </a:cubicBezTo>
                  <a:cubicBezTo>
                    <a:pt x="5062" y="1780"/>
                    <a:pt x="5206" y="2089"/>
                    <a:pt x="5454" y="2295"/>
                  </a:cubicBezTo>
                  <a:cubicBezTo>
                    <a:pt x="5463" y="2294"/>
                    <a:pt x="5463" y="2294"/>
                    <a:pt x="5463" y="2294"/>
                  </a:cubicBezTo>
                  <a:cubicBezTo>
                    <a:pt x="5213" y="2088"/>
                    <a:pt x="5068" y="1778"/>
                    <a:pt x="4928" y="1476"/>
                  </a:cubicBezTo>
                  <a:close/>
                </a:path>
              </a:pathLst>
            </a:custGeom>
            <a:solidFill>
              <a:srgbClr val="CBCC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0" name="Freeform 59"/>
            <p:cNvSpPr>
              <a:spLocks/>
            </p:cNvSpPr>
            <p:nvPr userDrawn="1"/>
          </p:nvSpPr>
          <p:spPr bwMode="auto">
            <a:xfrm>
              <a:off x="-792" y="1029400"/>
              <a:ext cx="8578325" cy="3662224"/>
            </a:xfrm>
            <a:custGeom>
              <a:avLst/>
              <a:gdLst>
                <a:gd name="T0" fmla="*/ 5621 w 5625"/>
                <a:gd name="T1" fmla="*/ 2395 h 2399"/>
                <a:gd name="T2" fmla="*/ 4960 w 5625"/>
                <a:gd name="T3" fmla="*/ 1494 h 2399"/>
                <a:gd name="T4" fmla="*/ 4169 w 5625"/>
                <a:gd name="T5" fmla="*/ 529 h 2399"/>
                <a:gd name="T6" fmla="*/ 2953 w 5625"/>
                <a:gd name="T7" fmla="*/ 636 h 2399"/>
                <a:gd name="T8" fmla="*/ 1925 w 5625"/>
                <a:gd name="T9" fmla="*/ 804 h 2399"/>
                <a:gd name="T10" fmla="*/ 1208 w 5625"/>
                <a:gd name="T11" fmla="*/ 527 h 2399"/>
                <a:gd name="T12" fmla="*/ 919 w 5625"/>
                <a:gd name="T13" fmla="*/ 393 h 2399"/>
                <a:gd name="T14" fmla="*/ 0 w 5625"/>
                <a:gd name="T15" fmla="*/ 0 h 2399"/>
                <a:gd name="T16" fmla="*/ 0 w 5625"/>
                <a:gd name="T17" fmla="*/ 8 h 2399"/>
                <a:gd name="T18" fmla="*/ 916 w 5625"/>
                <a:gd name="T19" fmla="*/ 399 h 2399"/>
                <a:gd name="T20" fmla="*/ 1205 w 5625"/>
                <a:gd name="T21" fmla="*/ 534 h 2399"/>
                <a:gd name="T22" fmla="*/ 1924 w 5625"/>
                <a:gd name="T23" fmla="*/ 811 h 2399"/>
                <a:gd name="T24" fmla="*/ 2956 w 5625"/>
                <a:gd name="T25" fmla="*/ 643 h 2399"/>
                <a:gd name="T26" fmla="*/ 4166 w 5625"/>
                <a:gd name="T27" fmla="*/ 536 h 2399"/>
                <a:gd name="T28" fmla="*/ 4953 w 5625"/>
                <a:gd name="T29" fmla="*/ 1497 h 2399"/>
                <a:gd name="T30" fmla="*/ 5614 w 5625"/>
                <a:gd name="T31" fmla="*/ 2399 h 2399"/>
                <a:gd name="T32" fmla="*/ 5625 w 5625"/>
                <a:gd name="T33" fmla="*/ 2397 h 2399"/>
                <a:gd name="T34" fmla="*/ 5621 w 5625"/>
                <a:gd name="T35" fmla="*/ 2395 h 2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625" h="2399">
                  <a:moveTo>
                    <a:pt x="5621" y="2395"/>
                  </a:moveTo>
                  <a:cubicBezTo>
                    <a:pt x="5297" y="2195"/>
                    <a:pt x="5125" y="1839"/>
                    <a:pt x="4960" y="1494"/>
                  </a:cubicBezTo>
                  <a:cubicBezTo>
                    <a:pt x="4773" y="1106"/>
                    <a:pt x="4580" y="704"/>
                    <a:pt x="4169" y="529"/>
                  </a:cubicBezTo>
                  <a:cubicBezTo>
                    <a:pt x="3768" y="359"/>
                    <a:pt x="3354" y="500"/>
                    <a:pt x="2953" y="636"/>
                  </a:cubicBezTo>
                  <a:cubicBezTo>
                    <a:pt x="2616" y="751"/>
                    <a:pt x="2267" y="869"/>
                    <a:pt x="1925" y="804"/>
                  </a:cubicBezTo>
                  <a:cubicBezTo>
                    <a:pt x="1686" y="758"/>
                    <a:pt x="1443" y="641"/>
                    <a:pt x="1208" y="527"/>
                  </a:cubicBezTo>
                  <a:cubicBezTo>
                    <a:pt x="1108" y="479"/>
                    <a:pt x="1013" y="433"/>
                    <a:pt x="919" y="39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16" y="399"/>
                    <a:pt x="916" y="399"/>
                    <a:pt x="916" y="399"/>
                  </a:cubicBezTo>
                  <a:cubicBezTo>
                    <a:pt x="1010" y="440"/>
                    <a:pt x="1105" y="485"/>
                    <a:pt x="1205" y="534"/>
                  </a:cubicBezTo>
                  <a:cubicBezTo>
                    <a:pt x="1440" y="647"/>
                    <a:pt x="1684" y="764"/>
                    <a:pt x="1924" y="811"/>
                  </a:cubicBezTo>
                  <a:cubicBezTo>
                    <a:pt x="2268" y="877"/>
                    <a:pt x="2617" y="758"/>
                    <a:pt x="2956" y="643"/>
                  </a:cubicBezTo>
                  <a:cubicBezTo>
                    <a:pt x="3355" y="507"/>
                    <a:pt x="3768" y="366"/>
                    <a:pt x="4166" y="536"/>
                  </a:cubicBezTo>
                  <a:cubicBezTo>
                    <a:pt x="4575" y="709"/>
                    <a:pt x="4767" y="1110"/>
                    <a:pt x="4953" y="1497"/>
                  </a:cubicBezTo>
                  <a:cubicBezTo>
                    <a:pt x="5119" y="1842"/>
                    <a:pt x="5291" y="2198"/>
                    <a:pt x="5614" y="2399"/>
                  </a:cubicBezTo>
                  <a:cubicBezTo>
                    <a:pt x="5625" y="2397"/>
                    <a:pt x="5625" y="2397"/>
                    <a:pt x="5625" y="2397"/>
                  </a:cubicBezTo>
                  <a:cubicBezTo>
                    <a:pt x="5623" y="2396"/>
                    <a:pt x="5622" y="2396"/>
                    <a:pt x="5621" y="2395"/>
                  </a:cubicBezTo>
                  <a:close/>
                </a:path>
              </a:pathLst>
            </a:custGeom>
            <a:solidFill>
              <a:srgbClr val="CACC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1" name="Freeform 60"/>
            <p:cNvSpPr>
              <a:spLocks/>
            </p:cNvSpPr>
            <p:nvPr userDrawn="1"/>
          </p:nvSpPr>
          <p:spPr bwMode="auto">
            <a:xfrm>
              <a:off x="-792" y="830575"/>
              <a:ext cx="8862131" cy="3809739"/>
            </a:xfrm>
            <a:custGeom>
              <a:avLst/>
              <a:gdLst>
                <a:gd name="T0" fmla="*/ 5668 w 5812"/>
                <a:gd name="T1" fmla="*/ 2414 h 2497"/>
                <a:gd name="T2" fmla="*/ 4999 w 5812"/>
                <a:gd name="T3" fmla="*/ 1506 h 2497"/>
                <a:gd name="T4" fmla="*/ 4196 w 5812"/>
                <a:gd name="T5" fmla="*/ 531 h 2497"/>
                <a:gd name="T6" fmla="*/ 2990 w 5812"/>
                <a:gd name="T7" fmla="*/ 647 h 2497"/>
                <a:gd name="T8" fmla="*/ 1973 w 5812"/>
                <a:gd name="T9" fmla="*/ 823 h 2497"/>
                <a:gd name="T10" fmla="*/ 1254 w 5812"/>
                <a:gd name="T11" fmla="*/ 547 h 2497"/>
                <a:gd name="T12" fmla="*/ 966 w 5812"/>
                <a:gd name="T13" fmla="*/ 413 h 2497"/>
                <a:gd name="T14" fmla="*/ 0 w 5812"/>
                <a:gd name="T15" fmla="*/ 0 h 2497"/>
                <a:gd name="T16" fmla="*/ 0 w 5812"/>
                <a:gd name="T17" fmla="*/ 8 h 2497"/>
                <a:gd name="T18" fmla="*/ 963 w 5812"/>
                <a:gd name="T19" fmla="*/ 420 h 2497"/>
                <a:gd name="T20" fmla="*/ 1251 w 5812"/>
                <a:gd name="T21" fmla="*/ 554 h 2497"/>
                <a:gd name="T22" fmla="*/ 1971 w 5812"/>
                <a:gd name="T23" fmla="*/ 830 h 2497"/>
                <a:gd name="T24" fmla="*/ 2993 w 5812"/>
                <a:gd name="T25" fmla="*/ 653 h 2497"/>
                <a:gd name="T26" fmla="*/ 4193 w 5812"/>
                <a:gd name="T27" fmla="*/ 538 h 2497"/>
                <a:gd name="T28" fmla="*/ 4993 w 5812"/>
                <a:gd name="T29" fmla="*/ 1509 h 2497"/>
                <a:gd name="T30" fmla="*/ 5664 w 5812"/>
                <a:gd name="T31" fmla="*/ 2420 h 2497"/>
                <a:gd name="T32" fmla="*/ 5801 w 5812"/>
                <a:gd name="T33" fmla="*/ 2497 h 2497"/>
                <a:gd name="T34" fmla="*/ 5812 w 5812"/>
                <a:gd name="T35" fmla="*/ 2495 h 2497"/>
                <a:gd name="T36" fmla="*/ 5668 w 5812"/>
                <a:gd name="T37" fmla="*/ 2414 h 2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12" h="2497">
                  <a:moveTo>
                    <a:pt x="5668" y="2414"/>
                  </a:moveTo>
                  <a:cubicBezTo>
                    <a:pt x="5344" y="2212"/>
                    <a:pt x="5168" y="1853"/>
                    <a:pt x="4999" y="1506"/>
                  </a:cubicBezTo>
                  <a:cubicBezTo>
                    <a:pt x="4808" y="1113"/>
                    <a:pt x="4610" y="707"/>
                    <a:pt x="4196" y="531"/>
                  </a:cubicBezTo>
                  <a:cubicBezTo>
                    <a:pt x="3797" y="362"/>
                    <a:pt x="3387" y="506"/>
                    <a:pt x="2990" y="647"/>
                  </a:cubicBezTo>
                  <a:cubicBezTo>
                    <a:pt x="2657" y="764"/>
                    <a:pt x="2312" y="886"/>
                    <a:pt x="1973" y="823"/>
                  </a:cubicBezTo>
                  <a:cubicBezTo>
                    <a:pt x="1733" y="778"/>
                    <a:pt x="1490" y="661"/>
                    <a:pt x="1254" y="547"/>
                  </a:cubicBezTo>
                  <a:cubicBezTo>
                    <a:pt x="1154" y="499"/>
                    <a:pt x="1060" y="453"/>
                    <a:pt x="966" y="4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63" y="420"/>
                    <a:pt x="963" y="420"/>
                    <a:pt x="963" y="420"/>
                  </a:cubicBezTo>
                  <a:cubicBezTo>
                    <a:pt x="1057" y="460"/>
                    <a:pt x="1151" y="505"/>
                    <a:pt x="1251" y="554"/>
                  </a:cubicBezTo>
                  <a:cubicBezTo>
                    <a:pt x="1487" y="667"/>
                    <a:pt x="1731" y="785"/>
                    <a:pt x="1971" y="830"/>
                  </a:cubicBezTo>
                  <a:cubicBezTo>
                    <a:pt x="2312" y="894"/>
                    <a:pt x="2658" y="771"/>
                    <a:pt x="2993" y="653"/>
                  </a:cubicBezTo>
                  <a:cubicBezTo>
                    <a:pt x="3388" y="514"/>
                    <a:pt x="3797" y="369"/>
                    <a:pt x="4193" y="538"/>
                  </a:cubicBezTo>
                  <a:cubicBezTo>
                    <a:pt x="4605" y="713"/>
                    <a:pt x="4802" y="1117"/>
                    <a:pt x="4993" y="1509"/>
                  </a:cubicBezTo>
                  <a:cubicBezTo>
                    <a:pt x="5162" y="1857"/>
                    <a:pt x="5338" y="2217"/>
                    <a:pt x="5664" y="2420"/>
                  </a:cubicBezTo>
                  <a:cubicBezTo>
                    <a:pt x="5708" y="2447"/>
                    <a:pt x="5754" y="2473"/>
                    <a:pt x="5801" y="2497"/>
                  </a:cubicBezTo>
                  <a:cubicBezTo>
                    <a:pt x="5812" y="2495"/>
                    <a:pt x="5812" y="2495"/>
                    <a:pt x="5812" y="2495"/>
                  </a:cubicBezTo>
                  <a:cubicBezTo>
                    <a:pt x="5763" y="2470"/>
                    <a:pt x="5714" y="2443"/>
                    <a:pt x="5668" y="2414"/>
                  </a:cubicBezTo>
                  <a:close/>
                </a:path>
              </a:pathLst>
            </a:custGeom>
            <a:solidFill>
              <a:srgbClr val="CACB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2" name="Freeform 61"/>
            <p:cNvSpPr>
              <a:spLocks/>
            </p:cNvSpPr>
            <p:nvPr userDrawn="1"/>
          </p:nvSpPr>
          <p:spPr bwMode="auto">
            <a:xfrm>
              <a:off x="-792" y="630146"/>
              <a:ext cx="9171592" cy="3957254"/>
            </a:xfrm>
            <a:custGeom>
              <a:avLst/>
              <a:gdLst>
                <a:gd name="T0" fmla="*/ 5717 w 6015"/>
                <a:gd name="T1" fmla="*/ 2433 h 2593"/>
                <a:gd name="T2" fmla="*/ 5048 w 6015"/>
                <a:gd name="T3" fmla="*/ 1512 h 2593"/>
                <a:gd name="T4" fmla="*/ 4236 w 6015"/>
                <a:gd name="T5" fmla="*/ 521 h 2593"/>
                <a:gd name="T6" fmla="*/ 3031 w 6015"/>
                <a:gd name="T7" fmla="*/ 650 h 2593"/>
                <a:gd name="T8" fmla="*/ 2021 w 6015"/>
                <a:gd name="T9" fmla="*/ 841 h 2593"/>
                <a:gd name="T10" fmla="*/ 1299 w 6015"/>
                <a:gd name="T11" fmla="*/ 566 h 2593"/>
                <a:gd name="T12" fmla="*/ 1014 w 6015"/>
                <a:gd name="T13" fmla="*/ 433 h 2593"/>
                <a:gd name="T14" fmla="*/ 0 w 6015"/>
                <a:gd name="T15" fmla="*/ 0 h 2593"/>
                <a:gd name="T16" fmla="*/ 0 w 6015"/>
                <a:gd name="T17" fmla="*/ 8 h 2593"/>
                <a:gd name="T18" fmla="*/ 1011 w 6015"/>
                <a:gd name="T19" fmla="*/ 440 h 2593"/>
                <a:gd name="T20" fmla="*/ 1296 w 6015"/>
                <a:gd name="T21" fmla="*/ 573 h 2593"/>
                <a:gd name="T22" fmla="*/ 2020 w 6015"/>
                <a:gd name="T23" fmla="*/ 848 h 2593"/>
                <a:gd name="T24" fmla="*/ 3034 w 6015"/>
                <a:gd name="T25" fmla="*/ 657 h 2593"/>
                <a:gd name="T26" fmla="*/ 4233 w 6015"/>
                <a:gd name="T27" fmla="*/ 528 h 2593"/>
                <a:gd name="T28" fmla="*/ 5041 w 6015"/>
                <a:gd name="T29" fmla="*/ 1515 h 2593"/>
                <a:gd name="T30" fmla="*/ 5713 w 6015"/>
                <a:gd name="T31" fmla="*/ 2439 h 2593"/>
                <a:gd name="T32" fmla="*/ 6002 w 6015"/>
                <a:gd name="T33" fmla="*/ 2593 h 2593"/>
                <a:gd name="T34" fmla="*/ 6015 w 6015"/>
                <a:gd name="T35" fmla="*/ 2590 h 2593"/>
                <a:gd name="T36" fmla="*/ 5717 w 6015"/>
                <a:gd name="T37" fmla="*/ 2433 h 25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015" h="2593">
                  <a:moveTo>
                    <a:pt x="5717" y="2433"/>
                  </a:moveTo>
                  <a:cubicBezTo>
                    <a:pt x="5394" y="2227"/>
                    <a:pt x="5218" y="1864"/>
                    <a:pt x="5048" y="1512"/>
                  </a:cubicBezTo>
                  <a:cubicBezTo>
                    <a:pt x="4854" y="1112"/>
                    <a:pt x="4654" y="698"/>
                    <a:pt x="4236" y="521"/>
                  </a:cubicBezTo>
                  <a:cubicBezTo>
                    <a:pt x="3838" y="352"/>
                    <a:pt x="3428" y="503"/>
                    <a:pt x="3031" y="650"/>
                  </a:cubicBezTo>
                  <a:cubicBezTo>
                    <a:pt x="2700" y="773"/>
                    <a:pt x="2358" y="900"/>
                    <a:pt x="2021" y="841"/>
                  </a:cubicBezTo>
                  <a:cubicBezTo>
                    <a:pt x="1781" y="799"/>
                    <a:pt x="1536" y="681"/>
                    <a:pt x="1299" y="566"/>
                  </a:cubicBezTo>
                  <a:cubicBezTo>
                    <a:pt x="1200" y="518"/>
                    <a:pt x="1106" y="473"/>
                    <a:pt x="1014" y="43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011" y="440"/>
                    <a:pt x="1011" y="440"/>
                    <a:pt x="1011" y="440"/>
                  </a:cubicBezTo>
                  <a:cubicBezTo>
                    <a:pt x="1103" y="479"/>
                    <a:pt x="1197" y="525"/>
                    <a:pt x="1296" y="573"/>
                  </a:cubicBezTo>
                  <a:cubicBezTo>
                    <a:pt x="1533" y="687"/>
                    <a:pt x="1778" y="806"/>
                    <a:pt x="2020" y="848"/>
                  </a:cubicBezTo>
                  <a:cubicBezTo>
                    <a:pt x="2358" y="907"/>
                    <a:pt x="2702" y="780"/>
                    <a:pt x="3034" y="657"/>
                  </a:cubicBezTo>
                  <a:cubicBezTo>
                    <a:pt x="3429" y="511"/>
                    <a:pt x="3838" y="359"/>
                    <a:pt x="4233" y="528"/>
                  </a:cubicBezTo>
                  <a:cubicBezTo>
                    <a:pt x="4648" y="704"/>
                    <a:pt x="4848" y="1117"/>
                    <a:pt x="5041" y="1515"/>
                  </a:cubicBezTo>
                  <a:cubicBezTo>
                    <a:pt x="5212" y="1868"/>
                    <a:pt x="5388" y="2232"/>
                    <a:pt x="5713" y="2439"/>
                  </a:cubicBezTo>
                  <a:cubicBezTo>
                    <a:pt x="5803" y="2497"/>
                    <a:pt x="5900" y="2547"/>
                    <a:pt x="6002" y="2593"/>
                  </a:cubicBezTo>
                  <a:cubicBezTo>
                    <a:pt x="6015" y="2590"/>
                    <a:pt x="6015" y="2590"/>
                    <a:pt x="6015" y="2590"/>
                  </a:cubicBezTo>
                  <a:cubicBezTo>
                    <a:pt x="5910" y="2543"/>
                    <a:pt x="5809" y="2492"/>
                    <a:pt x="5717" y="2433"/>
                  </a:cubicBezTo>
                  <a:close/>
                </a:path>
              </a:pathLst>
            </a:custGeom>
            <a:solidFill>
              <a:srgbClr val="C9CB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3" name="Freeform 62"/>
            <p:cNvSpPr>
              <a:spLocks/>
            </p:cNvSpPr>
            <p:nvPr userDrawn="1"/>
          </p:nvSpPr>
          <p:spPr bwMode="auto">
            <a:xfrm>
              <a:off x="-792" y="429718"/>
              <a:ext cx="9501898" cy="4099958"/>
            </a:xfrm>
            <a:custGeom>
              <a:avLst/>
              <a:gdLst>
                <a:gd name="T0" fmla="*/ 5766 w 6231"/>
                <a:gd name="T1" fmla="*/ 2451 h 2686"/>
                <a:gd name="T2" fmla="*/ 5137 w 6231"/>
                <a:gd name="T3" fmla="*/ 1595 h 2686"/>
                <a:gd name="T4" fmla="*/ 5049 w 6231"/>
                <a:gd name="T5" fmla="*/ 1426 h 2686"/>
                <a:gd name="T6" fmla="*/ 5007 w 6231"/>
                <a:gd name="T7" fmla="*/ 1347 h 2686"/>
                <a:gd name="T8" fmla="*/ 4291 w 6231"/>
                <a:gd name="T9" fmla="*/ 497 h 2686"/>
                <a:gd name="T10" fmla="*/ 3257 w 6231"/>
                <a:gd name="T11" fmla="*/ 595 h 2686"/>
                <a:gd name="T12" fmla="*/ 3225 w 6231"/>
                <a:gd name="T13" fmla="*/ 606 h 2686"/>
                <a:gd name="T14" fmla="*/ 3032 w 6231"/>
                <a:gd name="T15" fmla="*/ 674 h 2686"/>
                <a:gd name="T16" fmla="*/ 2071 w 6231"/>
                <a:gd name="T17" fmla="*/ 858 h 2686"/>
                <a:gd name="T18" fmla="*/ 1341 w 6231"/>
                <a:gd name="T19" fmla="*/ 584 h 2686"/>
                <a:gd name="T20" fmla="*/ 1061 w 6231"/>
                <a:gd name="T21" fmla="*/ 453 h 2686"/>
                <a:gd name="T22" fmla="*/ 0 w 6231"/>
                <a:gd name="T23" fmla="*/ 0 h 2686"/>
                <a:gd name="T24" fmla="*/ 0 w 6231"/>
                <a:gd name="T25" fmla="*/ 8 h 2686"/>
                <a:gd name="T26" fmla="*/ 1058 w 6231"/>
                <a:gd name="T27" fmla="*/ 460 h 2686"/>
                <a:gd name="T28" fmla="*/ 1338 w 6231"/>
                <a:gd name="T29" fmla="*/ 591 h 2686"/>
                <a:gd name="T30" fmla="*/ 2070 w 6231"/>
                <a:gd name="T31" fmla="*/ 865 h 2686"/>
                <a:gd name="T32" fmla="*/ 3035 w 6231"/>
                <a:gd name="T33" fmla="*/ 681 h 2686"/>
                <a:gd name="T34" fmla="*/ 3228 w 6231"/>
                <a:gd name="T35" fmla="*/ 613 h 2686"/>
                <a:gd name="T36" fmla="*/ 3259 w 6231"/>
                <a:gd name="T37" fmla="*/ 602 h 2686"/>
                <a:gd name="T38" fmla="*/ 4288 w 6231"/>
                <a:gd name="T39" fmla="*/ 504 h 2686"/>
                <a:gd name="T40" fmla="*/ 5000 w 6231"/>
                <a:gd name="T41" fmla="*/ 1350 h 2686"/>
                <a:gd name="T42" fmla="*/ 5042 w 6231"/>
                <a:gd name="T43" fmla="*/ 1430 h 2686"/>
                <a:gd name="T44" fmla="*/ 5130 w 6231"/>
                <a:gd name="T45" fmla="*/ 1598 h 2686"/>
                <a:gd name="T46" fmla="*/ 5762 w 6231"/>
                <a:gd name="T47" fmla="*/ 2457 h 2686"/>
                <a:gd name="T48" fmla="*/ 6217 w 6231"/>
                <a:gd name="T49" fmla="*/ 2686 h 2686"/>
                <a:gd name="T50" fmla="*/ 6231 w 6231"/>
                <a:gd name="T51" fmla="*/ 2683 h 2686"/>
                <a:gd name="T52" fmla="*/ 5766 w 6231"/>
                <a:gd name="T53" fmla="*/ 2451 h 2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231" h="2686">
                  <a:moveTo>
                    <a:pt x="5766" y="2451"/>
                  </a:moveTo>
                  <a:cubicBezTo>
                    <a:pt x="5475" y="2257"/>
                    <a:pt x="5295" y="1905"/>
                    <a:pt x="5137" y="1595"/>
                  </a:cubicBezTo>
                  <a:cubicBezTo>
                    <a:pt x="5106" y="1536"/>
                    <a:pt x="5078" y="1481"/>
                    <a:pt x="5049" y="1426"/>
                  </a:cubicBezTo>
                  <a:cubicBezTo>
                    <a:pt x="5035" y="1400"/>
                    <a:pt x="5021" y="1374"/>
                    <a:pt x="5007" y="1347"/>
                  </a:cubicBezTo>
                  <a:cubicBezTo>
                    <a:pt x="4833" y="1017"/>
                    <a:pt x="4636" y="643"/>
                    <a:pt x="4291" y="497"/>
                  </a:cubicBezTo>
                  <a:cubicBezTo>
                    <a:pt x="3960" y="356"/>
                    <a:pt x="3587" y="483"/>
                    <a:pt x="3257" y="595"/>
                  </a:cubicBezTo>
                  <a:cubicBezTo>
                    <a:pt x="3225" y="606"/>
                    <a:pt x="3225" y="606"/>
                    <a:pt x="3225" y="606"/>
                  </a:cubicBezTo>
                  <a:cubicBezTo>
                    <a:pt x="3162" y="627"/>
                    <a:pt x="3099" y="650"/>
                    <a:pt x="3032" y="674"/>
                  </a:cubicBezTo>
                  <a:cubicBezTo>
                    <a:pt x="2717" y="789"/>
                    <a:pt x="2391" y="907"/>
                    <a:pt x="2071" y="858"/>
                  </a:cubicBezTo>
                  <a:cubicBezTo>
                    <a:pt x="1829" y="821"/>
                    <a:pt x="1581" y="700"/>
                    <a:pt x="1341" y="584"/>
                  </a:cubicBezTo>
                  <a:cubicBezTo>
                    <a:pt x="1244" y="537"/>
                    <a:pt x="1152" y="492"/>
                    <a:pt x="1061" y="45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058" y="460"/>
                    <a:pt x="1058" y="460"/>
                    <a:pt x="1058" y="460"/>
                  </a:cubicBezTo>
                  <a:cubicBezTo>
                    <a:pt x="1149" y="499"/>
                    <a:pt x="1241" y="544"/>
                    <a:pt x="1338" y="591"/>
                  </a:cubicBezTo>
                  <a:cubicBezTo>
                    <a:pt x="1578" y="707"/>
                    <a:pt x="1826" y="828"/>
                    <a:pt x="2070" y="865"/>
                  </a:cubicBezTo>
                  <a:cubicBezTo>
                    <a:pt x="2392" y="915"/>
                    <a:pt x="2719" y="796"/>
                    <a:pt x="3035" y="681"/>
                  </a:cubicBezTo>
                  <a:cubicBezTo>
                    <a:pt x="3102" y="657"/>
                    <a:pt x="3165" y="634"/>
                    <a:pt x="3228" y="613"/>
                  </a:cubicBezTo>
                  <a:cubicBezTo>
                    <a:pt x="3259" y="602"/>
                    <a:pt x="3259" y="602"/>
                    <a:pt x="3259" y="602"/>
                  </a:cubicBezTo>
                  <a:cubicBezTo>
                    <a:pt x="3588" y="490"/>
                    <a:pt x="3960" y="364"/>
                    <a:pt x="4288" y="504"/>
                  </a:cubicBezTo>
                  <a:cubicBezTo>
                    <a:pt x="4631" y="649"/>
                    <a:pt x="4827" y="1022"/>
                    <a:pt x="5000" y="1350"/>
                  </a:cubicBezTo>
                  <a:cubicBezTo>
                    <a:pt x="5015" y="1377"/>
                    <a:pt x="5029" y="1404"/>
                    <a:pt x="5042" y="1430"/>
                  </a:cubicBezTo>
                  <a:cubicBezTo>
                    <a:pt x="5071" y="1484"/>
                    <a:pt x="5100" y="1540"/>
                    <a:pt x="5130" y="1598"/>
                  </a:cubicBezTo>
                  <a:cubicBezTo>
                    <a:pt x="5289" y="1909"/>
                    <a:pt x="5470" y="2262"/>
                    <a:pt x="5762" y="2457"/>
                  </a:cubicBezTo>
                  <a:cubicBezTo>
                    <a:pt x="5899" y="2548"/>
                    <a:pt x="6056" y="2620"/>
                    <a:pt x="6217" y="2686"/>
                  </a:cubicBezTo>
                  <a:cubicBezTo>
                    <a:pt x="6231" y="2683"/>
                    <a:pt x="6231" y="2683"/>
                    <a:pt x="6231" y="2683"/>
                  </a:cubicBezTo>
                  <a:cubicBezTo>
                    <a:pt x="6066" y="2617"/>
                    <a:pt x="5905" y="2544"/>
                    <a:pt x="5766" y="2451"/>
                  </a:cubicBezTo>
                  <a:close/>
                </a:path>
              </a:pathLst>
            </a:custGeom>
            <a:solidFill>
              <a:srgbClr val="C9CA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4" name="Freeform 63"/>
            <p:cNvSpPr>
              <a:spLocks/>
            </p:cNvSpPr>
            <p:nvPr userDrawn="1"/>
          </p:nvSpPr>
          <p:spPr bwMode="auto">
            <a:xfrm>
              <a:off x="-792" y="230893"/>
              <a:ext cx="9849841" cy="4237854"/>
            </a:xfrm>
            <a:custGeom>
              <a:avLst/>
              <a:gdLst>
                <a:gd name="T0" fmla="*/ 5815 w 6459"/>
                <a:gd name="T1" fmla="*/ 2469 h 2777"/>
                <a:gd name="T2" fmla="*/ 5184 w 6459"/>
                <a:gd name="T3" fmla="*/ 1614 h 2777"/>
                <a:gd name="T4" fmla="*/ 5096 w 6459"/>
                <a:gd name="T5" fmla="*/ 1447 h 2777"/>
                <a:gd name="T6" fmla="*/ 5050 w 6459"/>
                <a:gd name="T7" fmla="*/ 1361 h 2777"/>
                <a:gd name="T8" fmla="*/ 4338 w 6459"/>
                <a:gd name="T9" fmla="*/ 518 h 2777"/>
                <a:gd name="T10" fmla="*/ 3311 w 6459"/>
                <a:gd name="T11" fmla="*/ 614 h 2777"/>
                <a:gd name="T12" fmla="*/ 3272 w 6459"/>
                <a:gd name="T13" fmla="*/ 627 h 2777"/>
                <a:gd name="T14" fmla="*/ 3080 w 6459"/>
                <a:gd name="T15" fmla="*/ 694 h 2777"/>
                <a:gd name="T16" fmla="*/ 2120 w 6459"/>
                <a:gd name="T17" fmla="*/ 876 h 2777"/>
                <a:gd name="T18" fmla="*/ 1385 w 6459"/>
                <a:gd name="T19" fmla="*/ 603 h 2777"/>
                <a:gd name="T20" fmla="*/ 1108 w 6459"/>
                <a:gd name="T21" fmla="*/ 473 h 2777"/>
                <a:gd name="T22" fmla="*/ 0 w 6459"/>
                <a:gd name="T23" fmla="*/ 0 h 2777"/>
                <a:gd name="T24" fmla="*/ 0 w 6459"/>
                <a:gd name="T25" fmla="*/ 8 h 2777"/>
                <a:gd name="T26" fmla="*/ 1105 w 6459"/>
                <a:gd name="T27" fmla="*/ 480 h 2777"/>
                <a:gd name="T28" fmla="*/ 1382 w 6459"/>
                <a:gd name="T29" fmla="*/ 610 h 2777"/>
                <a:gd name="T30" fmla="*/ 2119 w 6459"/>
                <a:gd name="T31" fmla="*/ 883 h 2777"/>
                <a:gd name="T32" fmla="*/ 3082 w 6459"/>
                <a:gd name="T33" fmla="*/ 701 h 2777"/>
                <a:gd name="T34" fmla="*/ 3274 w 6459"/>
                <a:gd name="T35" fmla="*/ 634 h 2777"/>
                <a:gd name="T36" fmla="*/ 3313 w 6459"/>
                <a:gd name="T37" fmla="*/ 621 h 2777"/>
                <a:gd name="T38" fmla="*/ 4335 w 6459"/>
                <a:gd name="T39" fmla="*/ 525 h 2777"/>
                <a:gd name="T40" fmla="*/ 5043 w 6459"/>
                <a:gd name="T41" fmla="*/ 1365 h 2777"/>
                <a:gd name="T42" fmla="*/ 5089 w 6459"/>
                <a:gd name="T43" fmla="*/ 1451 h 2777"/>
                <a:gd name="T44" fmla="*/ 5177 w 6459"/>
                <a:gd name="T45" fmla="*/ 1618 h 2777"/>
                <a:gd name="T46" fmla="*/ 5810 w 6459"/>
                <a:gd name="T47" fmla="*/ 2475 h 2777"/>
                <a:gd name="T48" fmla="*/ 6445 w 6459"/>
                <a:gd name="T49" fmla="*/ 2777 h 2777"/>
                <a:gd name="T50" fmla="*/ 6459 w 6459"/>
                <a:gd name="T51" fmla="*/ 2774 h 2777"/>
                <a:gd name="T52" fmla="*/ 5815 w 6459"/>
                <a:gd name="T53" fmla="*/ 2469 h 2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459" h="2777">
                  <a:moveTo>
                    <a:pt x="5815" y="2469"/>
                  </a:moveTo>
                  <a:cubicBezTo>
                    <a:pt x="5526" y="2272"/>
                    <a:pt x="5344" y="1923"/>
                    <a:pt x="5184" y="1614"/>
                  </a:cubicBezTo>
                  <a:cubicBezTo>
                    <a:pt x="5154" y="1556"/>
                    <a:pt x="5125" y="1501"/>
                    <a:pt x="5096" y="1447"/>
                  </a:cubicBezTo>
                  <a:cubicBezTo>
                    <a:pt x="5081" y="1419"/>
                    <a:pt x="5066" y="1390"/>
                    <a:pt x="5050" y="1361"/>
                  </a:cubicBezTo>
                  <a:cubicBezTo>
                    <a:pt x="4884" y="1050"/>
                    <a:pt x="4677" y="662"/>
                    <a:pt x="4338" y="518"/>
                  </a:cubicBezTo>
                  <a:cubicBezTo>
                    <a:pt x="4013" y="379"/>
                    <a:pt x="3623" y="509"/>
                    <a:pt x="3311" y="614"/>
                  </a:cubicBezTo>
                  <a:cubicBezTo>
                    <a:pt x="3272" y="627"/>
                    <a:pt x="3272" y="627"/>
                    <a:pt x="3272" y="627"/>
                  </a:cubicBezTo>
                  <a:cubicBezTo>
                    <a:pt x="3209" y="648"/>
                    <a:pt x="3146" y="670"/>
                    <a:pt x="3080" y="694"/>
                  </a:cubicBezTo>
                  <a:cubicBezTo>
                    <a:pt x="2765" y="806"/>
                    <a:pt x="2440" y="922"/>
                    <a:pt x="2120" y="876"/>
                  </a:cubicBezTo>
                  <a:cubicBezTo>
                    <a:pt x="1876" y="841"/>
                    <a:pt x="1626" y="720"/>
                    <a:pt x="1385" y="603"/>
                  </a:cubicBezTo>
                  <a:cubicBezTo>
                    <a:pt x="1289" y="556"/>
                    <a:pt x="1198" y="512"/>
                    <a:pt x="1108" y="47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105" y="480"/>
                    <a:pt x="1105" y="480"/>
                    <a:pt x="1105" y="480"/>
                  </a:cubicBezTo>
                  <a:cubicBezTo>
                    <a:pt x="1195" y="519"/>
                    <a:pt x="1286" y="563"/>
                    <a:pt x="1382" y="610"/>
                  </a:cubicBezTo>
                  <a:cubicBezTo>
                    <a:pt x="1624" y="727"/>
                    <a:pt x="1873" y="848"/>
                    <a:pt x="2119" y="883"/>
                  </a:cubicBezTo>
                  <a:cubicBezTo>
                    <a:pt x="2441" y="930"/>
                    <a:pt x="2767" y="813"/>
                    <a:pt x="3082" y="701"/>
                  </a:cubicBezTo>
                  <a:cubicBezTo>
                    <a:pt x="3149" y="677"/>
                    <a:pt x="3212" y="655"/>
                    <a:pt x="3274" y="634"/>
                  </a:cubicBezTo>
                  <a:cubicBezTo>
                    <a:pt x="3313" y="621"/>
                    <a:pt x="3313" y="621"/>
                    <a:pt x="3313" y="621"/>
                  </a:cubicBezTo>
                  <a:cubicBezTo>
                    <a:pt x="3625" y="517"/>
                    <a:pt x="4012" y="388"/>
                    <a:pt x="4335" y="525"/>
                  </a:cubicBezTo>
                  <a:cubicBezTo>
                    <a:pt x="4672" y="668"/>
                    <a:pt x="4878" y="1054"/>
                    <a:pt x="5043" y="1365"/>
                  </a:cubicBezTo>
                  <a:cubicBezTo>
                    <a:pt x="5059" y="1394"/>
                    <a:pt x="5074" y="1423"/>
                    <a:pt x="5089" y="1451"/>
                  </a:cubicBezTo>
                  <a:cubicBezTo>
                    <a:pt x="5119" y="1505"/>
                    <a:pt x="5147" y="1560"/>
                    <a:pt x="5177" y="1618"/>
                  </a:cubicBezTo>
                  <a:cubicBezTo>
                    <a:pt x="5338" y="1927"/>
                    <a:pt x="5520" y="2277"/>
                    <a:pt x="5810" y="2475"/>
                  </a:cubicBezTo>
                  <a:cubicBezTo>
                    <a:pt x="5996" y="2602"/>
                    <a:pt x="6221" y="2692"/>
                    <a:pt x="6445" y="2777"/>
                  </a:cubicBezTo>
                  <a:cubicBezTo>
                    <a:pt x="6459" y="2774"/>
                    <a:pt x="6459" y="2774"/>
                    <a:pt x="6459" y="2774"/>
                  </a:cubicBezTo>
                  <a:cubicBezTo>
                    <a:pt x="6233" y="2688"/>
                    <a:pt x="6002" y="2597"/>
                    <a:pt x="5815" y="2469"/>
                  </a:cubicBezTo>
                  <a:close/>
                </a:path>
              </a:pathLst>
            </a:custGeom>
            <a:solidFill>
              <a:srgbClr val="C8CA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4079776" y="0"/>
            <a:ext cx="8112224" cy="6861600"/>
          </a:xfrm>
          <a:custGeom>
            <a:avLst/>
            <a:gdLst>
              <a:gd name="connsiteX0" fmla="*/ 0 w 6120000"/>
              <a:gd name="connsiteY0" fmla="*/ 6855351 h 6861600"/>
              <a:gd name="connsiteX1" fmla="*/ 6120000 w 6120000"/>
              <a:gd name="connsiteY1" fmla="*/ 6856413 h 6861600"/>
              <a:gd name="connsiteX2" fmla="*/ 6120000 w 6120000"/>
              <a:gd name="connsiteY2" fmla="*/ 6861600 h 6861600"/>
              <a:gd name="connsiteX3" fmla="*/ 0 w 6120000"/>
              <a:gd name="connsiteY3" fmla="*/ 6861600 h 6861600"/>
              <a:gd name="connsiteX4" fmla="*/ 0 w 6120000"/>
              <a:gd name="connsiteY4" fmla="*/ 0 h 6861600"/>
              <a:gd name="connsiteX5" fmla="*/ 6120000 w 6120000"/>
              <a:gd name="connsiteY5" fmla="*/ 0 h 6861600"/>
              <a:gd name="connsiteX6" fmla="*/ 6120000 w 6120000"/>
              <a:gd name="connsiteY6" fmla="*/ 6856413 h 6861600"/>
              <a:gd name="connsiteX7" fmla="*/ 30350 w 6120000"/>
              <a:gd name="connsiteY7" fmla="*/ 5778500 h 6861600"/>
              <a:gd name="connsiteX8" fmla="*/ 0 w 6120000"/>
              <a:gd name="connsiteY8" fmla="*/ 5783848 h 6861600"/>
              <a:gd name="connsiteX0" fmla="*/ 0 w 6120000"/>
              <a:gd name="connsiteY0" fmla="*/ 6855351 h 6861600"/>
              <a:gd name="connsiteX1" fmla="*/ 6120000 w 6120000"/>
              <a:gd name="connsiteY1" fmla="*/ 6856413 h 6861600"/>
              <a:gd name="connsiteX2" fmla="*/ 6120000 w 6120000"/>
              <a:gd name="connsiteY2" fmla="*/ 6861600 h 6861600"/>
              <a:gd name="connsiteX3" fmla="*/ 0 w 6120000"/>
              <a:gd name="connsiteY3" fmla="*/ 6861600 h 6861600"/>
              <a:gd name="connsiteX4" fmla="*/ 0 w 6120000"/>
              <a:gd name="connsiteY4" fmla="*/ 6855351 h 6861600"/>
              <a:gd name="connsiteX5" fmla="*/ 0 w 6120000"/>
              <a:gd name="connsiteY5" fmla="*/ 0 h 6861600"/>
              <a:gd name="connsiteX6" fmla="*/ 6120000 w 6120000"/>
              <a:gd name="connsiteY6" fmla="*/ 0 h 6861600"/>
              <a:gd name="connsiteX7" fmla="*/ 6120000 w 6120000"/>
              <a:gd name="connsiteY7" fmla="*/ 6856413 h 6861600"/>
              <a:gd name="connsiteX8" fmla="*/ 30350 w 6120000"/>
              <a:gd name="connsiteY8" fmla="*/ 5778500 h 6861600"/>
              <a:gd name="connsiteX9" fmla="*/ 0 w 6120000"/>
              <a:gd name="connsiteY9" fmla="*/ 5461580 h 6861600"/>
              <a:gd name="connsiteX10" fmla="*/ 0 w 6120000"/>
              <a:gd name="connsiteY10" fmla="*/ 0 h 6861600"/>
              <a:gd name="connsiteX0" fmla="*/ 0 w 6120000"/>
              <a:gd name="connsiteY0" fmla="*/ 6855351 h 6861600"/>
              <a:gd name="connsiteX1" fmla="*/ 6120000 w 6120000"/>
              <a:gd name="connsiteY1" fmla="*/ 6856413 h 6861600"/>
              <a:gd name="connsiteX2" fmla="*/ 6120000 w 6120000"/>
              <a:gd name="connsiteY2" fmla="*/ 6861600 h 6861600"/>
              <a:gd name="connsiteX3" fmla="*/ 0 w 6120000"/>
              <a:gd name="connsiteY3" fmla="*/ 6861600 h 6861600"/>
              <a:gd name="connsiteX4" fmla="*/ 0 w 6120000"/>
              <a:gd name="connsiteY4" fmla="*/ 6855351 h 6861600"/>
              <a:gd name="connsiteX5" fmla="*/ 0 w 6120000"/>
              <a:gd name="connsiteY5" fmla="*/ 0 h 6861600"/>
              <a:gd name="connsiteX6" fmla="*/ 6120000 w 6120000"/>
              <a:gd name="connsiteY6" fmla="*/ 0 h 6861600"/>
              <a:gd name="connsiteX7" fmla="*/ 6120000 w 6120000"/>
              <a:gd name="connsiteY7" fmla="*/ 6856413 h 6861600"/>
              <a:gd name="connsiteX8" fmla="*/ 0 w 6120000"/>
              <a:gd name="connsiteY8" fmla="*/ 5461580 h 6861600"/>
              <a:gd name="connsiteX9" fmla="*/ 0 w 6120000"/>
              <a:gd name="connsiteY9" fmla="*/ 0 h 6861600"/>
              <a:gd name="connsiteX0" fmla="*/ 0 w 6120000"/>
              <a:gd name="connsiteY0" fmla="*/ 6861600 h 6861600"/>
              <a:gd name="connsiteX1" fmla="*/ 6120000 w 6120000"/>
              <a:gd name="connsiteY1" fmla="*/ 6856413 h 6861600"/>
              <a:gd name="connsiteX2" fmla="*/ 6120000 w 6120000"/>
              <a:gd name="connsiteY2" fmla="*/ 6861600 h 6861600"/>
              <a:gd name="connsiteX3" fmla="*/ 0 w 6120000"/>
              <a:gd name="connsiteY3" fmla="*/ 6861600 h 6861600"/>
              <a:gd name="connsiteX4" fmla="*/ 0 w 6120000"/>
              <a:gd name="connsiteY4" fmla="*/ 0 h 6861600"/>
              <a:gd name="connsiteX5" fmla="*/ 6120000 w 6120000"/>
              <a:gd name="connsiteY5" fmla="*/ 0 h 6861600"/>
              <a:gd name="connsiteX6" fmla="*/ 6120000 w 6120000"/>
              <a:gd name="connsiteY6" fmla="*/ 6856413 h 6861600"/>
              <a:gd name="connsiteX7" fmla="*/ 0 w 6120000"/>
              <a:gd name="connsiteY7" fmla="*/ 5461580 h 6861600"/>
              <a:gd name="connsiteX8" fmla="*/ 0 w 6120000"/>
              <a:gd name="connsiteY8" fmla="*/ 0 h 6861600"/>
              <a:gd name="connsiteX0" fmla="*/ 6120000 w 6120000"/>
              <a:gd name="connsiteY0" fmla="*/ 6861600 h 6861600"/>
              <a:gd name="connsiteX1" fmla="*/ 6120000 w 6120000"/>
              <a:gd name="connsiteY1" fmla="*/ 6856413 h 6861600"/>
              <a:gd name="connsiteX2" fmla="*/ 6120000 w 6120000"/>
              <a:gd name="connsiteY2" fmla="*/ 6861600 h 6861600"/>
              <a:gd name="connsiteX3" fmla="*/ 0 w 6120000"/>
              <a:gd name="connsiteY3" fmla="*/ 0 h 6861600"/>
              <a:gd name="connsiteX4" fmla="*/ 6120000 w 6120000"/>
              <a:gd name="connsiteY4" fmla="*/ 0 h 6861600"/>
              <a:gd name="connsiteX5" fmla="*/ 6120000 w 6120000"/>
              <a:gd name="connsiteY5" fmla="*/ 6856413 h 6861600"/>
              <a:gd name="connsiteX6" fmla="*/ 0 w 6120000"/>
              <a:gd name="connsiteY6" fmla="*/ 5461580 h 6861600"/>
              <a:gd name="connsiteX7" fmla="*/ 0 w 6120000"/>
              <a:gd name="connsiteY7" fmla="*/ 0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120000" h="6861600">
                <a:moveTo>
                  <a:pt x="6120000" y="6861600"/>
                </a:moveTo>
                <a:lnTo>
                  <a:pt x="6120000" y="6856413"/>
                </a:lnTo>
                <a:lnTo>
                  <a:pt x="6120000" y="6861600"/>
                </a:lnTo>
                <a:close/>
                <a:moveTo>
                  <a:pt x="0" y="0"/>
                </a:moveTo>
                <a:lnTo>
                  <a:pt x="6120000" y="0"/>
                </a:lnTo>
                <a:lnTo>
                  <a:pt x="6120000" y="6856413"/>
                </a:lnTo>
                <a:lnTo>
                  <a:pt x="0" y="546158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90000"/>
            </a:schemeClr>
          </a:solidFill>
        </p:spPr>
        <p:txBody>
          <a:bodyPr wrap="square" lIns="666000" tIns="2304000" rIns="489600" bIns="2538000" anchor="t" anchorCtr="0">
            <a:noAutofit/>
          </a:bodyPr>
          <a:lstStyle>
            <a:lvl1pPr>
              <a:lnSpc>
                <a:spcPct val="87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Præsentationstitel i maksimum to linjer</a:t>
            </a:r>
            <a:endParaRPr lang="da-DK"/>
          </a:p>
        </p:txBody>
      </p:sp>
      <p:sp>
        <p:nvSpPr>
          <p:cNvPr id="3" name="Undertitel 2"/>
          <p:cNvSpPr>
            <a:spLocks noGrp="1"/>
          </p:cNvSpPr>
          <p:nvPr>
            <p:ph type="subTitle" idx="1" hasCustomPrompt="1"/>
          </p:nvPr>
        </p:nvSpPr>
        <p:spPr>
          <a:xfrm>
            <a:off x="4077409" y="3512868"/>
            <a:ext cx="7441491" cy="498834"/>
          </a:xfrm>
        </p:spPr>
        <p:txBody>
          <a:bodyPr lIns="684000" rIns="511200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Klik, og tilføj undertitel</a:t>
            </a:r>
            <a:endParaRPr lang="da-DK"/>
          </a:p>
        </p:txBody>
      </p:sp>
      <p:sp>
        <p:nvSpPr>
          <p:cNvPr id="6" name="Indsæt TitleName"/>
          <p:cNvSpPr>
            <a:spLocks noGrp="1"/>
          </p:cNvSpPr>
          <p:nvPr>
            <p:ph type="body" sz="quarter" idx="14" hasCustomPrompt="1"/>
          </p:nvPr>
        </p:nvSpPr>
        <p:spPr>
          <a:xfrm>
            <a:off x="4079775" y="1349645"/>
            <a:ext cx="7439125" cy="360040"/>
          </a:xfrm>
        </p:spPr>
        <p:txBody>
          <a:bodyPr lIns="684000" anchor="b" anchorCtr="0"/>
          <a:lstStyle>
            <a:lvl1pPr>
              <a:lnSpc>
                <a:spcPct val="115000"/>
              </a:lnSpc>
              <a:defRPr sz="10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Indsæt titel, navn</a:t>
            </a:r>
            <a:endParaRPr lang="da-DK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445224"/>
            <a:ext cx="12192000" cy="1411191"/>
          </a:xfrm>
          <a:custGeom>
            <a:avLst/>
            <a:gdLst>
              <a:gd name="connsiteX0" fmla="*/ 3054350 w 9144000"/>
              <a:gd name="connsiteY0" fmla="*/ 0 h 1077913"/>
              <a:gd name="connsiteX1" fmla="*/ 9144000 w 9144000"/>
              <a:gd name="connsiteY1" fmla="*/ 1077913 h 1077913"/>
              <a:gd name="connsiteX2" fmla="*/ 0 w 9144000"/>
              <a:gd name="connsiteY2" fmla="*/ 1076326 h 1077913"/>
              <a:gd name="connsiteX3" fmla="*/ 0 w 9144000"/>
              <a:gd name="connsiteY3" fmla="*/ 538163 h 1077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1077913">
                <a:moveTo>
                  <a:pt x="3054350" y="0"/>
                </a:moveTo>
                <a:lnTo>
                  <a:pt x="9144000" y="1077913"/>
                </a:lnTo>
                <a:lnTo>
                  <a:pt x="0" y="1076326"/>
                </a:lnTo>
                <a:lnTo>
                  <a:pt x="0" y="53816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079776" y="4041068"/>
            <a:ext cx="8109858" cy="2823852"/>
          </a:xfrm>
          <a:custGeom>
            <a:avLst/>
            <a:gdLst>
              <a:gd name="connsiteX0" fmla="*/ 6116484 w 6118225"/>
              <a:gd name="connsiteY0" fmla="*/ 0 h 2159720"/>
              <a:gd name="connsiteX1" fmla="*/ 6118225 w 6118225"/>
              <a:gd name="connsiteY1" fmla="*/ 0 h 2159720"/>
              <a:gd name="connsiteX2" fmla="*/ 6118225 w 6118225"/>
              <a:gd name="connsiteY2" fmla="*/ 2159720 h 2159720"/>
              <a:gd name="connsiteX3" fmla="*/ 0 w 6118225"/>
              <a:gd name="connsiteY3" fmla="*/ 1078913 h 2159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18225" h="2159720">
                <a:moveTo>
                  <a:pt x="6116484" y="0"/>
                </a:moveTo>
                <a:lnTo>
                  <a:pt x="6118225" y="0"/>
                </a:lnTo>
                <a:lnTo>
                  <a:pt x="6118225" y="2159720"/>
                </a:lnTo>
                <a:lnTo>
                  <a:pt x="0" y="1078913"/>
                </a:lnTo>
                <a:close/>
              </a:path>
            </a:pathLst>
          </a:custGeom>
          <a:solidFill>
            <a:srgbClr val="061C48"/>
          </a:solidFill>
        </p:spPr>
        <p:txBody>
          <a:bodyPr wrap="square">
            <a:noAutofit/>
          </a:bodyPr>
          <a:lstStyle>
            <a:lvl1pPr marL="0" indent="0">
              <a:buNone/>
              <a:defRPr sz="100"/>
            </a:lvl1pPr>
            <a:lvl2pPr marL="0" indent="0">
              <a:buNone/>
              <a:defRPr sz="100"/>
            </a:lvl2pPr>
            <a:lvl3pPr marL="216000" indent="0">
              <a:buNone/>
              <a:defRPr sz="100"/>
            </a:lvl3pPr>
            <a:lvl4pPr marL="432000" indent="0">
              <a:buNone/>
              <a:defRPr sz="100"/>
            </a:lvl4pPr>
            <a:lvl5pPr marL="648000" indent="0">
              <a:buNone/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122" name="Text Placeholder 3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4764088" y="345600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0550378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C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BEBEC"/>
          </a:solidFill>
          <a:ln w="3175">
            <a:noFill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4000"/>
              </a:lnSpc>
            </a:pPr>
            <a:endParaRPr lang="da-DK" sz="1800" dirty="0" err="1"/>
          </a:p>
        </p:txBody>
      </p:sp>
      <p:grpSp>
        <p:nvGrpSpPr>
          <p:cNvPr id="121" name="Lines"/>
          <p:cNvGrpSpPr/>
          <p:nvPr userDrawn="1"/>
        </p:nvGrpSpPr>
        <p:grpSpPr>
          <a:xfrm>
            <a:off x="-792" y="0"/>
            <a:ext cx="12298271" cy="6161964"/>
            <a:chOff x="-792" y="0"/>
            <a:chExt cx="12298271" cy="6161964"/>
          </a:xfrm>
        </p:grpSpPr>
        <p:sp>
          <p:nvSpPr>
            <p:cNvPr id="108" name="Freeform: Shape 107"/>
            <p:cNvSpPr>
              <a:spLocks/>
            </p:cNvSpPr>
            <p:nvPr userDrawn="1"/>
          </p:nvSpPr>
          <p:spPr bwMode="auto">
            <a:xfrm>
              <a:off x="5971967" y="0"/>
              <a:ext cx="6221233" cy="2661061"/>
            </a:xfrm>
            <a:custGeom>
              <a:avLst/>
              <a:gdLst>
                <a:gd name="connsiteX0" fmla="*/ 0 w 6221233"/>
                <a:gd name="connsiteY0" fmla="*/ 0 h 2661061"/>
                <a:gd name="connsiteX1" fmla="*/ 38482 w 6221233"/>
                <a:gd name="connsiteY1" fmla="*/ 0 h 2661061"/>
                <a:gd name="connsiteX2" fmla="*/ 6221233 w 6221233"/>
                <a:gd name="connsiteY2" fmla="*/ 2645019 h 2661061"/>
                <a:gd name="connsiteX3" fmla="*/ 6221233 w 6221233"/>
                <a:gd name="connsiteY3" fmla="*/ 2661061 h 2661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21233" h="2661061">
                  <a:moveTo>
                    <a:pt x="0" y="0"/>
                  </a:moveTo>
                  <a:lnTo>
                    <a:pt x="38482" y="0"/>
                  </a:lnTo>
                  <a:lnTo>
                    <a:pt x="6221233" y="2645019"/>
                  </a:lnTo>
                  <a:lnTo>
                    <a:pt x="6221233" y="2661061"/>
                  </a:lnTo>
                  <a:close/>
                </a:path>
              </a:pathLst>
            </a:custGeom>
            <a:solidFill>
              <a:srgbClr val="C1C3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06" name="Freeform: Shape 105"/>
            <p:cNvSpPr>
              <a:spLocks/>
            </p:cNvSpPr>
            <p:nvPr userDrawn="1"/>
          </p:nvSpPr>
          <p:spPr bwMode="auto">
            <a:xfrm>
              <a:off x="6239739" y="1"/>
              <a:ext cx="5953461" cy="2457299"/>
            </a:xfrm>
            <a:custGeom>
              <a:avLst/>
              <a:gdLst>
                <a:gd name="connsiteX0" fmla="*/ 0 w 5953461"/>
                <a:gd name="connsiteY0" fmla="*/ 0 h 2457299"/>
                <a:gd name="connsiteX1" fmla="*/ 36593 w 5953461"/>
                <a:gd name="connsiteY1" fmla="*/ 0 h 2457299"/>
                <a:gd name="connsiteX2" fmla="*/ 1445423 w 5953461"/>
                <a:gd name="connsiteY2" fmla="*/ 637927 h 2457299"/>
                <a:gd name="connsiteX3" fmla="*/ 2689583 w 5953461"/>
                <a:gd name="connsiteY3" fmla="*/ 1109504 h 2457299"/>
                <a:gd name="connsiteX4" fmla="*/ 3712662 w 5953461"/>
                <a:gd name="connsiteY4" fmla="*/ 1489513 h 2457299"/>
                <a:gd name="connsiteX5" fmla="*/ 5925012 w 5953461"/>
                <a:gd name="connsiteY5" fmla="*/ 2428089 h 2457299"/>
                <a:gd name="connsiteX6" fmla="*/ 5953461 w 5953461"/>
                <a:gd name="connsiteY6" fmla="*/ 2440341 h 2457299"/>
                <a:gd name="connsiteX7" fmla="*/ 5953461 w 5953461"/>
                <a:gd name="connsiteY7" fmla="*/ 2457299 h 2457299"/>
                <a:gd name="connsiteX8" fmla="*/ 5917389 w 5953461"/>
                <a:gd name="connsiteY8" fmla="*/ 2441825 h 2457299"/>
                <a:gd name="connsiteX9" fmla="*/ 3706563 w 5953461"/>
                <a:gd name="connsiteY9" fmla="*/ 1503248 h 2457299"/>
                <a:gd name="connsiteX10" fmla="*/ 2685009 w 5953461"/>
                <a:gd name="connsiteY10" fmla="*/ 1124765 h 2457299"/>
                <a:gd name="connsiteX11" fmla="*/ 1439324 w 5953461"/>
                <a:gd name="connsiteY11" fmla="*/ 651662 h 2457299"/>
                <a:gd name="connsiteX12" fmla="*/ 0 w 5953461"/>
                <a:gd name="connsiteY12" fmla="*/ 0 h 2457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3461" h="2457299">
                  <a:moveTo>
                    <a:pt x="0" y="0"/>
                  </a:moveTo>
                  <a:cubicBezTo>
                    <a:pt x="0" y="0"/>
                    <a:pt x="0" y="0"/>
                    <a:pt x="36593" y="0"/>
                  </a:cubicBezTo>
                  <a:cubicBezTo>
                    <a:pt x="501629" y="218238"/>
                    <a:pt x="972763" y="436476"/>
                    <a:pt x="1445423" y="637927"/>
                  </a:cubicBezTo>
                  <a:cubicBezTo>
                    <a:pt x="1854044" y="811907"/>
                    <a:pt x="2279437" y="962995"/>
                    <a:pt x="2689583" y="1109504"/>
                  </a:cubicBezTo>
                  <a:cubicBezTo>
                    <a:pt x="3026544" y="1230069"/>
                    <a:pt x="3375702" y="1353687"/>
                    <a:pt x="3712662" y="1489513"/>
                  </a:cubicBezTo>
                  <a:cubicBezTo>
                    <a:pt x="4455195" y="1788637"/>
                    <a:pt x="5202301" y="2113704"/>
                    <a:pt x="5925012" y="2428089"/>
                  </a:cubicBezTo>
                  <a:lnTo>
                    <a:pt x="5953461" y="2440341"/>
                  </a:lnTo>
                  <a:lnTo>
                    <a:pt x="5953461" y="2457299"/>
                  </a:lnTo>
                  <a:lnTo>
                    <a:pt x="5917389" y="2441825"/>
                  </a:lnTo>
                  <a:cubicBezTo>
                    <a:pt x="5196202" y="2127440"/>
                    <a:pt x="4449095" y="1802372"/>
                    <a:pt x="3706563" y="1503248"/>
                  </a:cubicBezTo>
                  <a:cubicBezTo>
                    <a:pt x="3369603" y="1367422"/>
                    <a:pt x="3021970" y="1243805"/>
                    <a:pt x="2685009" y="1124765"/>
                  </a:cubicBezTo>
                  <a:cubicBezTo>
                    <a:pt x="2273339" y="978256"/>
                    <a:pt x="1847945" y="825642"/>
                    <a:pt x="1439324" y="651662"/>
                  </a:cubicBezTo>
                  <a:cubicBezTo>
                    <a:pt x="955992" y="445633"/>
                    <a:pt x="474184" y="222817"/>
                    <a:pt x="0" y="0"/>
                  </a:cubicBezTo>
                  <a:close/>
                </a:path>
              </a:pathLst>
            </a:custGeom>
            <a:solidFill>
              <a:srgbClr val="C1C3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04" name="Freeform: Shape 103"/>
            <p:cNvSpPr>
              <a:spLocks/>
            </p:cNvSpPr>
            <p:nvPr userDrawn="1"/>
          </p:nvSpPr>
          <p:spPr bwMode="auto">
            <a:xfrm>
              <a:off x="6472236" y="1"/>
              <a:ext cx="5720965" cy="2253309"/>
            </a:xfrm>
            <a:custGeom>
              <a:avLst/>
              <a:gdLst>
                <a:gd name="connsiteX0" fmla="*/ 0 w 5720965"/>
                <a:gd name="connsiteY0" fmla="*/ 0 h 2253309"/>
                <a:gd name="connsiteX1" fmla="*/ 35073 w 5720965"/>
                <a:gd name="connsiteY1" fmla="*/ 0 h 2253309"/>
                <a:gd name="connsiteX2" fmla="*/ 1262628 w 5720965"/>
                <a:gd name="connsiteY2" fmla="*/ 585870 h 2253309"/>
                <a:gd name="connsiteX3" fmla="*/ 2485607 w 5720965"/>
                <a:gd name="connsiteY3" fmla="*/ 985604 h 2253309"/>
                <a:gd name="connsiteX4" fmla="*/ 3551521 w 5720965"/>
                <a:gd name="connsiteY4" fmla="*/ 1319733 h 2253309"/>
                <a:gd name="connsiteX5" fmla="*/ 4660895 w 5720965"/>
                <a:gd name="connsiteY5" fmla="*/ 1774583 h 2253309"/>
                <a:gd name="connsiteX6" fmla="*/ 5720965 w 5720965"/>
                <a:gd name="connsiteY6" fmla="*/ 2235408 h 2253309"/>
                <a:gd name="connsiteX7" fmla="*/ 5720965 w 5720965"/>
                <a:gd name="connsiteY7" fmla="*/ 2253309 h 2253309"/>
                <a:gd name="connsiteX8" fmla="*/ 4654223 w 5720965"/>
                <a:gd name="connsiteY8" fmla="*/ 1789268 h 2253309"/>
                <a:gd name="connsiteX9" fmla="*/ 3545421 w 5720965"/>
                <a:gd name="connsiteY9" fmla="*/ 1334990 h 2253309"/>
                <a:gd name="connsiteX10" fmla="*/ 2481032 w 5720965"/>
                <a:gd name="connsiteY10" fmla="*/ 1000861 h 2253309"/>
                <a:gd name="connsiteX11" fmla="*/ 1256528 w 5720965"/>
                <a:gd name="connsiteY11" fmla="*/ 601127 h 2253309"/>
                <a:gd name="connsiteX12" fmla="*/ 0 w 5720965"/>
                <a:gd name="connsiteY12" fmla="*/ 0 h 2253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0965" h="2253309">
                  <a:moveTo>
                    <a:pt x="0" y="0"/>
                  </a:moveTo>
                  <a:cubicBezTo>
                    <a:pt x="0" y="0"/>
                    <a:pt x="0" y="0"/>
                    <a:pt x="35073" y="0"/>
                  </a:cubicBezTo>
                  <a:cubicBezTo>
                    <a:pt x="437650" y="207496"/>
                    <a:pt x="847851" y="408888"/>
                    <a:pt x="1262628" y="585870"/>
                  </a:cubicBezTo>
                  <a:cubicBezTo>
                    <a:pt x="1659105" y="755223"/>
                    <a:pt x="2079980" y="872702"/>
                    <a:pt x="2485607" y="985604"/>
                  </a:cubicBezTo>
                  <a:cubicBezTo>
                    <a:pt x="2837862" y="1083249"/>
                    <a:pt x="3202316" y="1185471"/>
                    <a:pt x="3551521" y="1319733"/>
                  </a:cubicBezTo>
                  <a:cubicBezTo>
                    <a:pt x="3922075" y="1463912"/>
                    <a:pt x="4293010" y="1617626"/>
                    <a:pt x="4660895" y="1774583"/>
                  </a:cubicBezTo>
                  <a:lnTo>
                    <a:pt x="5720965" y="2235408"/>
                  </a:lnTo>
                  <a:lnTo>
                    <a:pt x="5720965" y="2253309"/>
                  </a:lnTo>
                  <a:lnTo>
                    <a:pt x="4654223" y="1789268"/>
                  </a:lnTo>
                  <a:cubicBezTo>
                    <a:pt x="4286529" y="1632502"/>
                    <a:pt x="3915975" y="1479169"/>
                    <a:pt x="3545421" y="1334990"/>
                  </a:cubicBezTo>
                  <a:cubicBezTo>
                    <a:pt x="3197741" y="1200728"/>
                    <a:pt x="2833287" y="1098506"/>
                    <a:pt x="2481032" y="1000861"/>
                  </a:cubicBezTo>
                  <a:cubicBezTo>
                    <a:pt x="2073881" y="886433"/>
                    <a:pt x="1654530" y="770480"/>
                    <a:pt x="1256528" y="601127"/>
                  </a:cubicBezTo>
                  <a:cubicBezTo>
                    <a:pt x="831077" y="419568"/>
                    <a:pt x="411727" y="212073"/>
                    <a:pt x="0" y="0"/>
                  </a:cubicBezTo>
                  <a:close/>
                </a:path>
              </a:pathLst>
            </a:custGeom>
            <a:solidFill>
              <a:srgbClr val="C0C2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00" name="Freeform: Shape 99"/>
            <p:cNvSpPr>
              <a:spLocks/>
            </p:cNvSpPr>
            <p:nvPr userDrawn="1"/>
          </p:nvSpPr>
          <p:spPr bwMode="auto">
            <a:xfrm>
              <a:off x="6687094" y="0"/>
              <a:ext cx="5506106" cy="2050042"/>
            </a:xfrm>
            <a:custGeom>
              <a:avLst/>
              <a:gdLst>
                <a:gd name="connsiteX0" fmla="*/ 0 w 5506106"/>
                <a:gd name="connsiteY0" fmla="*/ 0 h 2050042"/>
                <a:gd name="connsiteX1" fmla="*/ 33549 w 5506106"/>
                <a:gd name="connsiteY1" fmla="*/ 0 h 2050042"/>
                <a:gd name="connsiteX2" fmla="*/ 1088817 w 5506106"/>
                <a:gd name="connsiteY2" fmla="*/ 523538 h 2050042"/>
                <a:gd name="connsiteX3" fmla="*/ 2314880 w 5506106"/>
                <a:gd name="connsiteY3" fmla="*/ 863914 h 2050042"/>
                <a:gd name="connsiteX4" fmla="*/ 3406747 w 5506106"/>
                <a:gd name="connsiteY4" fmla="*/ 1150867 h 2050042"/>
                <a:gd name="connsiteX5" fmla="*/ 4514436 w 5506106"/>
                <a:gd name="connsiteY5" fmla="*/ 1599041 h 2050042"/>
                <a:gd name="connsiteX6" fmla="*/ 5506106 w 5506106"/>
                <a:gd name="connsiteY6" fmla="*/ 2033522 h 2050042"/>
                <a:gd name="connsiteX7" fmla="*/ 5506106 w 5506106"/>
                <a:gd name="connsiteY7" fmla="*/ 2050042 h 2050042"/>
                <a:gd name="connsiteX8" fmla="*/ 4508336 w 5506106"/>
                <a:gd name="connsiteY8" fmla="*/ 1614114 h 2050042"/>
                <a:gd name="connsiteX9" fmla="*/ 3400648 w 5506106"/>
                <a:gd name="connsiteY9" fmla="*/ 1166131 h 2050042"/>
                <a:gd name="connsiteX10" fmla="*/ 2311830 w 5506106"/>
                <a:gd name="connsiteY10" fmla="*/ 879177 h 2050042"/>
                <a:gd name="connsiteX11" fmla="*/ 1082718 w 5506106"/>
                <a:gd name="connsiteY11" fmla="*/ 537275 h 2050042"/>
                <a:gd name="connsiteX12" fmla="*/ 0 w 5506106"/>
                <a:gd name="connsiteY12" fmla="*/ 0 h 2050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506106" h="2050042">
                  <a:moveTo>
                    <a:pt x="0" y="0"/>
                  </a:moveTo>
                  <a:cubicBezTo>
                    <a:pt x="0" y="0"/>
                    <a:pt x="0" y="0"/>
                    <a:pt x="33549" y="0"/>
                  </a:cubicBezTo>
                  <a:cubicBezTo>
                    <a:pt x="378189" y="189267"/>
                    <a:pt x="728928" y="369377"/>
                    <a:pt x="1088817" y="523538"/>
                  </a:cubicBezTo>
                  <a:cubicBezTo>
                    <a:pt x="1485305" y="691436"/>
                    <a:pt x="1906193" y="778438"/>
                    <a:pt x="2314880" y="863914"/>
                  </a:cubicBezTo>
                  <a:cubicBezTo>
                    <a:pt x="2676294" y="938705"/>
                    <a:pt x="3051433" y="1016548"/>
                    <a:pt x="3406747" y="1150867"/>
                  </a:cubicBezTo>
                  <a:cubicBezTo>
                    <a:pt x="3777311" y="1290528"/>
                    <a:pt x="4147494" y="1442400"/>
                    <a:pt x="4514436" y="1599041"/>
                  </a:cubicBezTo>
                  <a:lnTo>
                    <a:pt x="5506106" y="2033522"/>
                  </a:lnTo>
                  <a:lnTo>
                    <a:pt x="5506106" y="2050042"/>
                  </a:lnTo>
                  <a:lnTo>
                    <a:pt x="4508336" y="1614114"/>
                  </a:lnTo>
                  <a:cubicBezTo>
                    <a:pt x="4141394" y="1457663"/>
                    <a:pt x="3771211" y="1305792"/>
                    <a:pt x="3400648" y="1166131"/>
                  </a:cubicBezTo>
                  <a:cubicBezTo>
                    <a:pt x="3046858" y="1033338"/>
                    <a:pt x="2673244" y="955494"/>
                    <a:pt x="2311830" y="879177"/>
                  </a:cubicBezTo>
                  <a:cubicBezTo>
                    <a:pt x="1903143" y="795228"/>
                    <a:pt x="1479206" y="706700"/>
                    <a:pt x="1082718" y="537275"/>
                  </a:cubicBezTo>
                  <a:cubicBezTo>
                    <a:pt x="713679" y="380061"/>
                    <a:pt x="352265" y="195373"/>
                    <a:pt x="0" y="0"/>
                  </a:cubicBezTo>
                  <a:close/>
                </a:path>
              </a:pathLst>
            </a:custGeom>
            <a:solidFill>
              <a:srgbClr val="C0C2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02" name="Freeform: Shape 101"/>
            <p:cNvSpPr>
              <a:spLocks/>
            </p:cNvSpPr>
            <p:nvPr userDrawn="1"/>
          </p:nvSpPr>
          <p:spPr bwMode="auto">
            <a:xfrm>
              <a:off x="7019004" y="0"/>
              <a:ext cx="5174196" cy="1848116"/>
            </a:xfrm>
            <a:custGeom>
              <a:avLst/>
              <a:gdLst>
                <a:gd name="connsiteX0" fmla="*/ 0 w 5174196"/>
                <a:gd name="connsiteY0" fmla="*/ 0 h 1848116"/>
                <a:gd name="connsiteX1" fmla="*/ 35068 w 5174196"/>
                <a:gd name="connsiteY1" fmla="*/ 0 h 1848116"/>
                <a:gd name="connsiteX2" fmla="*/ 817222 w 5174196"/>
                <a:gd name="connsiteY2" fmla="*/ 378424 h 1848116"/>
                <a:gd name="connsiteX3" fmla="*/ 2050677 w 5174196"/>
                <a:gd name="connsiteY3" fmla="*/ 708019 h 1848116"/>
                <a:gd name="connsiteX4" fmla="*/ 3146913 w 5174196"/>
                <a:gd name="connsiteY4" fmla="*/ 982682 h 1848116"/>
                <a:gd name="connsiteX5" fmla="*/ 4752602 w 5174196"/>
                <a:gd name="connsiteY5" fmla="*/ 1642730 h 1848116"/>
                <a:gd name="connsiteX6" fmla="*/ 5174196 w 5174196"/>
                <a:gd name="connsiteY6" fmla="*/ 1829780 h 1848116"/>
                <a:gd name="connsiteX7" fmla="*/ 5174196 w 5174196"/>
                <a:gd name="connsiteY7" fmla="*/ 1848116 h 1848116"/>
                <a:gd name="connsiteX8" fmla="*/ 4751244 w 5174196"/>
                <a:gd name="connsiteY8" fmla="*/ 1660564 h 1848116"/>
                <a:gd name="connsiteX9" fmla="*/ 3142339 w 5174196"/>
                <a:gd name="connsiteY9" fmla="*/ 997941 h 1848116"/>
                <a:gd name="connsiteX10" fmla="*/ 2047628 w 5174196"/>
                <a:gd name="connsiteY10" fmla="*/ 724804 h 1848116"/>
                <a:gd name="connsiteX11" fmla="*/ 811123 w 5174196"/>
                <a:gd name="connsiteY11" fmla="*/ 393683 h 1848116"/>
                <a:gd name="connsiteX12" fmla="*/ 0 w 5174196"/>
                <a:gd name="connsiteY12" fmla="*/ 0 h 1848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4196" h="1848116">
                  <a:moveTo>
                    <a:pt x="0" y="0"/>
                  </a:moveTo>
                  <a:cubicBezTo>
                    <a:pt x="0" y="0"/>
                    <a:pt x="0" y="0"/>
                    <a:pt x="35068" y="0"/>
                  </a:cubicBezTo>
                  <a:cubicBezTo>
                    <a:pt x="291212" y="135805"/>
                    <a:pt x="551930" y="265507"/>
                    <a:pt x="817222" y="378424"/>
                  </a:cubicBezTo>
                  <a:cubicBezTo>
                    <a:pt x="1215160" y="547799"/>
                    <a:pt x="1640542" y="628672"/>
                    <a:pt x="2050677" y="708019"/>
                  </a:cubicBezTo>
                  <a:cubicBezTo>
                    <a:pt x="2415073" y="778211"/>
                    <a:pt x="2791666" y="849928"/>
                    <a:pt x="3146913" y="982682"/>
                  </a:cubicBezTo>
                  <a:cubicBezTo>
                    <a:pt x="3686645" y="1182957"/>
                    <a:pt x="4224662" y="1410698"/>
                    <a:pt x="4752602" y="1642730"/>
                  </a:cubicBezTo>
                  <a:lnTo>
                    <a:pt x="5174196" y="1829780"/>
                  </a:lnTo>
                  <a:lnTo>
                    <a:pt x="5174196" y="1848116"/>
                  </a:lnTo>
                  <a:lnTo>
                    <a:pt x="4751244" y="1660564"/>
                  </a:lnTo>
                  <a:cubicBezTo>
                    <a:pt x="4221803" y="1427673"/>
                    <a:pt x="3682071" y="1198216"/>
                    <a:pt x="3142339" y="997941"/>
                  </a:cubicBezTo>
                  <a:cubicBezTo>
                    <a:pt x="2787092" y="865187"/>
                    <a:pt x="2410499" y="793470"/>
                    <a:pt x="2047628" y="724804"/>
                  </a:cubicBezTo>
                  <a:cubicBezTo>
                    <a:pt x="1635968" y="645457"/>
                    <a:pt x="1209061" y="563058"/>
                    <a:pt x="811123" y="393683"/>
                  </a:cubicBezTo>
                  <a:cubicBezTo>
                    <a:pt x="535158" y="276189"/>
                    <a:pt x="265292" y="141909"/>
                    <a:pt x="0" y="0"/>
                  </a:cubicBezTo>
                  <a:close/>
                </a:path>
              </a:pathLst>
            </a:custGeom>
            <a:solidFill>
              <a:srgbClr val="BFC1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98" name="Freeform: Shape 97"/>
            <p:cNvSpPr>
              <a:spLocks/>
            </p:cNvSpPr>
            <p:nvPr userDrawn="1"/>
          </p:nvSpPr>
          <p:spPr bwMode="auto">
            <a:xfrm>
              <a:off x="7431084" y="1"/>
              <a:ext cx="4762117" cy="1646199"/>
            </a:xfrm>
            <a:custGeom>
              <a:avLst/>
              <a:gdLst>
                <a:gd name="connsiteX0" fmla="*/ 0 w 4762117"/>
                <a:gd name="connsiteY0" fmla="*/ 0 h 1646199"/>
                <a:gd name="connsiteX1" fmla="*/ 38126 w 4762117"/>
                <a:gd name="connsiteY1" fmla="*/ 0 h 1646199"/>
                <a:gd name="connsiteX2" fmla="*/ 465129 w 4762117"/>
                <a:gd name="connsiteY2" fmla="*/ 195245 h 1646199"/>
                <a:gd name="connsiteX3" fmla="*/ 1711065 w 4762117"/>
                <a:gd name="connsiteY3" fmla="*/ 533873 h 1646199"/>
                <a:gd name="connsiteX4" fmla="*/ 2807549 w 4762117"/>
                <a:gd name="connsiteY4" fmla="*/ 813012 h 1646199"/>
                <a:gd name="connsiteX5" fmla="*/ 4357844 w 4762117"/>
                <a:gd name="connsiteY5" fmla="*/ 1449012 h 1646199"/>
                <a:gd name="connsiteX6" fmla="*/ 4762117 w 4762117"/>
                <a:gd name="connsiteY6" fmla="*/ 1627882 h 1646199"/>
                <a:gd name="connsiteX7" fmla="*/ 4762117 w 4762117"/>
                <a:gd name="connsiteY7" fmla="*/ 1646199 h 1646199"/>
                <a:gd name="connsiteX8" fmla="*/ 4356677 w 4762117"/>
                <a:gd name="connsiteY8" fmla="*/ 1466863 h 1646199"/>
                <a:gd name="connsiteX9" fmla="*/ 2801449 w 4762117"/>
                <a:gd name="connsiteY9" fmla="*/ 829791 h 1646199"/>
                <a:gd name="connsiteX10" fmla="*/ 1706490 w 4762117"/>
                <a:gd name="connsiteY10" fmla="*/ 550652 h 1646199"/>
                <a:gd name="connsiteX11" fmla="*/ 457504 w 4762117"/>
                <a:gd name="connsiteY11" fmla="*/ 210499 h 1646199"/>
                <a:gd name="connsiteX12" fmla="*/ 0 w 4762117"/>
                <a:gd name="connsiteY12" fmla="*/ 0 h 1646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762117" h="1646199">
                  <a:moveTo>
                    <a:pt x="0" y="0"/>
                  </a:moveTo>
                  <a:cubicBezTo>
                    <a:pt x="0" y="0"/>
                    <a:pt x="0" y="0"/>
                    <a:pt x="38126" y="0"/>
                  </a:cubicBezTo>
                  <a:cubicBezTo>
                    <a:pt x="178427" y="68641"/>
                    <a:pt x="320253" y="134231"/>
                    <a:pt x="465129" y="195245"/>
                  </a:cubicBezTo>
                  <a:cubicBezTo>
                    <a:pt x="866208" y="366084"/>
                    <a:pt x="1294736" y="451504"/>
                    <a:pt x="1711065" y="533873"/>
                  </a:cubicBezTo>
                  <a:cubicBezTo>
                    <a:pt x="2074018" y="607090"/>
                    <a:pt x="2450696" y="681832"/>
                    <a:pt x="2807549" y="813012"/>
                  </a:cubicBezTo>
                  <a:cubicBezTo>
                    <a:pt x="3327960" y="1006350"/>
                    <a:pt x="3847513" y="1225429"/>
                    <a:pt x="4357844" y="1449012"/>
                  </a:cubicBezTo>
                  <a:lnTo>
                    <a:pt x="4762117" y="1627882"/>
                  </a:lnTo>
                  <a:lnTo>
                    <a:pt x="4762117" y="1646199"/>
                  </a:lnTo>
                  <a:lnTo>
                    <a:pt x="4356677" y="1466863"/>
                  </a:lnTo>
                  <a:cubicBezTo>
                    <a:pt x="3845130" y="1242494"/>
                    <a:pt x="3324147" y="1021985"/>
                    <a:pt x="2801449" y="829791"/>
                  </a:cubicBezTo>
                  <a:cubicBezTo>
                    <a:pt x="2446121" y="697085"/>
                    <a:pt x="2070968" y="622343"/>
                    <a:pt x="1706490" y="550652"/>
                  </a:cubicBezTo>
                  <a:cubicBezTo>
                    <a:pt x="1290161" y="468283"/>
                    <a:pt x="860108" y="381338"/>
                    <a:pt x="457504" y="210499"/>
                  </a:cubicBezTo>
                  <a:cubicBezTo>
                    <a:pt x="303478" y="144908"/>
                    <a:pt x="150977" y="74742"/>
                    <a:pt x="0" y="0"/>
                  </a:cubicBezTo>
                  <a:close/>
                </a:path>
              </a:pathLst>
            </a:custGeom>
            <a:solidFill>
              <a:srgbClr val="BFC1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96" name="Freeform: Shape 95"/>
            <p:cNvSpPr>
              <a:spLocks/>
            </p:cNvSpPr>
            <p:nvPr userDrawn="1"/>
          </p:nvSpPr>
          <p:spPr bwMode="auto">
            <a:xfrm>
              <a:off x="7897682" y="0"/>
              <a:ext cx="4295519" cy="1446479"/>
            </a:xfrm>
            <a:custGeom>
              <a:avLst/>
              <a:gdLst>
                <a:gd name="connsiteX0" fmla="*/ 0 w 4295519"/>
                <a:gd name="connsiteY0" fmla="*/ 0 h 1446479"/>
                <a:gd name="connsiteX1" fmla="*/ 42701 w 4295519"/>
                <a:gd name="connsiteY1" fmla="*/ 0 h 1446479"/>
                <a:gd name="connsiteX2" fmla="*/ 50326 w 4295519"/>
                <a:gd name="connsiteY2" fmla="*/ 3053 h 1446479"/>
                <a:gd name="connsiteX3" fmla="*/ 1310004 w 4295519"/>
                <a:gd name="connsiteY3" fmla="*/ 355626 h 1446479"/>
                <a:gd name="connsiteX4" fmla="*/ 2414128 w 4295519"/>
                <a:gd name="connsiteY4" fmla="*/ 645621 h 1446479"/>
                <a:gd name="connsiteX5" fmla="*/ 3908684 w 4295519"/>
                <a:gd name="connsiteY5" fmla="*/ 1256685 h 1446479"/>
                <a:gd name="connsiteX6" fmla="*/ 4295519 w 4295519"/>
                <a:gd name="connsiteY6" fmla="*/ 1427524 h 1446479"/>
                <a:gd name="connsiteX7" fmla="*/ 4295519 w 4295519"/>
                <a:gd name="connsiteY7" fmla="*/ 1446479 h 1446479"/>
                <a:gd name="connsiteX8" fmla="*/ 3410546 w 4295519"/>
                <a:gd name="connsiteY8" fmla="*/ 1061153 h 1446479"/>
                <a:gd name="connsiteX9" fmla="*/ 2408027 w 4295519"/>
                <a:gd name="connsiteY9" fmla="*/ 660884 h 1446479"/>
                <a:gd name="connsiteX10" fmla="*/ 1306953 w 4295519"/>
                <a:gd name="connsiteY10" fmla="*/ 372415 h 1446479"/>
                <a:gd name="connsiteX11" fmla="*/ 44226 w 4295519"/>
                <a:gd name="connsiteY11" fmla="*/ 18316 h 1446479"/>
                <a:gd name="connsiteX12" fmla="*/ 0 w 4295519"/>
                <a:gd name="connsiteY12" fmla="*/ 0 h 1446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95519" h="1446479">
                  <a:moveTo>
                    <a:pt x="0" y="0"/>
                  </a:moveTo>
                  <a:cubicBezTo>
                    <a:pt x="0" y="0"/>
                    <a:pt x="0" y="0"/>
                    <a:pt x="42701" y="0"/>
                  </a:cubicBezTo>
                  <a:cubicBezTo>
                    <a:pt x="45751" y="1526"/>
                    <a:pt x="47276" y="1526"/>
                    <a:pt x="50326" y="3053"/>
                  </a:cubicBezTo>
                  <a:cubicBezTo>
                    <a:pt x="455985" y="175523"/>
                    <a:pt x="890619" y="267101"/>
                    <a:pt x="1310004" y="355626"/>
                  </a:cubicBezTo>
                  <a:cubicBezTo>
                    <a:pt x="1676012" y="431940"/>
                    <a:pt x="2055745" y="512833"/>
                    <a:pt x="2414128" y="645621"/>
                  </a:cubicBezTo>
                  <a:cubicBezTo>
                    <a:pt x="2915101" y="831065"/>
                    <a:pt x="3416075" y="1041407"/>
                    <a:pt x="3908684" y="1256685"/>
                  </a:cubicBezTo>
                  <a:lnTo>
                    <a:pt x="4295519" y="1427524"/>
                  </a:lnTo>
                  <a:lnTo>
                    <a:pt x="4295519" y="1446479"/>
                  </a:lnTo>
                  <a:lnTo>
                    <a:pt x="3410546" y="1061153"/>
                  </a:lnTo>
                  <a:cubicBezTo>
                    <a:pt x="3078280" y="920734"/>
                    <a:pt x="2743535" y="785276"/>
                    <a:pt x="2408027" y="660884"/>
                  </a:cubicBezTo>
                  <a:cubicBezTo>
                    <a:pt x="2049645" y="528096"/>
                    <a:pt x="1672961" y="448729"/>
                    <a:pt x="1306953" y="372415"/>
                  </a:cubicBezTo>
                  <a:cubicBezTo>
                    <a:pt x="886044" y="283890"/>
                    <a:pt x="451410" y="192313"/>
                    <a:pt x="44226" y="18316"/>
                  </a:cubicBezTo>
                  <a:cubicBezTo>
                    <a:pt x="28976" y="12210"/>
                    <a:pt x="15251" y="6105"/>
                    <a:pt x="0" y="0"/>
                  </a:cubicBezTo>
                  <a:close/>
                </a:path>
              </a:pathLst>
            </a:custGeom>
            <a:solidFill>
              <a:srgbClr val="BEC0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94" name="Freeform: Shape 93"/>
            <p:cNvSpPr>
              <a:spLocks/>
            </p:cNvSpPr>
            <p:nvPr userDrawn="1"/>
          </p:nvSpPr>
          <p:spPr bwMode="auto">
            <a:xfrm>
              <a:off x="8503776" y="1"/>
              <a:ext cx="3689425" cy="1246175"/>
            </a:xfrm>
            <a:custGeom>
              <a:avLst/>
              <a:gdLst>
                <a:gd name="connsiteX0" fmla="*/ 0 w 3689425"/>
                <a:gd name="connsiteY0" fmla="*/ 0 h 1246175"/>
                <a:gd name="connsiteX1" fmla="*/ 62516 w 3689425"/>
                <a:gd name="connsiteY1" fmla="*/ 0 h 1246175"/>
                <a:gd name="connsiteX2" fmla="*/ 766959 w 3689425"/>
                <a:gd name="connsiteY2" fmla="*/ 172406 h 1246175"/>
                <a:gd name="connsiteX3" fmla="*/ 1880040 w 3689425"/>
                <a:gd name="connsiteY3" fmla="*/ 476024 h 1246175"/>
                <a:gd name="connsiteX4" fmla="*/ 2842931 w 3689425"/>
                <a:gd name="connsiteY4" fmla="*/ 859933 h 1246175"/>
                <a:gd name="connsiteX5" fmla="*/ 3689425 w 3689425"/>
                <a:gd name="connsiteY5" fmla="*/ 1227826 h 1246175"/>
                <a:gd name="connsiteX6" fmla="*/ 3689425 w 3689425"/>
                <a:gd name="connsiteY6" fmla="*/ 1246175 h 1246175"/>
                <a:gd name="connsiteX7" fmla="*/ 2839882 w 3689425"/>
                <a:gd name="connsiteY7" fmla="*/ 877288 h 1246175"/>
                <a:gd name="connsiteX8" fmla="*/ 1873941 w 3689425"/>
                <a:gd name="connsiteY8" fmla="*/ 491282 h 1246175"/>
                <a:gd name="connsiteX9" fmla="*/ 763909 w 3689425"/>
                <a:gd name="connsiteY9" fmla="*/ 189189 h 1246175"/>
                <a:gd name="connsiteX10" fmla="*/ 0 w 3689425"/>
                <a:gd name="connsiteY10" fmla="*/ 0 h 1246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689425" h="1246175">
                  <a:moveTo>
                    <a:pt x="0" y="0"/>
                  </a:moveTo>
                  <a:cubicBezTo>
                    <a:pt x="0" y="0"/>
                    <a:pt x="0" y="0"/>
                    <a:pt x="62516" y="0"/>
                  </a:cubicBezTo>
                  <a:cubicBezTo>
                    <a:pt x="297330" y="65606"/>
                    <a:pt x="533669" y="119006"/>
                    <a:pt x="766959" y="172406"/>
                  </a:cubicBezTo>
                  <a:cubicBezTo>
                    <a:pt x="1135953" y="254795"/>
                    <a:pt x="1518670" y="340235"/>
                    <a:pt x="1880040" y="476024"/>
                  </a:cubicBezTo>
                  <a:cubicBezTo>
                    <a:pt x="2201766" y="595793"/>
                    <a:pt x="2523492" y="725479"/>
                    <a:pt x="2842931" y="859933"/>
                  </a:cubicBezTo>
                  <a:lnTo>
                    <a:pt x="3689425" y="1227826"/>
                  </a:lnTo>
                  <a:lnTo>
                    <a:pt x="3689425" y="1246175"/>
                  </a:lnTo>
                  <a:lnTo>
                    <a:pt x="2839882" y="877288"/>
                  </a:lnTo>
                  <a:cubicBezTo>
                    <a:pt x="2519681" y="742262"/>
                    <a:pt x="2197192" y="611813"/>
                    <a:pt x="1873941" y="491282"/>
                  </a:cubicBezTo>
                  <a:cubicBezTo>
                    <a:pt x="1512571" y="357018"/>
                    <a:pt x="1131379" y="271578"/>
                    <a:pt x="763909" y="189189"/>
                  </a:cubicBezTo>
                  <a:cubicBezTo>
                    <a:pt x="510798" y="131212"/>
                    <a:pt x="253112" y="73235"/>
                    <a:pt x="0" y="0"/>
                  </a:cubicBezTo>
                  <a:close/>
                </a:path>
              </a:pathLst>
            </a:custGeom>
            <a:solidFill>
              <a:srgbClr val="BEC0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92" name="Freeform: Shape 91"/>
            <p:cNvSpPr>
              <a:spLocks/>
            </p:cNvSpPr>
            <p:nvPr userDrawn="1"/>
          </p:nvSpPr>
          <p:spPr bwMode="auto">
            <a:xfrm>
              <a:off x="9318316" y="0"/>
              <a:ext cx="2874885" cy="1047517"/>
            </a:xfrm>
            <a:custGeom>
              <a:avLst/>
              <a:gdLst>
                <a:gd name="connsiteX0" fmla="*/ 0 w 2874885"/>
                <a:gd name="connsiteY0" fmla="*/ 0 h 1047517"/>
                <a:gd name="connsiteX1" fmla="*/ 74706 w 2874885"/>
                <a:gd name="connsiteY1" fmla="*/ 0 h 1047517"/>
                <a:gd name="connsiteX2" fmla="*/ 1137358 w 2874885"/>
                <a:gd name="connsiteY2" fmla="*/ 306963 h 1047517"/>
                <a:gd name="connsiteX3" fmla="*/ 2063176 w 2874885"/>
                <a:gd name="connsiteY3" fmla="*/ 677113 h 1047517"/>
                <a:gd name="connsiteX4" fmla="*/ 2874885 w 2874885"/>
                <a:gd name="connsiteY4" fmla="*/ 1029085 h 1047517"/>
                <a:gd name="connsiteX5" fmla="*/ 2874885 w 2874885"/>
                <a:gd name="connsiteY5" fmla="*/ 1047517 h 1047517"/>
                <a:gd name="connsiteX6" fmla="*/ 2060127 w 2874885"/>
                <a:gd name="connsiteY6" fmla="*/ 695057 h 1047517"/>
                <a:gd name="connsiteX7" fmla="*/ 1131259 w 2874885"/>
                <a:gd name="connsiteY7" fmla="*/ 322235 h 1047517"/>
                <a:gd name="connsiteX8" fmla="*/ 7623 w 2874885"/>
                <a:gd name="connsiteY8" fmla="*/ 1527 h 1047517"/>
                <a:gd name="connsiteX9" fmla="*/ 0 w 2874885"/>
                <a:gd name="connsiteY9" fmla="*/ 0 h 1047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74885" h="1047517">
                  <a:moveTo>
                    <a:pt x="0" y="0"/>
                  </a:moveTo>
                  <a:cubicBezTo>
                    <a:pt x="0" y="0"/>
                    <a:pt x="0" y="0"/>
                    <a:pt x="74706" y="0"/>
                  </a:cubicBezTo>
                  <a:cubicBezTo>
                    <a:pt x="428415" y="85522"/>
                    <a:pt x="791272" y="175626"/>
                    <a:pt x="1137358" y="306963"/>
                  </a:cubicBezTo>
                  <a:cubicBezTo>
                    <a:pt x="1446854" y="423029"/>
                    <a:pt x="1755968" y="547876"/>
                    <a:pt x="2063176" y="677113"/>
                  </a:cubicBezTo>
                  <a:lnTo>
                    <a:pt x="2874885" y="1029085"/>
                  </a:lnTo>
                  <a:lnTo>
                    <a:pt x="2874885" y="1047517"/>
                  </a:lnTo>
                  <a:lnTo>
                    <a:pt x="2060127" y="695057"/>
                  </a:lnTo>
                  <a:cubicBezTo>
                    <a:pt x="1751775" y="565438"/>
                    <a:pt x="1441517" y="439828"/>
                    <a:pt x="1131259" y="322235"/>
                  </a:cubicBezTo>
                  <a:cubicBezTo>
                    <a:pt x="765353" y="184789"/>
                    <a:pt x="379627" y="91631"/>
                    <a:pt x="7623" y="1527"/>
                  </a:cubicBezTo>
                  <a:cubicBezTo>
                    <a:pt x="4574" y="1527"/>
                    <a:pt x="3049" y="0"/>
                    <a:pt x="0" y="0"/>
                  </a:cubicBezTo>
                  <a:close/>
                </a:path>
              </a:pathLst>
            </a:custGeom>
            <a:solidFill>
              <a:srgbClr val="BDBF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88" name="Freeform: Shape 87"/>
            <p:cNvSpPr>
              <a:spLocks/>
            </p:cNvSpPr>
            <p:nvPr userDrawn="1"/>
          </p:nvSpPr>
          <p:spPr bwMode="auto">
            <a:xfrm>
              <a:off x="10070322" y="1"/>
              <a:ext cx="2122879" cy="848745"/>
            </a:xfrm>
            <a:custGeom>
              <a:avLst/>
              <a:gdLst>
                <a:gd name="connsiteX0" fmla="*/ 0 w 2122879"/>
                <a:gd name="connsiteY0" fmla="*/ 0 h 848745"/>
                <a:gd name="connsiteX1" fmla="*/ 59450 w 2122879"/>
                <a:gd name="connsiteY1" fmla="*/ 0 h 848745"/>
                <a:gd name="connsiteX2" fmla="*/ 457306 w 2122879"/>
                <a:gd name="connsiteY2" fmla="*/ 135875 h 848745"/>
                <a:gd name="connsiteX3" fmla="*/ 1346575 w 2122879"/>
                <a:gd name="connsiteY3" fmla="*/ 494263 h 848745"/>
                <a:gd name="connsiteX4" fmla="*/ 2122879 w 2122879"/>
                <a:gd name="connsiteY4" fmla="*/ 828990 h 848745"/>
                <a:gd name="connsiteX5" fmla="*/ 2122879 w 2122879"/>
                <a:gd name="connsiteY5" fmla="*/ 848745 h 848745"/>
                <a:gd name="connsiteX6" fmla="*/ 1343526 w 2122879"/>
                <a:gd name="connsiteY6" fmla="*/ 512010 h 848745"/>
                <a:gd name="connsiteX7" fmla="*/ 451208 w 2122879"/>
                <a:gd name="connsiteY7" fmla="*/ 152668 h 848745"/>
                <a:gd name="connsiteX8" fmla="*/ 0 w 2122879"/>
                <a:gd name="connsiteY8" fmla="*/ 0 h 848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22879" h="848745">
                  <a:moveTo>
                    <a:pt x="0" y="0"/>
                  </a:moveTo>
                  <a:cubicBezTo>
                    <a:pt x="0" y="0"/>
                    <a:pt x="0" y="0"/>
                    <a:pt x="59450" y="0"/>
                  </a:cubicBezTo>
                  <a:cubicBezTo>
                    <a:pt x="193593" y="41220"/>
                    <a:pt x="327736" y="85494"/>
                    <a:pt x="457306" y="135875"/>
                  </a:cubicBezTo>
                  <a:cubicBezTo>
                    <a:pt x="754555" y="249612"/>
                    <a:pt x="1051422" y="370220"/>
                    <a:pt x="1346575" y="494263"/>
                  </a:cubicBezTo>
                  <a:lnTo>
                    <a:pt x="2122879" y="828990"/>
                  </a:lnTo>
                  <a:lnTo>
                    <a:pt x="2122879" y="848745"/>
                  </a:lnTo>
                  <a:lnTo>
                    <a:pt x="1343526" y="512010"/>
                  </a:lnTo>
                  <a:cubicBezTo>
                    <a:pt x="1047230" y="387395"/>
                    <a:pt x="749219" y="266406"/>
                    <a:pt x="451208" y="152668"/>
                  </a:cubicBezTo>
                  <a:cubicBezTo>
                    <a:pt x="303346" y="96181"/>
                    <a:pt x="152435" y="45800"/>
                    <a:pt x="0" y="0"/>
                  </a:cubicBezTo>
                  <a:close/>
                </a:path>
              </a:pathLst>
            </a:custGeom>
            <a:solidFill>
              <a:srgbClr val="BDBF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90" name="Freeform: Shape 89"/>
            <p:cNvSpPr>
              <a:spLocks/>
            </p:cNvSpPr>
            <p:nvPr userDrawn="1"/>
          </p:nvSpPr>
          <p:spPr bwMode="auto">
            <a:xfrm>
              <a:off x="10636331" y="0"/>
              <a:ext cx="1556869" cy="650052"/>
            </a:xfrm>
            <a:custGeom>
              <a:avLst/>
              <a:gdLst>
                <a:gd name="connsiteX0" fmla="*/ 0 w 1556869"/>
                <a:gd name="connsiteY0" fmla="*/ 0 h 650052"/>
                <a:gd name="connsiteX1" fmla="*/ 48810 w 1556869"/>
                <a:gd name="connsiteY1" fmla="*/ 0 h 650052"/>
                <a:gd name="connsiteX2" fmla="*/ 858181 w 1556869"/>
                <a:gd name="connsiteY2" fmla="*/ 329785 h 650052"/>
                <a:gd name="connsiteX3" fmla="*/ 1556869 w 1556869"/>
                <a:gd name="connsiteY3" fmla="*/ 630286 h 650052"/>
                <a:gd name="connsiteX4" fmla="*/ 1556869 w 1556869"/>
                <a:gd name="connsiteY4" fmla="*/ 650052 h 650052"/>
                <a:gd name="connsiteX5" fmla="*/ 833776 w 1556869"/>
                <a:gd name="connsiteY5" fmla="*/ 338558 h 650052"/>
                <a:gd name="connsiteX6" fmla="*/ 0 w 1556869"/>
                <a:gd name="connsiteY6" fmla="*/ 0 h 650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56869" h="650052">
                  <a:moveTo>
                    <a:pt x="0" y="0"/>
                  </a:moveTo>
                  <a:cubicBezTo>
                    <a:pt x="0" y="0"/>
                    <a:pt x="0" y="0"/>
                    <a:pt x="48810" y="0"/>
                  </a:cubicBezTo>
                  <a:cubicBezTo>
                    <a:pt x="318791" y="106050"/>
                    <a:pt x="589154" y="216677"/>
                    <a:pt x="858181" y="329785"/>
                  </a:cubicBezTo>
                  <a:lnTo>
                    <a:pt x="1556869" y="630286"/>
                  </a:lnTo>
                  <a:lnTo>
                    <a:pt x="1556869" y="650052"/>
                  </a:lnTo>
                  <a:lnTo>
                    <a:pt x="833776" y="338558"/>
                  </a:lnTo>
                  <a:cubicBezTo>
                    <a:pt x="556741" y="222018"/>
                    <a:pt x="278371" y="108339"/>
                    <a:pt x="0" y="0"/>
                  </a:cubicBezTo>
                  <a:close/>
                </a:path>
              </a:pathLst>
            </a:custGeom>
            <a:solidFill>
              <a:srgbClr val="BCBE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86" name="Freeform: Shape 85"/>
            <p:cNvSpPr>
              <a:spLocks/>
            </p:cNvSpPr>
            <p:nvPr userDrawn="1"/>
          </p:nvSpPr>
          <p:spPr bwMode="auto">
            <a:xfrm>
              <a:off x="11128582" y="1"/>
              <a:ext cx="1064618" cy="451877"/>
            </a:xfrm>
            <a:custGeom>
              <a:avLst/>
              <a:gdLst>
                <a:gd name="connsiteX0" fmla="*/ 0 w 1064618"/>
                <a:gd name="connsiteY0" fmla="*/ 0 h 451877"/>
                <a:gd name="connsiteX1" fmla="*/ 47302 w 1064618"/>
                <a:gd name="connsiteY1" fmla="*/ 0 h 451877"/>
                <a:gd name="connsiteX2" fmla="*/ 609587 w 1064618"/>
                <a:gd name="connsiteY2" fmla="*/ 234961 h 451877"/>
                <a:gd name="connsiteX3" fmla="*/ 1064618 w 1064618"/>
                <a:gd name="connsiteY3" fmla="*/ 431330 h 451877"/>
                <a:gd name="connsiteX4" fmla="*/ 1064618 w 1064618"/>
                <a:gd name="connsiteY4" fmla="*/ 451877 h 451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4618" h="451877">
                  <a:moveTo>
                    <a:pt x="0" y="0"/>
                  </a:moveTo>
                  <a:cubicBezTo>
                    <a:pt x="0" y="0"/>
                    <a:pt x="0" y="0"/>
                    <a:pt x="47302" y="0"/>
                  </a:cubicBezTo>
                  <a:cubicBezTo>
                    <a:pt x="234985" y="76987"/>
                    <a:pt x="422667" y="155498"/>
                    <a:pt x="609587" y="234961"/>
                  </a:cubicBezTo>
                  <a:lnTo>
                    <a:pt x="1064618" y="431330"/>
                  </a:lnTo>
                  <a:lnTo>
                    <a:pt x="1064618" y="451877"/>
                  </a:lnTo>
                  <a:close/>
                </a:path>
              </a:pathLst>
            </a:custGeom>
            <a:solidFill>
              <a:srgbClr val="BCBE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81" name="Freeform: Shape 80"/>
            <p:cNvSpPr>
              <a:spLocks/>
            </p:cNvSpPr>
            <p:nvPr userDrawn="1"/>
          </p:nvSpPr>
          <p:spPr bwMode="auto">
            <a:xfrm>
              <a:off x="11599989" y="0"/>
              <a:ext cx="593211" cy="254233"/>
            </a:xfrm>
            <a:custGeom>
              <a:avLst/>
              <a:gdLst>
                <a:gd name="connsiteX0" fmla="*/ 0 w 593211"/>
                <a:gd name="connsiteY0" fmla="*/ 0 h 254233"/>
                <a:gd name="connsiteX1" fmla="*/ 47308 w 593211"/>
                <a:gd name="connsiteY1" fmla="*/ 0 h 254233"/>
                <a:gd name="connsiteX2" fmla="*/ 593211 w 593211"/>
                <a:gd name="connsiteY2" fmla="*/ 234288 h 254233"/>
                <a:gd name="connsiteX3" fmla="*/ 593211 w 593211"/>
                <a:gd name="connsiteY3" fmla="*/ 254233 h 254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3211" h="254233">
                  <a:moveTo>
                    <a:pt x="0" y="0"/>
                  </a:moveTo>
                  <a:cubicBezTo>
                    <a:pt x="0" y="0"/>
                    <a:pt x="0" y="0"/>
                    <a:pt x="47308" y="0"/>
                  </a:cubicBezTo>
                  <a:lnTo>
                    <a:pt x="593211" y="234288"/>
                  </a:lnTo>
                  <a:lnTo>
                    <a:pt x="593211" y="254233"/>
                  </a:lnTo>
                  <a:close/>
                </a:path>
              </a:pathLst>
            </a:custGeom>
            <a:solidFill>
              <a:srgbClr val="BBBD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83" name="Freeform: Shape 82"/>
            <p:cNvSpPr>
              <a:spLocks/>
            </p:cNvSpPr>
            <p:nvPr userDrawn="1"/>
          </p:nvSpPr>
          <p:spPr bwMode="auto">
            <a:xfrm>
              <a:off x="12063380" y="0"/>
              <a:ext cx="129821" cy="55510"/>
            </a:xfrm>
            <a:custGeom>
              <a:avLst/>
              <a:gdLst>
                <a:gd name="connsiteX0" fmla="*/ 0 w 129821"/>
                <a:gd name="connsiteY0" fmla="*/ 0 h 55510"/>
                <a:gd name="connsiteX1" fmla="*/ 47417 w 129821"/>
                <a:gd name="connsiteY1" fmla="*/ 0 h 55510"/>
                <a:gd name="connsiteX2" fmla="*/ 129821 w 129821"/>
                <a:gd name="connsiteY2" fmla="*/ 35410 h 55510"/>
                <a:gd name="connsiteX3" fmla="*/ 129821 w 129821"/>
                <a:gd name="connsiteY3" fmla="*/ 55510 h 55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821" h="55510">
                  <a:moveTo>
                    <a:pt x="0" y="0"/>
                  </a:moveTo>
                  <a:cubicBezTo>
                    <a:pt x="0" y="0"/>
                    <a:pt x="0" y="0"/>
                    <a:pt x="47417" y="0"/>
                  </a:cubicBezTo>
                  <a:lnTo>
                    <a:pt x="129821" y="35410"/>
                  </a:lnTo>
                  <a:lnTo>
                    <a:pt x="129821" y="55510"/>
                  </a:lnTo>
                  <a:close/>
                </a:path>
              </a:pathLst>
            </a:custGeom>
            <a:solidFill>
              <a:srgbClr val="BBBD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30" name="Freeform 19"/>
            <p:cNvSpPr>
              <a:spLocks/>
            </p:cNvSpPr>
            <p:nvPr userDrawn="1"/>
          </p:nvSpPr>
          <p:spPr bwMode="auto">
            <a:xfrm>
              <a:off x="-792" y="6070568"/>
              <a:ext cx="218066" cy="91396"/>
            </a:xfrm>
            <a:custGeom>
              <a:avLst/>
              <a:gdLst>
                <a:gd name="T0" fmla="*/ 0 w 143"/>
                <a:gd name="T1" fmla="*/ 0 h 60"/>
                <a:gd name="T2" fmla="*/ 0 w 143"/>
                <a:gd name="T3" fmla="*/ 2 h 60"/>
                <a:gd name="T4" fmla="*/ 138 w 143"/>
                <a:gd name="T5" fmla="*/ 60 h 60"/>
                <a:gd name="T6" fmla="*/ 143 w 143"/>
                <a:gd name="T7" fmla="*/ 59 h 60"/>
                <a:gd name="T8" fmla="*/ 0 w 143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60">
                  <a:moveTo>
                    <a:pt x="0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46" y="22"/>
                    <a:pt x="92" y="41"/>
                    <a:pt x="138" y="60"/>
                  </a:cubicBezTo>
                  <a:cubicBezTo>
                    <a:pt x="143" y="59"/>
                    <a:pt x="143" y="59"/>
                    <a:pt x="143" y="59"/>
                  </a:cubicBezTo>
                  <a:cubicBezTo>
                    <a:pt x="95" y="40"/>
                    <a:pt x="48" y="20"/>
                    <a:pt x="0" y="0"/>
                  </a:cubicBezTo>
                  <a:close/>
                </a:path>
              </a:pathLst>
            </a:custGeom>
            <a:solidFill>
              <a:srgbClr val="D6D8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1" name="Freeform 20"/>
            <p:cNvSpPr>
              <a:spLocks/>
            </p:cNvSpPr>
            <p:nvPr userDrawn="1"/>
          </p:nvSpPr>
          <p:spPr bwMode="auto">
            <a:xfrm>
              <a:off x="-792" y="5838072"/>
              <a:ext cx="582044" cy="259755"/>
            </a:xfrm>
            <a:custGeom>
              <a:avLst/>
              <a:gdLst>
                <a:gd name="T0" fmla="*/ 77 w 381"/>
                <a:gd name="T1" fmla="*/ 35 h 170"/>
                <a:gd name="T2" fmla="*/ 0 w 381"/>
                <a:gd name="T3" fmla="*/ 0 h 170"/>
                <a:gd name="T4" fmla="*/ 0 w 381"/>
                <a:gd name="T5" fmla="*/ 3 h 170"/>
                <a:gd name="T6" fmla="*/ 75 w 381"/>
                <a:gd name="T7" fmla="*/ 37 h 170"/>
                <a:gd name="T8" fmla="*/ 376 w 381"/>
                <a:gd name="T9" fmla="*/ 170 h 170"/>
                <a:gd name="T10" fmla="*/ 381 w 381"/>
                <a:gd name="T11" fmla="*/ 170 h 170"/>
                <a:gd name="T12" fmla="*/ 77 w 381"/>
                <a:gd name="T13" fmla="*/ 35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1" h="170">
                  <a:moveTo>
                    <a:pt x="77" y="35"/>
                  </a:moveTo>
                  <a:cubicBezTo>
                    <a:pt x="51" y="23"/>
                    <a:pt x="26" y="12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6" y="14"/>
                    <a:pt x="51" y="26"/>
                    <a:pt x="75" y="37"/>
                  </a:cubicBezTo>
                  <a:cubicBezTo>
                    <a:pt x="174" y="82"/>
                    <a:pt x="274" y="127"/>
                    <a:pt x="376" y="170"/>
                  </a:cubicBezTo>
                  <a:cubicBezTo>
                    <a:pt x="381" y="170"/>
                    <a:pt x="381" y="170"/>
                    <a:pt x="381" y="170"/>
                  </a:cubicBezTo>
                  <a:cubicBezTo>
                    <a:pt x="278" y="126"/>
                    <a:pt x="177" y="80"/>
                    <a:pt x="77" y="35"/>
                  </a:cubicBezTo>
                  <a:close/>
                </a:path>
              </a:pathLst>
            </a:custGeom>
            <a:solidFill>
              <a:srgbClr val="D6D7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2" name="Freeform 21"/>
            <p:cNvSpPr>
              <a:spLocks/>
            </p:cNvSpPr>
            <p:nvPr userDrawn="1"/>
          </p:nvSpPr>
          <p:spPr bwMode="auto">
            <a:xfrm>
              <a:off x="-792" y="5637644"/>
              <a:ext cx="920366" cy="400856"/>
            </a:xfrm>
            <a:custGeom>
              <a:avLst/>
              <a:gdLst>
                <a:gd name="T0" fmla="*/ 116 w 603"/>
                <a:gd name="T1" fmla="*/ 53 h 263"/>
                <a:gd name="T2" fmla="*/ 0 w 603"/>
                <a:gd name="T3" fmla="*/ 0 h 263"/>
                <a:gd name="T4" fmla="*/ 0 w 603"/>
                <a:gd name="T5" fmla="*/ 3 h 263"/>
                <a:gd name="T6" fmla="*/ 115 w 603"/>
                <a:gd name="T7" fmla="*/ 56 h 263"/>
                <a:gd name="T8" fmla="*/ 597 w 603"/>
                <a:gd name="T9" fmla="*/ 263 h 263"/>
                <a:gd name="T10" fmla="*/ 603 w 603"/>
                <a:gd name="T11" fmla="*/ 262 h 263"/>
                <a:gd name="T12" fmla="*/ 116 w 603"/>
                <a:gd name="T13" fmla="*/ 53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3" h="263">
                  <a:moveTo>
                    <a:pt x="116" y="53"/>
                  </a:moveTo>
                  <a:cubicBezTo>
                    <a:pt x="78" y="36"/>
                    <a:pt x="39" y="18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9" y="21"/>
                    <a:pt x="77" y="38"/>
                    <a:pt x="115" y="56"/>
                  </a:cubicBezTo>
                  <a:cubicBezTo>
                    <a:pt x="273" y="128"/>
                    <a:pt x="434" y="202"/>
                    <a:pt x="597" y="263"/>
                  </a:cubicBezTo>
                  <a:cubicBezTo>
                    <a:pt x="603" y="262"/>
                    <a:pt x="603" y="262"/>
                    <a:pt x="603" y="262"/>
                  </a:cubicBezTo>
                  <a:cubicBezTo>
                    <a:pt x="438" y="201"/>
                    <a:pt x="275" y="126"/>
                    <a:pt x="116" y="53"/>
                  </a:cubicBezTo>
                  <a:close/>
                </a:path>
              </a:pathLst>
            </a:custGeom>
            <a:solidFill>
              <a:srgbClr val="D5D7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3" name="Freeform 22"/>
            <p:cNvSpPr>
              <a:spLocks/>
            </p:cNvSpPr>
            <p:nvPr userDrawn="1"/>
          </p:nvSpPr>
          <p:spPr bwMode="auto">
            <a:xfrm>
              <a:off x="-792" y="5435612"/>
              <a:ext cx="1308395" cy="535544"/>
            </a:xfrm>
            <a:custGeom>
              <a:avLst/>
              <a:gdLst>
                <a:gd name="T0" fmla="*/ 158 w 858"/>
                <a:gd name="T1" fmla="*/ 72 h 351"/>
                <a:gd name="T2" fmla="*/ 0 w 858"/>
                <a:gd name="T3" fmla="*/ 0 h 351"/>
                <a:gd name="T4" fmla="*/ 0 w 858"/>
                <a:gd name="T5" fmla="*/ 4 h 351"/>
                <a:gd name="T6" fmla="*/ 157 w 858"/>
                <a:gd name="T7" fmla="*/ 75 h 351"/>
                <a:gd name="T8" fmla="*/ 850 w 858"/>
                <a:gd name="T9" fmla="*/ 351 h 351"/>
                <a:gd name="T10" fmla="*/ 858 w 858"/>
                <a:gd name="T11" fmla="*/ 350 h 351"/>
                <a:gd name="T12" fmla="*/ 158 w 858"/>
                <a:gd name="T13" fmla="*/ 72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8" h="351">
                  <a:moveTo>
                    <a:pt x="158" y="72"/>
                  </a:moveTo>
                  <a:cubicBezTo>
                    <a:pt x="106" y="48"/>
                    <a:pt x="53" y="24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53" y="27"/>
                    <a:pt x="105" y="51"/>
                    <a:pt x="157" y="75"/>
                  </a:cubicBezTo>
                  <a:cubicBezTo>
                    <a:pt x="382" y="179"/>
                    <a:pt x="614" y="287"/>
                    <a:pt x="850" y="351"/>
                  </a:cubicBezTo>
                  <a:cubicBezTo>
                    <a:pt x="858" y="350"/>
                    <a:pt x="858" y="350"/>
                    <a:pt x="858" y="350"/>
                  </a:cubicBezTo>
                  <a:cubicBezTo>
                    <a:pt x="619" y="286"/>
                    <a:pt x="385" y="177"/>
                    <a:pt x="158" y="72"/>
                  </a:cubicBezTo>
                  <a:close/>
                </a:path>
              </a:pathLst>
            </a:custGeom>
            <a:solidFill>
              <a:srgbClr val="D5D6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4" name="Freeform 23"/>
            <p:cNvSpPr>
              <a:spLocks/>
            </p:cNvSpPr>
            <p:nvPr userDrawn="1"/>
          </p:nvSpPr>
          <p:spPr bwMode="auto">
            <a:xfrm>
              <a:off x="-792" y="5233581"/>
              <a:ext cx="1858370" cy="642973"/>
            </a:xfrm>
            <a:custGeom>
              <a:avLst/>
              <a:gdLst>
                <a:gd name="T0" fmla="*/ 944 w 1218"/>
                <a:gd name="T1" fmla="*/ 377 h 421"/>
                <a:gd name="T2" fmla="*/ 201 w 1218"/>
                <a:gd name="T3" fmla="*/ 92 h 421"/>
                <a:gd name="T4" fmla="*/ 0 w 1218"/>
                <a:gd name="T5" fmla="*/ 0 h 421"/>
                <a:gd name="T6" fmla="*/ 0 w 1218"/>
                <a:gd name="T7" fmla="*/ 4 h 421"/>
                <a:gd name="T8" fmla="*/ 199 w 1218"/>
                <a:gd name="T9" fmla="*/ 95 h 421"/>
                <a:gd name="T10" fmla="*/ 943 w 1218"/>
                <a:gd name="T11" fmla="*/ 380 h 421"/>
                <a:gd name="T12" fmla="*/ 1205 w 1218"/>
                <a:gd name="T13" fmla="*/ 421 h 421"/>
                <a:gd name="T14" fmla="*/ 1218 w 1218"/>
                <a:gd name="T15" fmla="*/ 418 h 421"/>
                <a:gd name="T16" fmla="*/ 944 w 1218"/>
                <a:gd name="T17" fmla="*/ 377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18" h="421">
                  <a:moveTo>
                    <a:pt x="944" y="377"/>
                  </a:moveTo>
                  <a:cubicBezTo>
                    <a:pt x="691" y="321"/>
                    <a:pt x="442" y="204"/>
                    <a:pt x="201" y="92"/>
                  </a:cubicBezTo>
                  <a:cubicBezTo>
                    <a:pt x="135" y="61"/>
                    <a:pt x="67" y="3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67" y="33"/>
                    <a:pt x="134" y="65"/>
                    <a:pt x="199" y="95"/>
                  </a:cubicBezTo>
                  <a:cubicBezTo>
                    <a:pt x="441" y="208"/>
                    <a:pt x="690" y="324"/>
                    <a:pt x="943" y="380"/>
                  </a:cubicBezTo>
                  <a:cubicBezTo>
                    <a:pt x="1030" y="399"/>
                    <a:pt x="1117" y="412"/>
                    <a:pt x="1205" y="421"/>
                  </a:cubicBezTo>
                  <a:cubicBezTo>
                    <a:pt x="1218" y="418"/>
                    <a:pt x="1218" y="418"/>
                    <a:pt x="1218" y="418"/>
                  </a:cubicBezTo>
                  <a:cubicBezTo>
                    <a:pt x="1126" y="410"/>
                    <a:pt x="1034" y="397"/>
                    <a:pt x="944" y="377"/>
                  </a:cubicBezTo>
                  <a:close/>
                </a:path>
              </a:pathLst>
            </a:custGeom>
            <a:solidFill>
              <a:srgbClr val="D4D6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5" name="Freeform 24"/>
            <p:cNvSpPr>
              <a:spLocks/>
            </p:cNvSpPr>
            <p:nvPr userDrawn="1"/>
          </p:nvSpPr>
          <p:spPr bwMode="auto">
            <a:xfrm>
              <a:off x="-792" y="5034756"/>
              <a:ext cx="3202040" cy="710317"/>
            </a:xfrm>
            <a:custGeom>
              <a:avLst/>
              <a:gdLst>
                <a:gd name="T0" fmla="*/ 2068 w 2100"/>
                <a:gd name="T1" fmla="*/ 397 h 466"/>
                <a:gd name="T2" fmla="*/ 994 w 2100"/>
                <a:gd name="T3" fmla="*/ 394 h 466"/>
                <a:gd name="T4" fmla="*/ 245 w 2100"/>
                <a:gd name="T5" fmla="*/ 111 h 466"/>
                <a:gd name="T6" fmla="*/ 0 w 2100"/>
                <a:gd name="T7" fmla="*/ 0 h 466"/>
                <a:gd name="T8" fmla="*/ 0 w 2100"/>
                <a:gd name="T9" fmla="*/ 3 h 466"/>
                <a:gd name="T10" fmla="*/ 243 w 2100"/>
                <a:gd name="T11" fmla="*/ 114 h 466"/>
                <a:gd name="T12" fmla="*/ 994 w 2100"/>
                <a:gd name="T13" fmla="*/ 397 h 466"/>
                <a:gd name="T14" fmla="*/ 2059 w 2100"/>
                <a:gd name="T15" fmla="*/ 402 h 466"/>
                <a:gd name="T16" fmla="*/ 2100 w 2100"/>
                <a:gd name="T17" fmla="*/ 394 h 466"/>
                <a:gd name="T18" fmla="*/ 2068 w 2100"/>
                <a:gd name="T19" fmla="*/ 397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00" h="466">
                  <a:moveTo>
                    <a:pt x="2068" y="397"/>
                  </a:moveTo>
                  <a:cubicBezTo>
                    <a:pt x="1712" y="430"/>
                    <a:pt x="1344" y="463"/>
                    <a:pt x="994" y="394"/>
                  </a:cubicBezTo>
                  <a:cubicBezTo>
                    <a:pt x="740" y="343"/>
                    <a:pt x="488" y="225"/>
                    <a:pt x="245" y="111"/>
                  </a:cubicBezTo>
                  <a:cubicBezTo>
                    <a:pt x="164" y="74"/>
                    <a:pt x="81" y="35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81" y="38"/>
                    <a:pt x="163" y="77"/>
                    <a:pt x="243" y="114"/>
                  </a:cubicBezTo>
                  <a:cubicBezTo>
                    <a:pt x="487" y="229"/>
                    <a:pt x="738" y="347"/>
                    <a:pt x="994" y="397"/>
                  </a:cubicBezTo>
                  <a:cubicBezTo>
                    <a:pt x="1340" y="466"/>
                    <a:pt x="1705" y="434"/>
                    <a:pt x="2059" y="402"/>
                  </a:cubicBezTo>
                  <a:cubicBezTo>
                    <a:pt x="2100" y="394"/>
                    <a:pt x="2100" y="394"/>
                    <a:pt x="2100" y="394"/>
                  </a:cubicBezTo>
                  <a:cubicBezTo>
                    <a:pt x="2089" y="395"/>
                    <a:pt x="2078" y="396"/>
                    <a:pt x="2068" y="397"/>
                  </a:cubicBezTo>
                  <a:close/>
                </a:path>
              </a:pathLst>
            </a:custGeom>
            <a:solidFill>
              <a:srgbClr val="D4D5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8" name="Freeform: Shape 77"/>
            <p:cNvSpPr>
              <a:spLocks/>
            </p:cNvSpPr>
            <p:nvPr userDrawn="1"/>
          </p:nvSpPr>
          <p:spPr bwMode="auto">
            <a:xfrm>
              <a:off x="-1" y="29070"/>
              <a:ext cx="10203407" cy="4377143"/>
            </a:xfrm>
            <a:custGeom>
              <a:avLst/>
              <a:gdLst>
                <a:gd name="connsiteX0" fmla="*/ 0 w 10204800"/>
                <a:gd name="connsiteY0" fmla="*/ 0 h 4377740"/>
                <a:gd name="connsiteX1" fmla="*/ 12323 w 10204800"/>
                <a:gd name="connsiteY1" fmla="*/ 5280 h 4377740"/>
                <a:gd name="connsiteX2" fmla="*/ 1762640 w 10204800"/>
                <a:gd name="connsiteY2" fmla="*/ 755145 h 4377740"/>
                <a:gd name="connsiteX3" fmla="*/ 2185053 w 10204800"/>
                <a:gd name="connsiteY3" fmla="*/ 952075 h 4377740"/>
                <a:gd name="connsiteX4" fmla="*/ 3302846 w 10204800"/>
                <a:gd name="connsiteY4" fmla="*/ 1368834 h 4377740"/>
                <a:gd name="connsiteX5" fmla="*/ 4754605 w 10204800"/>
                <a:gd name="connsiteY5" fmla="*/ 1139845 h 4377740"/>
                <a:gd name="connsiteX6" fmla="*/ 5045872 w 10204800"/>
                <a:gd name="connsiteY6" fmla="*/ 1051303 h 4377740"/>
                <a:gd name="connsiteX7" fmla="*/ 5103820 w 10204800"/>
                <a:gd name="connsiteY7" fmla="*/ 1034511 h 4377740"/>
                <a:gd name="connsiteX8" fmla="*/ 6657751 w 10204800"/>
                <a:gd name="connsiteY8" fmla="*/ 930703 h 4377740"/>
                <a:gd name="connsiteX9" fmla="*/ 7763344 w 10204800"/>
                <a:gd name="connsiteY9" fmla="*/ 2187085 h 4377740"/>
                <a:gd name="connsiteX10" fmla="*/ 7827393 w 10204800"/>
                <a:gd name="connsiteY10" fmla="*/ 2300053 h 4377740"/>
                <a:gd name="connsiteX11" fmla="*/ 7960064 w 10204800"/>
                <a:gd name="connsiteY11" fmla="*/ 2535147 h 4377740"/>
                <a:gd name="connsiteX12" fmla="*/ 8937561 w 10204800"/>
                <a:gd name="connsiteY12" fmla="*/ 3800690 h 4377740"/>
                <a:gd name="connsiteX13" fmla="*/ 10005031 w 10204800"/>
                <a:gd name="connsiteY13" fmla="*/ 4296831 h 4377740"/>
                <a:gd name="connsiteX14" fmla="*/ 10204800 w 10204800"/>
                <a:gd name="connsiteY14" fmla="*/ 4373160 h 4377740"/>
                <a:gd name="connsiteX15" fmla="*/ 10181926 w 10204800"/>
                <a:gd name="connsiteY15" fmla="*/ 4377740 h 4377740"/>
                <a:gd name="connsiteX16" fmla="*/ 10000456 w 10204800"/>
                <a:gd name="connsiteY16" fmla="*/ 4307517 h 4377740"/>
                <a:gd name="connsiteX17" fmla="*/ 8931461 w 10204800"/>
                <a:gd name="connsiteY17" fmla="*/ 3809849 h 4377740"/>
                <a:gd name="connsiteX18" fmla="*/ 7949389 w 10204800"/>
                <a:gd name="connsiteY18" fmla="*/ 2541254 h 4377740"/>
                <a:gd name="connsiteX19" fmla="*/ 7816718 w 10204800"/>
                <a:gd name="connsiteY19" fmla="*/ 2306159 h 4377740"/>
                <a:gd name="connsiteX20" fmla="*/ 7752670 w 10204800"/>
                <a:gd name="connsiteY20" fmla="*/ 2193192 h 4377740"/>
                <a:gd name="connsiteX21" fmla="*/ 6653176 w 10204800"/>
                <a:gd name="connsiteY21" fmla="*/ 941389 h 4377740"/>
                <a:gd name="connsiteX22" fmla="*/ 5106870 w 10204800"/>
                <a:gd name="connsiteY22" fmla="*/ 1045197 h 4377740"/>
                <a:gd name="connsiteX23" fmla="*/ 5048921 w 10204800"/>
                <a:gd name="connsiteY23" fmla="*/ 1063516 h 4377740"/>
                <a:gd name="connsiteX24" fmla="*/ 4759180 w 10204800"/>
                <a:gd name="connsiteY24" fmla="*/ 1152058 h 4377740"/>
                <a:gd name="connsiteX25" fmla="*/ 3299796 w 10204800"/>
                <a:gd name="connsiteY25" fmla="*/ 1381046 h 4377740"/>
                <a:gd name="connsiteX26" fmla="*/ 2180478 w 10204800"/>
                <a:gd name="connsiteY26" fmla="*/ 962761 h 4377740"/>
                <a:gd name="connsiteX27" fmla="*/ 1758065 w 10204800"/>
                <a:gd name="connsiteY27" fmla="*/ 765831 h 4377740"/>
                <a:gd name="connsiteX28" fmla="*/ 292956 w 10204800"/>
                <a:gd name="connsiteY28" fmla="*/ 138154 h 4377740"/>
                <a:gd name="connsiteX29" fmla="*/ 0 w 10204800"/>
                <a:gd name="connsiteY29" fmla="*/ 12647 h 4377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204800" h="4377740">
                  <a:moveTo>
                    <a:pt x="0" y="0"/>
                  </a:moveTo>
                  <a:lnTo>
                    <a:pt x="12323" y="5280"/>
                  </a:lnTo>
                  <a:cubicBezTo>
                    <a:pt x="95671" y="40988"/>
                    <a:pt x="429065" y="183819"/>
                    <a:pt x="1762640" y="755145"/>
                  </a:cubicBezTo>
                  <a:cubicBezTo>
                    <a:pt x="1899886" y="813155"/>
                    <a:pt x="2038657" y="880325"/>
                    <a:pt x="2185053" y="952075"/>
                  </a:cubicBezTo>
                  <a:cubicBezTo>
                    <a:pt x="2551042" y="1127633"/>
                    <a:pt x="2929232" y="1310823"/>
                    <a:pt x="3302846" y="1368834"/>
                  </a:cubicBezTo>
                  <a:cubicBezTo>
                    <a:pt x="3784732" y="1443636"/>
                    <a:pt x="4278818" y="1289451"/>
                    <a:pt x="4754605" y="1139845"/>
                  </a:cubicBezTo>
                  <a:cubicBezTo>
                    <a:pt x="4855252" y="1109313"/>
                    <a:pt x="4949799" y="1078782"/>
                    <a:pt x="5045872" y="1051303"/>
                  </a:cubicBezTo>
                  <a:cubicBezTo>
                    <a:pt x="5045872" y="1051303"/>
                    <a:pt x="5045872" y="1051303"/>
                    <a:pt x="5103820" y="1034511"/>
                  </a:cubicBezTo>
                  <a:cubicBezTo>
                    <a:pt x="5602481" y="887958"/>
                    <a:pt x="6169765" y="723087"/>
                    <a:pt x="6657751" y="930703"/>
                  </a:cubicBezTo>
                  <a:cubicBezTo>
                    <a:pt x="7173186" y="1149005"/>
                    <a:pt x="7487327" y="1700103"/>
                    <a:pt x="7763344" y="2187085"/>
                  </a:cubicBezTo>
                  <a:cubicBezTo>
                    <a:pt x="7784694" y="2225250"/>
                    <a:pt x="7806043" y="2263415"/>
                    <a:pt x="7827393" y="2300053"/>
                  </a:cubicBezTo>
                  <a:cubicBezTo>
                    <a:pt x="7871616" y="2376382"/>
                    <a:pt x="7914315" y="2454238"/>
                    <a:pt x="7960064" y="2535147"/>
                  </a:cubicBezTo>
                  <a:cubicBezTo>
                    <a:pt x="8223881" y="3012970"/>
                    <a:pt x="8498373" y="3506058"/>
                    <a:pt x="8937561" y="3800690"/>
                  </a:cubicBezTo>
                  <a:cubicBezTo>
                    <a:pt x="9250177" y="4011359"/>
                    <a:pt x="9632941" y="4156385"/>
                    <a:pt x="10005031" y="4296831"/>
                  </a:cubicBezTo>
                  <a:cubicBezTo>
                    <a:pt x="10072129" y="4322783"/>
                    <a:pt x="10139227" y="4347208"/>
                    <a:pt x="10204800" y="4373160"/>
                  </a:cubicBezTo>
                  <a:cubicBezTo>
                    <a:pt x="10204800" y="4373160"/>
                    <a:pt x="10204800" y="4373160"/>
                    <a:pt x="10181926" y="4377740"/>
                  </a:cubicBezTo>
                  <a:cubicBezTo>
                    <a:pt x="10122452" y="4354841"/>
                    <a:pt x="10061454" y="4331943"/>
                    <a:pt x="10000456" y="4307517"/>
                  </a:cubicBezTo>
                  <a:cubicBezTo>
                    <a:pt x="9628366" y="4167071"/>
                    <a:pt x="9244077" y="4022045"/>
                    <a:pt x="8931461" y="3809849"/>
                  </a:cubicBezTo>
                  <a:cubicBezTo>
                    <a:pt x="8489224" y="3513691"/>
                    <a:pt x="8214732" y="3019076"/>
                    <a:pt x="7949389" y="2541254"/>
                  </a:cubicBezTo>
                  <a:cubicBezTo>
                    <a:pt x="7903641" y="2460345"/>
                    <a:pt x="7860942" y="2382489"/>
                    <a:pt x="7816718" y="2306159"/>
                  </a:cubicBezTo>
                  <a:cubicBezTo>
                    <a:pt x="7795369" y="2269521"/>
                    <a:pt x="7774019" y="2231356"/>
                    <a:pt x="7752670" y="2193192"/>
                  </a:cubicBezTo>
                  <a:cubicBezTo>
                    <a:pt x="7478178" y="1707736"/>
                    <a:pt x="7165561" y="1158164"/>
                    <a:pt x="6653176" y="941389"/>
                  </a:cubicBezTo>
                  <a:cubicBezTo>
                    <a:pt x="6168240" y="735299"/>
                    <a:pt x="5604006" y="900171"/>
                    <a:pt x="5106870" y="1045197"/>
                  </a:cubicBezTo>
                  <a:cubicBezTo>
                    <a:pt x="5106870" y="1045197"/>
                    <a:pt x="5106870" y="1045197"/>
                    <a:pt x="5048921" y="1063516"/>
                  </a:cubicBezTo>
                  <a:cubicBezTo>
                    <a:pt x="4954374" y="1090995"/>
                    <a:pt x="4858302" y="1120000"/>
                    <a:pt x="4759180" y="1152058"/>
                  </a:cubicBezTo>
                  <a:cubicBezTo>
                    <a:pt x="4280343" y="1301664"/>
                    <a:pt x="3786257" y="1455849"/>
                    <a:pt x="3299796" y="1381046"/>
                  </a:cubicBezTo>
                  <a:cubicBezTo>
                    <a:pt x="2926182" y="1323036"/>
                    <a:pt x="2546468" y="1139845"/>
                    <a:pt x="2180478" y="962761"/>
                  </a:cubicBezTo>
                  <a:cubicBezTo>
                    <a:pt x="2032557" y="891011"/>
                    <a:pt x="1895311" y="823841"/>
                    <a:pt x="1758065" y="765831"/>
                  </a:cubicBezTo>
                  <a:cubicBezTo>
                    <a:pt x="1758065" y="765831"/>
                    <a:pt x="1758065" y="765831"/>
                    <a:pt x="292956" y="138154"/>
                  </a:cubicBezTo>
                  <a:lnTo>
                    <a:pt x="0" y="12647"/>
                  </a:lnTo>
                  <a:close/>
                </a:path>
              </a:pathLst>
            </a:custGeom>
            <a:solidFill>
              <a:srgbClr val="C8C9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37" name="Freeform 26"/>
            <p:cNvSpPr>
              <a:spLocks/>
            </p:cNvSpPr>
            <p:nvPr userDrawn="1"/>
          </p:nvSpPr>
          <p:spPr bwMode="auto">
            <a:xfrm>
              <a:off x="366392" y="0"/>
              <a:ext cx="10178543" cy="4345283"/>
            </a:xfrm>
            <a:custGeom>
              <a:avLst/>
              <a:gdLst>
                <a:gd name="T0" fmla="*/ 6673 w 6676"/>
                <a:gd name="T1" fmla="*/ 2843 h 2847"/>
                <a:gd name="T2" fmla="*/ 6368 w 6676"/>
                <a:gd name="T3" fmla="*/ 2722 h 2847"/>
                <a:gd name="T4" fmla="*/ 5668 w 6676"/>
                <a:gd name="T5" fmla="*/ 2398 h 2847"/>
                <a:gd name="T6" fmla="*/ 5018 w 6676"/>
                <a:gd name="T7" fmla="*/ 1599 h 2847"/>
                <a:gd name="T8" fmla="*/ 4934 w 6676"/>
                <a:gd name="T9" fmla="*/ 1458 h 2847"/>
                <a:gd name="T10" fmla="*/ 4897 w 6676"/>
                <a:gd name="T11" fmla="*/ 1398 h 2847"/>
                <a:gd name="T12" fmla="*/ 4161 w 6676"/>
                <a:gd name="T13" fmla="*/ 597 h 2847"/>
                <a:gd name="T14" fmla="*/ 3146 w 6676"/>
                <a:gd name="T15" fmla="*/ 634 h 2847"/>
                <a:gd name="T16" fmla="*/ 3109 w 6676"/>
                <a:gd name="T17" fmla="*/ 643 h 2847"/>
                <a:gd name="T18" fmla="*/ 2921 w 6676"/>
                <a:gd name="T19" fmla="*/ 692 h 2847"/>
                <a:gd name="T20" fmla="*/ 1972 w 6676"/>
                <a:gd name="T21" fmla="*/ 806 h 2847"/>
                <a:gd name="T22" fmla="*/ 1241 w 6676"/>
                <a:gd name="T23" fmla="*/ 531 h 2847"/>
                <a:gd name="T24" fmla="*/ 963 w 6676"/>
                <a:gd name="T25" fmla="*/ 403 h 2847"/>
                <a:gd name="T26" fmla="*/ 21 w 6676"/>
                <a:gd name="T27" fmla="*/ 0 h 2847"/>
                <a:gd name="T28" fmla="*/ 0 w 6676"/>
                <a:gd name="T29" fmla="*/ 0 h 2847"/>
                <a:gd name="T30" fmla="*/ 960 w 6676"/>
                <a:gd name="T31" fmla="*/ 410 h 2847"/>
                <a:gd name="T32" fmla="*/ 1238 w 6676"/>
                <a:gd name="T33" fmla="*/ 539 h 2847"/>
                <a:gd name="T34" fmla="*/ 1971 w 6676"/>
                <a:gd name="T35" fmla="*/ 814 h 2847"/>
                <a:gd name="T36" fmla="*/ 2923 w 6676"/>
                <a:gd name="T37" fmla="*/ 699 h 2847"/>
                <a:gd name="T38" fmla="*/ 3111 w 6676"/>
                <a:gd name="T39" fmla="*/ 651 h 2847"/>
                <a:gd name="T40" fmla="*/ 3148 w 6676"/>
                <a:gd name="T41" fmla="*/ 642 h 2847"/>
                <a:gd name="T42" fmla="*/ 4158 w 6676"/>
                <a:gd name="T43" fmla="*/ 604 h 2847"/>
                <a:gd name="T44" fmla="*/ 4890 w 6676"/>
                <a:gd name="T45" fmla="*/ 1402 h 2847"/>
                <a:gd name="T46" fmla="*/ 4927 w 6676"/>
                <a:gd name="T47" fmla="*/ 1463 h 2847"/>
                <a:gd name="T48" fmla="*/ 5011 w 6676"/>
                <a:gd name="T49" fmla="*/ 1603 h 2847"/>
                <a:gd name="T50" fmla="*/ 5663 w 6676"/>
                <a:gd name="T51" fmla="*/ 2405 h 2847"/>
                <a:gd name="T52" fmla="*/ 6365 w 6676"/>
                <a:gd name="T53" fmla="*/ 2730 h 2847"/>
                <a:gd name="T54" fmla="*/ 6661 w 6676"/>
                <a:gd name="T55" fmla="*/ 2847 h 2847"/>
                <a:gd name="T56" fmla="*/ 6676 w 6676"/>
                <a:gd name="T57" fmla="*/ 2845 h 2847"/>
                <a:gd name="T58" fmla="*/ 6673 w 6676"/>
                <a:gd name="T59" fmla="*/ 2843 h 28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676" h="2847">
                  <a:moveTo>
                    <a:pt x="6673" y="2843"/>
                  </a:moveTo>
                  <a:cubicBezTo>
                    <a:pt x="6575" y="2801"/>
                    <a:pt x="6474" y="2763"/>
                    <a:pt x="6368" y="2722"/>
                  </a:cubicBezTo>
                  <a:cubicBezTo>
                    <a:pt x="6125" y="2630"/>
                    <a:pt x="5875" y="2535"/>
                    <a:pt x="5668" y="2398"/>
                  </a:cubicBezTo>
                  <a:cubicBezTo>
                    <a:pt x="5381" y="2210"/>
                    <a:pt x="5196" y="1899"/>
                    <a:pt x="5018" y="1599"/>
                  </a:cubicBezTo>
                  <a:cubicBezTo>
                    <a:pt x="4990" y="1552"/>
                    <a:pt x="4962" y="1504"/>
                    <a:pt x="4934" y="1458"/>
                  </a:cubicBezTo>
                  <a:cubicBezTo>
                    <a:pt x="4921" y="1438"/>
                    <a:pt x="4909" y="1418"/>
                    <a:pt x="4897" y="1398"/>
                  </a:cubicBezTo>
                  <a:cubicBezTo>
                    <a:pt x="4710" y="1089"/>
                    <a:pt x="4498" y="739"/>
                    <a:pt x="4161" y="597"/>
                  </a:cubicBezTo>
                  <a:cubicBezTo>
                    <a:pt x="3844" y="462"/>
                    <a:pt x="3473" y="553"/>
                    <a:pt x="3146" y="634"/>
                  </a:cubicBezTo>
                  <a:cubicBezTo>
                    <a:pt x="3109" y="643"/>
                    <a:pt x="3109" y="643"/>
                    <a:pt x="3109" y="643"/>
                  </a:cubicBezTo>
                  <a:cubicBezTo>
                    <a:pt x="3047" y="658"/>
                    <a:pt x="2983" y="675"/>
                    <a:pt x="2921" y="692"/>
                  </a:cubicBezTo>
                  <a:cubicBezTo>
                    <a:pt x="2608" y="774"/>
                    <a:pt x="2285" y="859"/>
                    <a:pt x="1972" y="806"/>
                  </a:cubicBezTo>
                  <a:cubicBezTo>
                    <a:pt x="1727" y="765"/>
                    <a:pt x="1480" y="646"/>
                    <a:pt x="1241" y="531"/>
                  </a:cubicBezTo>
                  <a:cubicBezTo>
                    <a:pt x="1145" y="485"/>
                    <a:pt x="1054" y="441"/>
                    <a:pt x="963" y="403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60" y="410"/>
                    <a:pt x="960" y="410"/>
                    <a:pt x="960" y="410"/>
                  </a:cubicBezTo>
                  <a:cubicBezTo>
                    <a:pt x="1050" y="449"/>
                    <a:pt x="1141" y="492"/>
                    <a:pt x="1238" y="539"/>
                  </a:cubicBezTo>
                  <a:cubicBezTo>
                    <a:pt x="1477" y="654"/>
                    <a:pt x="1725" y="772"/>
                    <a:pt x="1971" y="814"/>
                  </a:cubicBezTo>
                  <a:cubicBezTo>
                    <a:pt x="2286" y="868"/>
                    <a:pt x="2610" y="782"/>
                    <a:pt x="2923" y="699"/>
                  </a:cubicBezTo>
                  <a:cubicBezTo>
                    <a:pt x="2985" y="683"/>
                    <a:pt x="3049" y="666"/>
                    <a:pt x="3111" y="651"/>
                  </a:cubicBezTo>
                  <a:cubicBezTo>
                    <a:pt x="3148" y="642"/>
                    <a:pt x="3148" y="642"/>
                    <a:pt x="3148" y="642"/>
                  </a:cubicBezTo>
                  <a:cubicBezTo>
                    <a:pt x="3474" y="561"/>
                    <a:pt x="3843" y="470"/>
                    <a:pt x="4158" y="604"/>
                  </a:cubicBezTo>
                  <a:cubicBezTo>
                    <a:pt x="4492" y="746"/>
                    <a:pt x="4703" y="1094"/>
                    <a:pt x="4890" y="1402"/>
                  </a:cubicBezTo>
                  <a:cubicBezTo>
                    <a:pt x="4902" y="1422"/>
                    <a:pt x="4915" y="1443"/>
                    <a:pt x="4927" y="1463"/>
                  </a:cubicBezTo>
                  <a:cubicBezTo>
                    <a:pt x="4955" y="1508"/>
                    <a:pt x="4983" y="1556"/>
                    <a:pt x="5011" y="1603"/>
                  </a:cubicBezTo>
                  <a:cubicBezTo>
                    <a:pt x="5190" y="1904"/>
                    <a:pt x="5375" y="2216"/>
                    <a:pt x="5663" y="2405"/>
                  </a:cubicBezTo>
                  <a:cubicBezTo>
                    <a:pt x="5871" y="2542"/>
                    <a:pt x="6122" y="2637"/>
                    <a:pt x="6365" y="2730"/>
                  </a:cubicBezTo>
                  <a:cubicBezTo>
                    <a:pt x="6468" y="2769"/>
                    <a:pt x="6566" y="2807"/>
                    <a:pt x="6661" y="2847"/>
                  </a:cubicBezTo>
                  <a:cubicBezTo>
                    <a:pt x="6676" y="2845"/>
                    <a:pt x="6676" y="2845"/>
                    <a:pt x="6676" y="2845"/>
                  </a:cubicBezTo>
                  <a:lnTo>
                    <a:pt x="6673" y="2843"/>
                  </a:lnTo>
                  <a:close/>
                </a:path>
              </a:pathLst>
            </a:custGeom>
            <a:solidFill>
              <a:srgbClr val="C7C9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8" name="Freeform 27"/>
            <p:cNvSpPr>
              <a:spLocks/>
            </p:cNvSpPr>
            <p:nvPr userDrawn="1"/>
          </p:nvSpPr>
          <p:spPr bwMode="auto">
            <a:xfrm>
              <a:off x="834592" y="0"/>
              <a:ext cx="10042252" cy="4285956"/>
            </a:xfrm>
            <a:custGeom>
              <a:avLst/>
              <a:gdLst>
                <a:gd name="T0" fmla="*/ 6413 w 6586"/>
                <a:gd name="T1" fmla="*/ 2732 h 2809"/>
                <a:gd name="T2" fmla="*/ 6108 w 6586"/>
                <a:gd name="T3" fmla="*/ 2611 h 2809"/>
                <a:gd name="T4" fmla="*/ 5408 w 6586"/>
                <a:gd name="T5" fmla="*/ 2288 h 2809"/>
                <a:gd name="T6" fmla="*/ 4731 w 6586"/>
                <a:gd name="T7" fmla="*/ 1470 h 2809"/>
                <a:gd name="T8" fmla="*/ 3894 w 6586"/>
                <a:gd name="T9" fmla="*/ 572 h 2809"/>
                <a:gd name="T10" fmla="*/ 2695 w 6586"/>
                <a:gd name="T11" fmla="*/ 601 h 2809"/>
                <a:gd name="T12" fmla="*/ 1712 w 6586"/>
                <a:gd name="T13" fmla="*/ 697 h 2809"/>
                <a:gd name="T14" fmla="*/ 983 w 6586"/>
                <a:gd name="T15" fmla="*/ 420 h 2809"/>
                <a:gd name="T16" fmla="*/ 704 w 6586"/>
                <a:gd name="T17" fmla="*/ 292 h 2809"/>
                <a:gd name="T18" fmla="*/ 21 w 6586"/>
                <a:gd name="T19" fmla="*/ 0 h 2809"/>
                <a:gd name="T20" fmla="*/ 0 w 6586"/>
                <a:gd name="T21" fmla="*/ 0 h 2809"/>
                <a:gd name="T22" fmla="*/ 700 w 6586"/>
                <a:gd name="T23" fmla="*/ 299 h 2809"/>
                <a:gd name="T24" fmla="*/ 979 w 6586"/>
                <a:gd name="T25" fmla="*/ 428 h 2809"/>
                <a:gd name="T26" fmla="*/ 1711 w 6586"/>
                <a:gd name="T27" fmla="*/ 705 h 2809"/>
                <a:gd name="T28" fmla="*/ 2696 w 6586"/>
                <a:gd name="T29" fmla="*/ 609 h 2809"/>
                <a:gd name="T30" fmla="*/ 3891 w 6586"/>
                <a:gd name="T31" fmla="*/ 579 h 2809"/>
                <a:gd name="T32" fmla="*/ 4724 w 6586"/>
                <a:gd name="T33" fmla="*/ 1475 h 2809"/>
                <a:gd name="T34" fmla="*/ 5403 w 6586"/>
                <a:gd name="T35" fmla="*/ 2295 h 2809"/>
                <a:gd name="T36" fmla="*/ 6105 w 6586"/>
                <a:gd name="T37" fmla="*/ 2618 h 2809"/>
                <a:gd name="T38" fmla="*/ 6410 w 6586"/>
                <a:gd name="T39" fmla="*/ 2740 h 2809"/>
                <a:gd name="T40" fmla="*/ 6571 w 6586"/>
                <a:gd name="T41" fmla="*/ 2809 h 2809"/>
                <a:gd name="T42" fmla="*/ 6586 w 6586"/>
                <a:gd name="T43" fmla="*/ 2806 h 2809"/>
                <a:gd name="T44" fmla="*/ 6413 w 6586"/>
                <a:gd name="T45" fmla="*/ 2732 h 2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586" h="2809">
                  <a:moveTo>
                    <a:pt x="6413" y="2732"/>
                  </a:moveTo>
                  <a:cubicBezTo>
                    <a:pt x="6315" y="2690"/>
                    <a:pt x="6209" y="2650"/>
                    <a:pt x="6108" y="2611"/>
                  </a:cubicBezTo>
                  <a:cubicBezTo>
                    <a:pt x="5867" y="2518"/>
                    <a:pt x="5617" y="2423"/>
                    <a:pt x="5408" y="2288"/>
                  </a:cubicBezTo>
                  <a:cubicBezTo>
                    <a:pt x="5110" y="2097"/>
                    <a:pt x="4917" y="1778"/>
                    <a:pt x="4731" y="1470"/>
                  </a:cubicBezTo>
                  <a:cubicBezTo>
                    <a:pt x="4513" y="1111"/>
                    <a:pt x="4288" y="739"/>
                    <a:pt x="3894" y="572"/>
                  </a:cubicBezTo>
                  <a:cubicBezTo>
                    <a:pt x="3512" y="409"/>
                    <a:pt x="3096" y="507"/>
                    <a:pt x="2695" y="601"/>
                  </a:cubicBezTo>
                  <a:cubicBezTo>
                    <a:pt x="2368" y="678"/>
                    <a:pt x="2031" y="757"/>
                    <a:pt x="1712" y="697"/>
                  </a:cubicBezTo>
                  <a:cubicBezTo>
                    <a:pt x="1467" y="651"/>
                    <a:pt x="1221" y="534"/>
                    <a:pt x="983" y="420"/>
                  </a:cubicBezTo>
                  <a:cubicBezTo>
                    <a:pt x="886" y="374"/>
                    <a:pt x="795" y="331"/>
                    <a:pt x="704" y="292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00" y="299"/>
                    <a:pt x="700" y="299"/>
                    <a:pt x="700" y="299"/>
                  </a:cubicBezTo>
                  <a:cubicBezTo>
                    <a:pt x="792" y="338"/>
                    <a:pt x="883" y="382"/>
                    <a:pt x="979" y="428"/>
                  </a:cubicBezTo>
                  <a:cubicBezTo>
                    <a:pt x="1218" y="541"/>
                    <a:pt x="1464" y="659"/>
                    <a:pt x="1711" y="705"/>
                  </a:cubicBezTo>
                  <a:cubicBezTo>
                    <a:pt x="2031" y="765"/>
                    <a:pt x="2370" y="686"/>
                    <a:pt x="2696" y="609"/>
                  </a:cubicBezTo>
                  <a:cubicBezTo>
                    <a:pt x="3097" y="515"/>
                    <a:pt x="3511" y="418"/>
                    <a:pt x="3891" y="579"/>
                  </a:cubicBezTo>
                  <a:cubicBezTo>
                    <a:pt x="4282" y="745"/>
                    <a:pt x="4507" y="1116"/>
                    <a:pt x="4724" y="1475"/>
                  </a:cubicBezTo>
                  <a:cubicBezTo>
                    <a:pt x="4910" y="1783"/>
                    <a:pt x="5104" y="2103"/>
                    <a:pt x="5403" y="2295"/>
                  </a:cubicBezTo>
                  <a:cubicBezTo>
                    <a:pt x="5613" y="2430"/>
                    <a:pt x="5863" y="2526"/>
                    <a:pt x="6105" y="2618"/>
                  </a:cubicBezTo>
                  <a:cubicBezTo>
                    <a:pt x="6206" y="2658"/>
                    <a:pt x="6312" y="2698"/>
                    <a:pt x="6410" y="2740"/>
                  </a:cubicBezTo>
                  <a:cubicBezTo>
                    <a:pt x="6571" y="2809"/>
                    <a:pt x="6571" y="2809"/>
                    <a:pt x="6571" y="2809"/>
                  </a:cubicBezTo>
                  <a:cubicBezTo>
                    <a:pt x="6586" y="2806"/>
                    <a:pt x="6586" y="2806"/>
                    <a:pt x="6586" y="2806"/>
                  </a:cubicBezTo>
                  <a:lnTo>
                    <a:pt x="6413" y="2732"/>
                  </a:lnTo>
                  <a:close/>
                </a:path>
              </a:pathLst>
            </a:custGeom>
            <a:solidFill>
              <a:srgbClr val="C7C8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9" name="Freeform 28"/>
            <p:cNvSpPr>
              <a:spLocks/>
            </p:cNvSpPr>
            <p:nvPr userDrawn="1"/>
          </p:nvSpPr>
          <p:spPr bwMode="auto">
            <a:xfrm>
              <a:off x="1301189" y="0"/>
              <a:ext cx="9905961" cy="4228233"/>
            </a:xfrm>
            <a:custGeom>
              <a:avLst/>
              <a:gdLst>
                <a:gd name="T0" fmla="*/ 6154 w 6497"/>
                <a:gd name="T1" fmla="*/ 2621 h 2771"/>
                <a:gd name="T2" fmla="*/ 5848 w 6497"/>
                <a:gd name="T3" fmla="*/ 2499 h 2771"/>
                <a:gd name="T4" fmla="*/ 5149 w 6497"/>
                <a:gd name="T5" fmla="*/ 2178 h 2771"/>
                <a:gd name="T6" fmla="*/ 4468 w 6497"/>
                <a:gd name="T7" fmla="*/ 1404 h 2771"/>
                <a:gd name="T8" fmla="*/ 3633 w 6497"/>
                <a:gd name="T9" fmla="*/ 552 h 2771"/>
                <a:gd name="T10" fmla="*/ 2435 w 6497"/>
                <a:gd name="T11" fmla="*/ 536 h 2771"/>
                <a:gd name="T12" fmla="*/ 1454 w 6497"/>
                <a:gd name="T13" fmla="*/ 588 h 2771"/>
                <a:gd name="T14" fmla="*/ 726 w 6497"/>
                <a:gd name="T15" fmla="*/ 309 h 2771"/>
                <a:gd name="T16" fmla="*/ 445 w 6497"/>
                <a:gd name="T17" fmla="*/ 181 h 2771"/>
                <a:gd name="T18" fmla="*/ 21 w 6497"/>
                <a:gd name="T19" fmla="*/ 0 h 2771"/>
                <a:gd name="T20" fmla="*/ 0 w 6497"/>
                <a:gd name="T21" fmla="*/ 0 h 2771"/>
                <a:gd name="T22" fmla="*/ 442 w 6497"/>
                <a:gd name="T23" fmla="*/ 189 h 2771"/>
                <a:gd name="T24" fmla="*/ 722 w 6497"/>
                <a:gd name="T25" fmla="*/ 317 h 2771"/>
                <a:gd name="T26" fmla="*/ 1452 w 6497"/>
                <a:gd name="T27" fmla="*/ 596 h 2771"/>
                <a:gd name="T28" fmla="*/ 2436 w 6497"/>
                <a:gd name="T29" fmla="*/ 544 h 2771"/>
                <a:gd name="T30" fmla="*/ 3630 w 6497"/>
                <a:gd name="T31" fmla="*/ 560 h 2771"/>
                <a:gd name="T32" fmla="*/ 4461 w 6497"/>
                <a:gd name="T33" fmla="*/ 1409 h 2771"/>
                <a:gd name="T34" fmla="*/ 5145 w 6497"/>
                <a:gd name="T35" fmla="*/ 2186 h 2771"/>
                <a:gd name="T36" fmla="*/ 5845 w 6497"/>
                <a:gd name="T37" fmla="*/ 2507 h 2771"/>
                <a:gd name="T38" fmla="*/ 6151 w 6497"/>
                <a:gd name="T39" fmla="*/ 2629 h 2771"/>
                <a:gd name="T40" fmla="*/ 6482 w 6497"/>
                <a:gd name="T41" fmla="*/ 2771 h 2771"/>
                <a:gd name="T42" fmla="*/ 6497 w 6497"/>
                <a:gd name="T43" fmla="*/ 2768 h 2771"/>
                <a:gd name="T44" fmla="*/ 6154 w 6497"/>
                <a:gd name="T45" fmla="*/ 2621 h 27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497" h="2771">
                  <a:moveTo>
                    <a:pt x="6154" y="2621"/>
                  </a:moveTo>
                  <a:cubicBezTo>
                    <a:pt x="6056" y="2579"/>
                    <a:pt x="5950" y="2538"/>
                    <a:pt x="5848" y="2499"/>
                  </a:cubicBezTo>
                  <a:cubicBezTo>
                    <a:pt x="5609" y="2406"/>
                    <a:pt x="5361" y="2311"/>
                    <a:pt x="5149" y="2178"/>
                  </a:cubicBezTo>
                  <a:cubicBezTo>
                    <a:pt x="4856" y="1995"/>
                    <a:pt x="4659" y="1695"/>
                    <a:pt x="4468" y="1404"/>
                  </a:cubicBezTo>
                  <a:cubicBezTo>
                    <a:pt x="4245" y="1065"/>
                    <a:pt x="4016" y="715"/>
                    <a:pt x="3633" y="552"/>
                  </a:cubicBezTo>
                  <a:cubicBezTo>
                    <a:pt x="3253" y="391"/>
                    <a:pt x="2837" y="465"/>
                    <a:pt x="2435" y="536"/>
                  </a:cubicBezTo>
                  <a:cubicBezTo>
                    <a:pt x="2109" y="594"/>
                    <a:pt x="1771" y="654"/>
                    <a:pt x="1454" y="588"/>
                  </a:cubicBezTo>
                  <a:cubicBezTo>
                    <a:pt x="1208" y="537"/>
                    <a:pt x="963" y="421"/>
                    <a:pt x="726" y="309"/>
                  </a:cubicBezTo>
                  <a:cubicBezTo>
                    <a:pt x="629" y="264"/>
                    <a:pt x="537" y="220"/>
                    <a:pt x="445" y="181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42" y="189"/>
                    <a:pt x="442" y="189"/>
                    <a:pt x="442" y="189"/>
                  </a:cubicBezTo>
                  <a:cubicBezTo>
                    <a:pt x="534" y="228"/>
                    <a:pt x="625" y="271"/>
                    <a:pt x="722" y="317"/>
                  </a:cubicBezTo>
                  <a:cubicBezTo>
                    <a:pt x="960" y="429"/>
                    <a:pt x="1205" y="545"/>
                    <a:pt x="1452" y="596"/>
                  </a:cubicBezTo>
                  <a:cubicBezTo>
                    <a:pt x="1771" y="662"/>
                    <a:pt x="2109" y="602"/>
                    <a:pt x="2436" y="544"/>
                  </a:cubicBezTo>
                  <a:cubicBezTo>
                    <a:pt x="2837" y="473"/>
                    <a:pt x="3252" y="399"/>
                    <a:pt x="3630" y="560"/>
                  </a:cubicBezTo>
                  <a:cubicBezTo>
                    <a:pt x="4010" y="722"/>
                    <a:pt x="4239" y="1071"/>
                    <a:pt x="4461" y="1409"/>
                  </a:cubicBezTo>
                  <a:cubicBezTo>
                    <a:pt x="4652" y="1700"/>
                    <a:pt x="4850" y="2002"/>
                    <a:pt x="5145" y="2186"/>
                  </a:cubicBezTo>
                  <a:cubicBezTo>
                    <a:pt x="5357" y="2318"/>
                    <a:pt x="5605" y="2414"/>
                    <a:pt x="5845" y="2507"/>
                  </a:cubicBezTo>
                  <a:cubicBezTo>
                    <a:pt x="5947" y="2546"/>
                    <a:pt x="6052" y="2587"/>
                    <a:pt x="6151" y="2629"/>
                  </a:cubicBezTo>
                  <a:cubicBezTo>
                    <a:pt x="6482" y="2771"/>
                    <a:pt x="6482" y="2771"/>
                    <a:pt x="6482" y="2771"/>
                  </a:cubicBezTo>
                  <a:cubicBezTo>
                    <a:pt x="6497" y="2768"/>
                    <a:pt x="6497" y="2768"/>
                    <a:pt x="6497" y="2768"/>
                  </a:cubicBezTo>
                  <a:lnTo>
                    <a:pt x="6154" y="2621"/>
                  </a:lnTo>
                  <a:close/>
                </a:path>
              </a:pathLst>
            </a:custGeom>
            <a:solidFill>
              <a:srgbClr val="C6C8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0" name="Rectangle 29"/>
            <p:cNvSpPr>
              <a:spLocks noChangeArrowheads="1"/>
            </p:cNvSpPr>
            <p:nvPr userDrawn="1"/>
          </p:nvSpPr>
          <p:spPr bwMode="auto">
            <a:xfrm>
              <a:off x="12295875" y="4489591"/>
              <a:ext cx="1604" cy="14431"/>
            </a:xfrm>
            <a:prstGeom prst="rect">
              <a:avLst/>
            </a:prstGeom>
            <a:solidFill>
              <a:srgbClr val="C6C7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1" name="Freeform 30"/>
            <p:cNvSpPr>
              <a:spLocks/>
            </p:cNvSpPr>
            <p:nvPr userDrawn="1"/>
          </p:nvSpPr>
          <p:spPr bwMode="auto">
            <a:xfrm>
              <a:off x="1767786" y="0"/>
              <a:ext cx="9769670" cy="4168906"/>
            </a:xfrm>
            <a:custGeom>
              <a:avLst/>
              <a:gdLst>
                <a:gd name="T0" fmla="*/ 5896 w 6408"/>
                <a:gd name="T1" fmla="*/ 2511 h 2732"/>
                <a:gd name="T2" fmla="*/ 5589 w 6408"/>
                <a:gd name="T3" fmla="*/ 2387 h 2732"/>
                <a:gd name="T4" fmla="*/ 4891 w 6408"/>
                <a:gd name="T5" fmla="*/ 2069 h 2732"/>
                <a:gd name="T6" fmla="*/ 4206 w 6408"/>
                <a:gd name="T7" fmla="*/ 1340 h 2732"/>
                <a:gd name="T8" fmla="*/ 3376 w 6408"/>
                <a:gd name="T9" fmla="*/ 538 h 2732"/>
                <a:gd name="T10" fmla="*/ 2177 w 6408"/>
                <a:gd name="T11" fmla="*/ 474 h 2732"/>
                <a:gd name="T12" fmla="*/ 1195 w 6408"/>
                <a:gd name="T13" fmla="*/ 480 h 2732"/>
                <a:gd name="T14" fmla="*/ 469 w 6408"/>
                <a:gd name="T15" fmla="*/ 199 h 2732"/>
                <a:gd name="T16" fmla="*/ 186 w 6408"/>
                <a:gd name="T17" fmla="*/ 70 h 2732"/>
                <a:gd name="T18" fmla="*/ 22 w 6408"/>
                <a:gd name="T19" fmla="*/ 0 h 2732"/>
                <a:gd name="T20" fmla="*/ 0 w 6408"/>
                <a:gd name="T21" fmla="*/ 0 h 2732"/>
                <a:gd name="T22" fmla="*/ 183 w 6408"/>
                <a:gd name="T23" fmla="*/ 78 h 2732"/>
                <a:gd name="T24" fmla="*/ 465 w 6408"/>
                <a:gd name="T25" fmla="*/ 206 h 2732"/>
                <a:gd name="T26" fmla="*/ 1194 w 6408"/>
                <a:gd name="T27" fmla="*/ 488 h 2732"/>
                <a:gd name="T28" fmla="*/ 2178 w 6408"/>
                <a:gd name="T29" fmla="*/ 482 h 2732"/>
                <a:gd name="T30" fmla="*/ 3372 w 6408"/>
                <a:gd name="T31" fmla="*/ 546 h 2732"/>
                <a:gd name="T32" fmla="*/ 4199 w 6408"/>
                <a:gd name="T33" fmla="*/ 1345 h 2732"/>
                <a:gd name="T34" fmla="*/ 4886 w 6408"/>
                <a:gd name="T35" fmla="*/ 2076 h 2732"/>
                <a:gd name="T36" fmla="*/ 5586 w 6408"/>
                <a:gd name="T37" fmla="*/ 2395 h 2732"/>
                <a:gd name="T38" fmla="*/ 5892 w 6408"/>
                <a:gd name="T39" fmla="*/ 2518 h 2732"/>
                <a:gd name="T40" fmla="*/ 6393 w 6408"/>
                <a:gd name="T41" fmla="*/ 2732 h 2732"/>
                <a:gd name="T42" fmla="*/ 6408 w 6408"/>
                <a:gd name="T43" fmla="*/ 2730 h 2732"/>
                <a:gd name="T44" fmla="*/ 5896 w 6408"/>
                <a:gd name="T45" fmla="*/ 2511 h 27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408" h="2732">
                  <a:moveTo>
                    <a:pt x="5896" y="2511"/>
                  </a:moveTo>
                  <a:cubicBezTo>
                    <a:pt x="5796" y="2468"/>
                    <a:pt x="5691" y="2427"/>
                    <a:pt x="5589" y="2387"/>
                  </a:cubicBezTo>
                  <a:cubicBezTo>
                    <a:pt x="5351" y="2294"/>
                    <a:pt x="5105" y="2198"/>
                    <a:pt x="4891" y="2069"/>
                  </a:cubicBezTo>
                  <a:cubicBezTo>
                    <a:pt x="4603" y="1895"/>
                    <a:pt x="4401" y="1613"/>
                    <a:pt x="4206" y="1340"/>
                  </a:cubicBezTo>
                  <a:cubicBezTo>
                    <a:pt x="3980" y="1023"/>
                    <a:pt x="3746" y="695"/>
                    <a:pt x="3376" y="538"/>
                  </a:cubicBezTo>
                  <a:cubicBezTo>
                    <a:pt x="2997" y="377"/>
                    <a:pt x="2580" y="426"/>
                    <a:pt x="2177" y="474"/>
                  </a:cubicBezTo>
                  <a:cubicBezTo>
                    <a:pt x="1850" y="512"/>
                    <a:pt x="1512" y="552"/>
                    <a:pt x="1195" y="480"/>
                  </a:cubicBezTo>
                  <a:cubicBezTo>
                    <a:pt x="949" y="423"/>
                    <a:pt x="705" y="309"/>
                    <a:pt x="469" y="199"/>
                  </a:cubicBezTo>
                  <a:cubicBezTo>
                    <a:pt x="376" y="155"/>
                    <a:pt x="280" y="110"/>
                    <a:pt x="186" y="7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83" y="78"/>
                    <a:pt x="183" y="78"/>
                    <a:pt x="183" y="78"/>
                  </a:cubicBezTo>
                  <a:cubicBezTo>
                    <a:pt x="276" y="118"/>
                    <a:pt x="372" y="163"/>
                    <a:pt x="465" y="206"/>
                  </a:cubicBezTo>
                  <a:cubicBezTo>
                    <a:pt x="702" y="317"/>
                    <a:pt x="946" y="432"/>
                    <a:pt x="1194" y="488"/>
                  </a:cubicBezTo>
                  <a:cubicBezTo>
                    <a:pt x="1512" y="561"/>
                    <a:pt x="1851" y="521"/>
                    <a:pt x="2178" y="482"/>
                  </a:cubicBezTo>
                  <a:cubicBezTo>
                    <a:pt x="2580" y="434"/>
                    <a:pt x="2996" y="385"/>
                    <a:pt x="3372" y="546"/>
                  </a:cubicBezTo>
                  <a:cubicBezTo>
                    <a:pt x="3740" y="702"/>
                    <a:pt x="3974" y="1029"/>
                    <a:pt x="4199" y="1345"/>
                  </a:cubicBezTo>
                  <a:cubicBezTo>
                    <a:pt x="4395" y="1618"/>
                    <a:pt x="4597" y="1901"/>
                    <a:pt x="4886" y="2076"/>
                  </a:cubicBezTo>
                  <a:cubicBezTo>
                    <a:pt x="5101" y="2206"/>
                    <a:pt x="5347" y="2302"/>
                    <a:pt x="5586" y="2395"/>
                  </a:cubicBezTo>
                  <a:cubicBezTo>
                    <a:pt x="5688" y="2435"/>
                    <a:pt x="5793" y="2476"/>
                    <a:pt x="5892" y="2518"/>
                  </a:cubicBezTo>
                  <a:cubicBezTo>
                    <a:pt x="6393" y="2732"/>
                    <a:pt x="6393" y="2732"/>
                    <a:pt x="6393" y="2732"/>
                  </a:cubicBezTo>
                  <a:cubicBezTo>
                    <a:pt x="6408" y="2730"/>
                    <a:pt x="6408" y="2730"/>
                    <a:pt x="6408" y="2730"/>
                  </a:cubicBezTo>
                  <a:lnTo>
                    <a:pt x="5896" y="2511"/>
                  </a:lnTo>
                  <a:close/>
                </a:path>
              </a:pathLst>
            </a:custGeom>
            <a:solidFill>
              <a:srgbClr val="C6C7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2" name="Freeform 31"/>
            <p:cNvSpPr>
              <a:spLocks/>
            </p:cNvSpPr>
            <p:nvPr userDrawn="1"/>
          </p:nvSpPr>
          <p:spPr bwMode="auto">
            <a:xfrm>
              <a:off x="12295875" y="4293973"/>
              <a:ext cx="0" cy="9621"/>
            </a:xfrm>
            <a:custGeom>
              <a:avLst/>
              <a:gdLst>
                <a:gd name="T0" fmla="*/ 6 h 6"/>
                <a:gd name="T1" fmla="*/ 0 h 6"/>
                <a:gd name="T2" fmla="*/ 6 h 6"/>
                <a:gd name="T3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C5C7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3" name="Freeform 32"/>
            <p:cNvSpPr>
              <a:spLocks/>
            </p:cNvSpPr>
            <p:nvPr userDrawn="1"/>
          </p:nvSpPr>
          <p:spPr bwMode="auto">
            <a:xfrm>
              <a:off x="2232779" y="0"/>
              <a:ext cx="9636585" cy="4111183"/>
            </a:xfrm>
            <a:custGeom>
              <a:avLst/>
              <a:gdLst>
                <a:gd name="T0" fmla="*/ 5638 w 6320"/>
                <a:gd name="T1" fmla="*/ 2400 h 2694"/>
                <a:gd name="T2" fmla="*/ 5330 w 6320"/>
                <a:gd name="T3" fmla="*/ 2275 h 2694"/>
                <a:gd name="T4" fmla="*/ 4634 w 6320"/>
                <a:gd name="T5" fmla="*/ 1960 h 2694"/>
                <a:gd name="T6" fmla="*/ 3947 w 6320"/>
                <a:gd name="T7" fmla="*/ 1278 h 2694"/>
                <a:gd name="T8" fmla="*/ 3122 w 6320"/>
                <a:gd name="T9" fmla="*/ 527 h 2694"/>
                <a:gd name="T10" fmla="*/ 1923 w 6320"/>
                <a:gd name="T11" fmla="*/ 413 h 2694"/>
                <a:gd name="T12" fmla="*/ 939 w 6320"/>
                <a:gd name="T13" fmla="*/ 372 h 2694"/>
                <a:gd name="T14" fmla="*/ 214 w 6320"/>
                <a:gd name="T15" fmla="*/ 88 h 2694"/>
                <a:gd name="T16" fmla="*/ 21 w 6320"/>
                <a:gd name="T17" fmla="*/ 0 h 2694"/>
                <a:gd name="T18" fmla="*/ 0 w 6320"/>
                <a:gd name="T19" fmla="*/ 0 h 2694"/>
                <a:gd name="T20" fmla="*/ 210 w 6320"/>
                <a:gd name="T21" fmla="*/ 96 h 2694"/>
                <a:gd name="T22" fmla="*/ 936 w 6320"/>
                <a:gd name="T23" fmla="*/ 380 h 2694"/>
                <a:gd name="T24" fmla="*/ 1923 w 6320"/>
                <a:gd name="T25" fmla="*/ 422 h 2694"/>
                <a:gd name="T26" fmla="*/ 3119 w 6320"/>
                <a:gd name="T27" fmla="*/ 535 h 2694"/>
                <a:gd name="T28" fmla="*/ 3940 w 6320"/>
                <a:gd name="T29" fmla="*/ 1283 h 2694"/>
                <a:gd name="T30" fmla="*/ 4629 w 6320"/>
                <a:gd name="T31" fmla="*/ 1967 h 2694"/>
                <a:gd name="T32" fmla="*/ 5327 w 6320"/>
                <a:gd name="T33" fmla="*/ 2283 h 2694"/>
                <a:gd name="T34" fmla="*/ 5635 w 6320"/>
                <a:gd name="T35" fmla="*/ 2408 h 2694"/>
                <a:gd name="T36" fmla="*/ 6305 w 6320"/>
                <a:gd name="T37" fmla="*/ 2694 h 2694"/>
                <a:gd name="T38" fmla="*/ 6320 w 6320"/>
                <a:gd name="T39" fmla="*/ 2691 h 2694"/>
                <a:gd name="T40" fmla="*/ 5638 w 6320"/>
                <a:gd name="T41" fmla="*/ 2400 h 2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320" h="2694">
                  <a:moveTo>
                    <a:pt x="5638" y="2400"/>
                  </a:moveTo>
                  <a:cubicBezTo>
                    <a:pt x="5538" y="2357"/>
                    <a:pt x="5432" y="2315"/>
                    <a:pt x="5330" y="2275"/>
                  </a:cubicBezTo>
                  <a:cubicBezTo>
                    <a:pt x="5094" y="2182"/>
                    <a:pt x="4849" y="2086"/>
                    <a:pt x="4634" y="1960"/>
                  </a:cubicBezTo>
                  <a:cubicBezTo>
                    <a:pt x="4352" y="1795"/>
                    <a:pt x="4146" y="1532"/>
                    <a:pt x="3947" y="1278"/>
                  </a:cubicBezTo>
                  <a:cubicBezTo>
                    <a:pt x="3717" y="983"/>
                    <a:pt x="3479" y="679"/>
                    <a:pt x="3122" y="527"/>
                  </a:cubicBezTo>
                  <a:cubicBezTo>
                    <a:pt x="2744" y="366"/>
                    <a:pt x="2326" y="390"/>
                    <a:pt x="1923" y="413"/>
                  </a:cubicBezTo>
                  <a:cubicBezTo>
                    <a:pt x="1595" y="432"/>
                    <a:pt x="1255" y="452"/>
                    <a:pt x="939" y="372"/>
                  </a:cubicBezTo>
                  <a:cubicBezTo>
                    <a:pt x="692" y="310"/>
                    <a:pt x="449" y="197"/>
                    <a:pt x="214" y="88"/>
                  </a:cubicBezTo>
                  <a:cubicBezTo>
                    <a:pt x="150" y="58"/>
                    <a:pt x="86" y="29"/>
                    <a:pt x="2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0" y="31"/>
                    <a:pt x="141" y="64"/>
                    <a:pt x="210" y="96"/>
                  </a:cubicBezTo>
                  <a:cubicBezTo>
                    <a:pt x="445" y="205"/>
                    <a:pt x="689" y="318"/>
                    <a:pt x="936" y="380"/>
                  </a:cubicBezTo>
                  <a:cubicBezTo>
                    <a:pt x="1254" y="460"/>
                    <a:pt x="1594" y="441"/>
                    <a:pt x="1923" y="422"/>
                  </a:cubicBezTo>
                  <a:cubicBezTo>
                    <a:pt x="2326" y="399"/>
                    <a:pt x="2743" y="374"/>
                    <a:pt x="3119" y="535"/>
                  </a:cubicBezTo>
                  <a:cubicBezTo>
                    <a:pt x="3473" y="686"/>
                    <a:pt x="3710" y="990"/>
                    <a:pt x="3940" y="1283"/>
                  </a:cubicBezTo>
                  <a:cubicBezTo>
                    <a:pt x="4140" y="1538"/>
                    <a:pt x="4346" y="1801"/>
                    <a:pt x="4629" y="1967"/>
                  </a:cubicBezTo>
                  <a:cubicBezTo>
                    <a:pt x="4846" y="2094"/>
                    <a:pt x="5090" y="2190"/>
                    <a:pt x="5327" y="2283"/>
                  </a:cubicBezTo>
                  <a:cubicBezTo>
                    <a:pt x="5429" y="2323"/>
                    <a:pt x="5535" y="2365"/>
                    <a:pt x="5635" y="2408"/>
                  </a:cubicBezTo>
                  <a:cubicBezTo>
                    <a:pt x="6305" y="2694"/>
                    <a:pt x="6305" y="2694"/>
                    <a:pt x="6305" y="2694"/>
                  </a:cubicBezTo>
                  <a:cubicBezTo>
                    <a:pt x="6320" y="2691"/>
                    <a:pt x="6320" y="2691"/>
                    <a:pt x="6320" y="2691"/>
                  </a:cubicBezTo>
                  <a:lnTo>
                    <a:pt x="5638" y="2400"/>
                  </a:lnTo>
                  <a:close/>
                </a:path>
              </a:pathLst>
            </a:custGeom>
            <a:solidFill>
              <a:srgbClr val="C5C7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4" name="Freeform 33"/>
            <p:cNvSpPr>
              <a:spLocks/>
            </p:cNvSpPr>
            <p:nvPr userDrawn="1"/>
          </p:nvSpPr>
          <p:spPr bwMode="auto">
            <a:xfrm>
              <a:off x="2676927" y="0"/>
              <a:ext cx="9524346" cy="4053460"/>
            </a:xfrm>
            <a:custGeom>
              <a:avLst/>
              <a:gdLst>
                <a:gd name="T0" fmla="*/ 5394 w 6246"/>
                <a:gd name="T1" fmla="*/ 2289 h 2656"/>
                <a:gd name="T2" fmla="*/ 5084 w 6246"/>
                <a:gd name="T3" fmla="*/ 2163 h 2656"/>
                <a:gd name="T4" fmla="*/ 4389 w 6246"/>
                <a:gd name="T5" fmla="*/ 1851 h 2656"/>
                <a:gd name="T6" fmla="*/ 3702 w 6246"/>
                <a:gd name="T7" fmla="*/ 1217 h 2656"/>
                <a:gd name="T8" fmla="*/ 2884 w 6246"/>
                <a:gd name="T9" fmla="*/ 519 h 2656"/>
                <a:gd name="T10" fmla="*/ 1682 w 6246"/>
                <a:gd name="T11" fmla="*/ 354 h 2656"/>
                <a:gd name="T12" fmla="*/ 695 w 6246"/>
                <a:gd name="T13" fmla="*/ 264 h 2656"/>
                <a:gd name="T14" fmla="*/ 21 w 6246"/>
                <a:gd name="T15" fmla="*/ 0 h 2656"/>
                <a:gd name="T16" fmla="*/ 0 w 6246"/>
                <a:gd name="T17" fmla="*/ 0 h 2656"/>
                <a:gd name="T18" fmla="*/ 692 w 6246"/>
                <a:gd name="T19" fmla="*/ 273 h 2656"/>
                <a:gd name="T20" fmla="*/ 1682 w 6246"/>
                <a:gd name="T21" fmla="*/ 363 h 2656"/>
                <a:gd name="T22" fmla="*/ 2880 w 6246"/>
                <a:gd name="T23" fmla="*/ 527 h 2656"/>
                <a:gd name="T24" fmla="*/ 3696 w 6246"/>
                <a:gd name="T25" fmla="*/ 1223 h 2656"/>
                <a:gd name="T26" fmla="*/ 4385 w 6246"/>
                <a:gd name="T27" fmla="*/ 1858 h 2656"/>
                <a:gd name="T28" fmla="*/ 5081 w 6246"/>
                <a:gd name="T29" fmla="*/ 2171 h 2656"/>
                <a:gd name="T30" fmla="*/ 5390 w 6246"/>
                <a:gd name="T31" fmla="*/ 2297 h 2656"/>
                <a:gd name="T32" fmla="*/ 6230 w 6246"/>
                <a:gd name="T33" fmla="*/ 2656 h 2656"/>
                <a:gd name="T34" fmla="*/ 6246 w 6246"/>
                <a:gd name="T35" fmla="*/ 2653 h 2656"/>
                <a:gd name="T36" fmla="*/ 5394 w 6246"/>
                <a:gd name="T37" fmla="*/ 2289 h 2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246" h="2656">
                  <a:moveTo>
                    <a:pt x="5394" y="2289"/>
                  </a:moveTo>
                  <a:cubicBezTo>
                    <a:pt x="5292" y="2246"/>
                    <a:pt x="5186" y="2204"/>
                    <a:pt x="5084" y="2163"/>
                  </a:cubicBezTo>
                  <a:cubicBezTo>
                    <a:pt x="4849" y="2070"/>
                    <a:pt x="4607" y="1974"/>
                    <a:pt x="4389" y="1851"/>
                  </a:cubicBezTo>
                  <a:cubicBezTo>
                    <a:pt x="4115" y="1695"/>
                    <a:pt x="3905" y="1452"/>
                    <a:pt x="3702" y="1217"/>
                  </a:cubicBezTo>
                  <a:cubicBezTo>
                    <a:pt x="3468" y="946"/>
                    <a:pt x="3226" y="666"/>
                    <a:pt x="2884" y="519"/>
                  </a:cubicBezTo>
                  <a:cubicBezTo>
                    <a:pt x="2505" y="357"/>
                    <a:pt x="2087" y="355"/>
                    <a:pt x="1682" y="354"/>
                  </a:cubicBezTo>
                  <a:cubicBezTo>
                    <a:pt x="1353" y="353"/>
                    <a:pt x="1012" y="352"/>
                    <a:pt x="695" y="264"/>
                  </a:cubicBezTo>
                  <a:cubicBezTo>
                    <a:pt x="466" y="201"/>
                    <a:pt x="240" y="100"/>
                    <a:pt x="2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25" y="103"/>
                    <a:pt x="457" y="208"/>
                    <a:pt x="692" y="273"/>
                  </a:cubicBezTo>
                  <a:cubicBezTo>
                    <a:pt x="1011" y="361"/>
                    <a:pt x="1352" y="362"/>
                    <a:pt x="1682" y="363"/>
                  </a:cubicBezTo>
                  <a:cubicBezTo>
                    <a:pt x="2086" y="364"/>
                    <a:pt x="2503" y="366"/>
                    <a:pt x="2880" y="527"/>
                  </a:cubicBezTo>
                  <a:cubicBezTo>
                    <a:pt x="3221" y="673"/>
                    <a:pt x="3462" y="952"/>
                    <a:pt x="3696" y="1223"/>
                  </a:cubicBezTo>
                  <a:cubicBezTo>
                    <a:pt x="3899" y="1458"/>
                    <a:pt x="4109" y="1702"/>
                    <a:pt x="4385" y="1858"/>
                  </a:cubicBezTo>
                  <a:cubicBezTo>
                    <a:pt x="4603" y="1982"/>
                    <a:pt x="4846" y="2078"/>
                    <a:pt x="5081" y="2171"/>
                  </a:cubicBezTo>
                  <a:cubicBezTo>
                    <a:pt x="5183" y="2212"/>
                    <a:pt x="5289" y="2254"/>
                    <a:pt x="5390" y="2297"/>
                  </a:cubicBezTo>
                  <a:cubicBezTo>
                    <a:pt x="6230" y="2656"/>
                    <a:pt x="6230" y="2656"/>
                    <a:pt x="6230" y="2656"/>
                  </a:cubicBezTo>
                  <a:cubicBezTo>
                    <a:pt x="6246" y="2653"/>
                    <a:pt x="6246" y="2653"/>
                    <a:pt x="6246" y="2653"/>
                  </a:cubicBezTo>
                  <a:lnTo>
                    <a:pt x="5394" y="2289"/>
                  </a:lnTo>
                  <a:close/>
                </a:path>
              </a:pathLst>
            </a:custGeom>
            <a:solidFill>
              <a:srgbClr val="C5C6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20" name="Freeform: Shape 119"/>
            <p:cNvSpPr>
              <a:spLocks/>
            </p:cNvSpPr>
            <p:nvPr userDrawn="1"/>
          </p:nvSpPr>
          <p:spPr bwMode="auto">
            <a:xfrm>
              <a:off x="3133904" y="0"/>
              <a:ext cx="9059296" cy="3860342"/>
            </a:xfrm>
            <a:custGeom>
              <a:avLst/>
              <a:gdLst>
                <a:gd name="connsiteX0" fmla="*/ 0 w 9059296"/>
                <a:gd name="connsiteY0" fmla="*/ 0 h 3860342"/>
                <a:gd name="connsiteX1" fmla="*/ 35068 w 9059296"/>
                <a:gd name="connsiteY1" fmla="*/ 0 h 3860342"/>
                <a:gd name="connsiteX2" fmla="*/ 676971 w 9059296"/>
                <a:gd name="connsiteY2" fmla="*/ 238014 h 3860342"/>
                <a:gd name="connsiteX3" fmla="*/ 2189481 w 9059296"/>
                <a:gd name="connsiteY3" fmla="*/ 451616 h 3860342"/>
                <a:gd name="connsiteX4" fmla="*/ 4025230 w 9059296"/>
                <a:gd name="connsiteY4" fmla="*/ 781173 h 3860342"/>
                <a:gd name="connsiteX5" fmla="*/ 5260243 w 9059296"/>
                <a:gd name="connsiteY5" fmla="*/ 1763743 h 3860342"/>
                <a:gd name="connsiteX6" fmla="*/ 6309242 w 9059296"/>
                <a:gd name="connsiteY6" fmla="*/ 2657820 h 3860342"/>
                <a:gd name="connsiteX7" fmla="*/ 7365865 w 9059296"/>
                <a:gd name="connsiteY7" fmla="*/ 3129271 h 3860342"/>
                <a:gd name="connsiteX8" fmla="*/ 7840049 w 9059296"/>
                <a:gd name="connsiteY8" fmla="*/ 3323038 h 3860342"/>
                <a:gd name="connsiteX9" fmla="*/ 8929279 w 9059296"/>
                <a:gd name="connsiteY9" fmla="*/ 3789445 h 3860342"/>
                <a:gd name="connsiteX10" fmla="*/ 9059296 w 9059296"/>
                <a:gd name="connsiteY10" fmla="*/ 3845119 h 3860342"/>
                <a:gd name="connsiteX11" fmla="*/ 9059296 w 9059296"/>
                <a:gd name="connsiteY11" fmla="*/ 3860342 h 3860342"/>
                <a:gd name="connsiteX12" fmla="*/ 8995968 w 9059296"/>
                <a:gd name="connsiteY12" fmla="*/ 3833204 h 3860342"/>
                <a:gd name="connsiteX13" fmla="*/ 7833950 w 9059296"/>
                <a:gd name="connsiteY13" fmla="*/ 3335244 h 3860342"/>
                <a:gd name="connsiteX14" fmla="*/ 7361290 w 9059296"/>
                <a:gd name="connsiteY14" fmla="*/ 3141477 h 3860342"/>
                <a:gd name="connsiteX15" fmla="*/ 6303144 w 9059296"/>
                <a:gd name="connsiteY15" fmla="*/ 2670026 h 3860342"/>
                <a:gd name="connsiteX16" fmla="*/ 5249570 w 9059296"/>
                <a:gd name="connsiteY16" fmla="*/ 1774423 h 3860342"/>
                <a:gd name="connsiteX17" fmla="*/ 4019131 w 9059296"/>
                <a:gd name="connsiteY17" fmla="*/ 794905 h 3860342"/>
                <a:gd name="connsiteX18" fmla="*/ 2187956 w 9059296"/>
                <a:gd name="connsiteY18" fmla="*/ 465347 h 3860342"/>
                <a:gd name="connsiteX19" fmla="*/ 673921 w 9059296"/>
                <a:gd name="connsiteY19" fmla="*/ 251745 h 3860342"/>
                <a:gd name="connsiteX20" fmla="*/ 0 w 9059296"/>
                <a:gd name="connsiteY20" fmla="*/ 0 h 3860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059296" h="3860342">
                  <a:moveTo>
                    <a:pt x="0" y="0"/>
                  </a:moveTo>
                  <a:cubicBezTo>
                    <a:pt x="0" y="0"/>
                    <a:pt x="0" y="0"/>
                    <a:pt x="35068" y="0"/>
                  </a:cubicBezTo>
                  <a:cubicBezTo>
                    <a:pt x="247003" y="90018"/>
                    <a:pt x="460462" y="173933"/>
                    <a:pt x="676971" y="238014"/>
                  </a:cubicBezTo>
                  <a:cubicBezTo>
                    <a:pt x="1163352" y="384484"/>
                    <a:pt x="1684803" y="419576"/>
                    <a:pt x="2189481" y="451616"/>
                  </a:cubicBezTo>
                  <a:cubicBezTo>
                    <a:pt x="2806988" y="491285"/>
                    <a:pt x="3444316" y="532480"/>
                    <a:pt x="4025230" y="781173"/>
                  </a:cubicBezTo>
                  <a:cubicBezTo>
                    <a:pt x="4525334" y="996301"/>
                    <a:pt x="4898887" y="1386888"/>
                    <a:pt x="5260243" y="1763743"/>
                  </a:cubicBezTo>
                  <a:cubicBezTo>
                    <a:pt x="5575858" y="2093301"/>
                    <a:pt x="5900620" y="2433538"/>
                    <a:pt x="6309242" y="2657820"/>
                  </a:cubicBezTo>
                  <a:cubicBezTo>
                    <a:pt x="6644678" y="2839382"/>
                    <a:pt x="7010608" y="2987378"/>
                    <a:pt x="7365865" y="3129271"/>
                  </a:cubicBezTo>
                  <a:cubicBezTo>
                    <a:pt x="7522910" y="3191826"/>
                    <a:pt x="7684529" y="3255906"/>
                    <a:pt x="7840049" y="3323038"/>
                  </a:cubicBezTo>
                  <a:cubicBezTo>
                    <a:pt x="7840049" y="3323038"/>
                    <a:pt x="7840049" y="3323038"/>
                    <a:pt x="8929279" y="3789445"/>
                  </a:cubicBezTo>
                  <a:lnTo>
                    <a:pt x="9059296" y="3845119"/>
                  </a:lnTo>
                  <a:lnTo>
                    <a:pt x="9059296" y="3860342"/>
                  </a:lnTo>
                  <a:lnTo>
                    <a:pt x="8995968" y="3833204"/>
                  </a:lnTo>
                  <a:cubicBezTo>
                    <a:pt x="8829966" y="3762067"/>
                    <a:pt x="8497961" y="3619793"/>
                    <a:pt x="7833950" y="3335244"/>
                  </a:cubicBezTo>
                  <a:cubicBezTo>
                    <a:pt x="7678430" y="3269638"/>
                    <a:pt x="7516811" y="3204031"/>
                    <a:pt x="7361290" y="3141477"/>
                  </a:cubicBezTo>
                  <a:cubicBezTo>
                    <a:pt x="7006034" y="2999584"/>
                    <a:pt x="6638579" y="2853114"/>
                    <a:pt x="6303144" y="2670026"/>
                  </a:cubicBezTo>
                  <a:cubicBezTo>
                    <a:pt x="5892997" y="2445744"/>
                    <a:pt x="5565184" y="2103981"/>
                    <a:pt x="5249570" y="1774423"/>
                  </a:cubicBezTo>
                  <a:cubicBezTo>
                    <a:pt x="4889739" y="1397568"/>
                    <a:pt x="4516186" y="1008507"/>
                    <a:pt x="4019131" y="794905"/>
                  </a:cubicBezTo>
                  <a:cubicBezTo>
                    <a:pt x="3441266" y="546211"/>
                    <a:pt x="2803938" y="505016"/>
                    <a:pt x="2187956" y="465347"/>
                  </a:cubicBezTo>
                  <a:cubicBezTo>
                    <a:pt x="1683278" y="433307"/>
                    <a:pt x="1161828" y="398215"/>
                    <a:pt x="673921" y="251745"/>
                  </a:cubicBezTo>
                  <a:cubicBezTo>
                    <a:pt x="446740" y="183088"/>
                    <a:pt x="221083" y="94595"/>
                    <a:pt x="0" y="0"/>
                  </a:cubicBezTo>
                  <a:close/>
                </a:path>
              </a:pathLst>
            </a:custGeom>
            <a:solidFill>
              <a:srgbClr val="C4C6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16" name="Freeform: Shape 115"/>
            <p:cNvSpPr>
              <a:spLocks/>
            </p:cNvSpPr>
            <p:nvPr userDrawn="1"/>
          </p:nvSpPr>
          <p:spPr bwMode="auto">
            <a:xfrm>
              <a:off x="3630966" y="1"/>
              <a:ext cx="8562234" cy="3661559"/>
            </a:xfrm>
            <a:custGeom>
              <a:avLst/>
              <a:gdLst>
                <a:gd name="connsiteX0" fmla="*/ 0 w 8562234"/>
                <a:gd name="connsiteY0" fmla="*/ 0 h 3661559"/>
                <a:gd name="connsiteX1" fmla="*/ 39643 w 8562234"/>
                <a:gd name="connsiteY1" fmla="*/ 0 h 3661559"/>
                <a:gd name="connsiteX2" fmla="*/ 254626 w 8562234"/>
                <a:gd name="connsiteY2" fmla="*/ 74782 h 3661559"/>
                <a:gd name="connsiteX3" fmla="*/ 1773234 w 8562234"/>
                <a:gd name="connsiteY3" fmla="*/ 363226 h 3661559"/>
                <a:gd name="connsiteX4" fmla="*/ 3612031 w 8562234"/>
                <a:gd name="connsiteY4" fmla="*/ 772237 h 3661559"/>
                <a:gd name="connsiteX5" fmla="*/ 4834846 w 8562234"/>
                <a:gd name="connsiteY5" fmla="*/ 1672671 h 3661559"/>
                <a:gd name="connsiteX6" fmla="*/ 5886894 w 8562234"/>
                <a:gd name="connsiteY6" fmla="*/ 2492219 h 3661559"/>
                <a:gd name="connsiteX7" fmla="*/ 6937417 w 8562234"/>
                <a:gd name="connsiteY7" fmla="*/ 2957698 h 3661559"/>
                <a:gd name="connsiteX8" fmla="*/ 7414650 w 8562234"/>
                <a:gd name="connsiteY8" fmla="*/ 3154572 h 3661559"/>
                <a:gd name="connsiteX9" fmla="*/ 8444833 w 8562234"/>
                <a:gd name="connsiteY9" fmla="*/ 3595961 h 3661559"/>
                <a:gd name="connsiteX10" fmla="*/ 8562234 w 8562234"/>
                <a:gd name="connsiteY10" fmla="*/ 3646262 h 3661559"/>
                <a:gd name="connsiteX11" fmla="*/ 8562234 w 8562234"/>
                <a:gd name="connsiteY11" fmla="*/ 3661559 h 3661559"/>
                <a:gd name="connsiteX12" fmla="*/ 8508056 w 8562234"/>
                <a:gd name="connsiteY12" fmla="*/ 3638365 h 3661559"/>
                <a:gd name="connsiteX13" fmla="*/ 7410076 w 8562234"/>
                <a:gd name="connsiteY13" fmla="*/ 3168308 h 3661559"/>
                <a:gd name="connsiteX14" fmla="*/ 6932843 w 8562234"/>
                <a:gd name="connsiteY14" fmla="*/ 2971433 h 3661559"/>
                <a:gd name="connsiteX15" fmla="*/ 5879270 w 8562234"/>
                <a:gd name="connsiteY15" fmla="*/ 2504428 h 3661559"/>
                <a:gd name="connsiteX16" fmla="*/ 4825698 w 8562234"/>
                <a:gd name="connsiteY16" fmla="*/ 1683354 h 3661559"/>
                <a:gd name="connsiteX17" fmla="*/ 3605932 w 8562234"/>
                <a:gd name="connsiteY17" fmla="*/ 785972 h 3661559"/>
                <a:gd name="connsiteX18" fmla="*/ 1771710 w 8562234"/>
                <a:gd name="connsiteY18" fmla="*/ 378488 h 3661559"/>
                <a:gd name="connsiteX19" fmla="*/ 250052 w 8562234"/>
                <a:gd name="connsiteY19" fmla="*/ 88517 h 3661559"/>
                <a:gd name="connsiteX20" fmla="*/ 0 w 8562234"/>
                <a:gd name="connsiteY20" fmla="*/ 0 h 3661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8562234" h="3661559">
                  <a:moveTo>
                    <a:pt x="0" y="0"/>
                  </a:moveTo>
                  <a:cubicBezTo>
                    <a:pt x="0" y="0"/>
                    <a:pt x="0" y="0"/>
                    <a:pt x="39643" y="0"/>
                  </a:cubicBezTo>
                  <a:cubicBezTo>
                    <a:pt x="111304" y="25945"/>
                    <a:pt x="182965" y="51890"/>
                    <a:pt x="254626" y="74782"/>
                  </a:cubicBezTo>
                  <a:cubicBezTo>
                    <a:pt x="744057" y="233503"/>
                    <a:pt x="1267032" y="300654"/>
                    <a:pt x="1773234" y="363226"/>
                  </a:cubicBezTo>
                  <a:cubicBezTo>
                    <a:pt x="2390741" y="441060"/>
                    <a:pt x="3028068" y="521947"/>
                    <a:pt x="3612031" y="772237"/>
                  </a:cubicBezTo>
                  <a:cubicBezTo>
                    <a:pt x="4090789" y="978269"/>
                    <a:pt x="4468917" y="1330812"/>
                    <a:pt x="4834846" y="1672671"/>
                  </a:cubicBezTo>
                  <a:cubicBezTo>
                    <a:pt x="5155034" y="1973325"/>
                    <a:pt x="5487420" y="2283135"/>
                    <a:pt x="5886894" y="2492219"/>
                  </a:cubicBezTo>
                  <a:cubicBezTo>
                    <a:pt x="6222330" y="2669254"/>
                    <a:pt x="6586734" y="2815765"/>
                    <a:pt x="6937417" y="2957698"/>
                  </a:cubicBezTo>
                  <a:cubicBezTo>
                    <a:pt x="7095986" y="3021797"/>
                    <a:pt x="7257606" y="3087421"/>
                    <a:pt x="7414650" y="3154572"/>
                  </a:cubicBezTo>
                  <a:cubicBezTo>
                    <a:pt x="7414650" y="3154572"/>
                    <a:pt x="7414650" y="3154572"/>
                    <a:pt x="8444833" y="3595961"/>
                  </a:cubicBezTo>
                  <a:lnTo>
                    <a:pt x="8562234" y="3646262"/>
                  </a:lnTo>
                  <a:lnTo>
                    <a:pt x="8562234" y="3661559"/>
                  </a:lnTo>
                  <a:lnTo>
                    <a:pt x="8508056" y="3638365"/>
                  </a:lnTo>
                  <a:cubicBezTo>
                    <a:pt x="8351202" y="3571214"/>
                    <a:pt x="8037493" y="3436912"/>
                    <a:pt x="7410076" y="3168308"/>
                  </a:cubicBezTo>
                  <a:cubicBezTo>
                    <a:pt x="7253032" y="3099631"/>
                    <a:pt x="7089888" y="3034006"/>
                    <a:pt x="6932843" y="2971433"/>
                  </a:cubicBezTo>
                  <a:cubicBezTo>
                    <a:pt x="6580636" y="2827974"/>
                    <a:pt x="6216230" y="2681463"/>
                    <a:pt x="5879270" y="2504428"/>
                  </a:cubicBezTo>
                  <a:cubicBezTo>
                    <a:pt x="5479797" y="2293818"/>
                    <a:pt x="5147411" y="1984008"/>
                    <a:pt x="4825698" y="1683354"/>
                  </a:cubicBezTo>
                  <a:cubicBezTo>
                    <a:pt x="4459768" y="1343021"/>
                    <a:pt x="4081641" y="990478"/>
                    <a:pt x="3605932" y="785972"/>
                  </a:cubicBezTo>
                  <a:cubicBezTo>
                    <a:pt x="3025019" y="535682"/>
                    <a:pt x="2387691" y="456322"/>
                    <a:pt x="1771710" y="378488"/>
                  </a:cubicBezTo>
                  <a:cubicBezTo>
                    <a:pt x="1265507" y="314389"/>
                    <a:pt x="741008" y="247238"/>
                    <a:pt x="250052" y="88517"/>
                  </a:cubicBezTo>
                  <a:cubicBezTo>
                    <a:pt x="166193" y="61046"/>
                    <a:pt x="82335" y="30523"/>
                    <a:pt x="0" y="0"/>
                  </a:cubicBezTo>
                  <a:close/>
                </a:path>
              </a:pathLst>
            </a:custGeom>
            <a:solidFill>
              <a:srgbClr val="C4C5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18" name="Freeform: Shape 117"/>
            <p:cNvSpPr>
              <a:spLocks/>
            </p:cNvSpPr>
            <p:nvPr userDrawn="1"/>
          </p:nvSpPr>
          <p:spPr bwMode="auto">
            <a:xfrm>
              <a:off x="4188958" y="1"/>
              <a:ext cx="8004242" cy="3467965"/>
            </a:xfrm>
            <a:custGeom>
              <a:avLst/>
              <a:gdLst>
                <a:gd name="connsiteX0" fmla="*/ 0 w 8004242"/>
                <a:gd name="connsiteY0" fmla="*/ 0 h 3467965"/>
                <a:gd name="connsiteX1" fmla="*/ 50316 w 8004242"/>
                <a:gd name="connsiteY1" fmla="*/ 0 h 3467965"/>
                <a:gd name="connsiteX2" fmla="*/ 1299059 w 8004242"/>
                <a:gd name="connsiteY2" fmla="*/ 276214 h 3467965"/>
                <a:gd name="connsiteX3" fmla="*/ 3136342 w 8004242"/>
                <a:gd name="connsiteY3" fmla="*/ 761495 h 3467965"/>
                <a:gd name="connsiteX4" fmla="*/ 4346967 w 8004242"/>
                <a:gd name="connsiteY4" fmla="*/ 1579454 h 3467965"/>
                <a:gd name="connsiteX5" fmla="*/ 5402071 w 8004242"/>
                <a:gd name="connsiteY5" fmla="*/ 2325689 h 3467965"/>
                <a:gd name="connsiteX6" fmla="*/ 7582416 w 8004242"/>
                <a:gd name="connsiteY6" fmla="*/ 3279466 h 3467965"/>
                <a:gd name="connsiteX7" fmla="*/ 8004242 w 8004242"/>
                <a:gd name="connsiteY7" fmla="*/ 3452516 h 3467965"/>
                <a:gd name="connsiteX8" fmla="*/ 8004242 w 8004242"/>
                <a:gd name="connsiteY8" fmla="*/ 3467965 h 3467965"/>
                <a:gd name="connsiteX9" fmla="*/ 7576316 w 8004242"/>
                <a:gd name="connsiteY9" fmla="*/ 3293200 h 3467965"/>
                <a:gd name="connsiteX10" fmla="*/ 5394447 w 8004242"/>
                <a:gd name="connsiteY10" fmla="*/ 2337897 h 3467965"/>
                <a:gd name="connsiteX11" fmla="*/ 4337818 w 8004242"/>
                <a:gd name="connsiteY11" fmla="*/ 1591663 h 3467965"/>
                <a:gd name="connsiteX12" fmla="*/ 3130243 w 8004242"/>
                <a:gd name="connsiteY12" fmla="*/ 775230 h 3467965"/>
                <a:gd name="connsiteX13" fmla="*/ 1296009 w 8004242"/>
                <a:gd name="connsiteY13" fmla="*/ 289948 h 3467965"/>
                <a:gd name="connsiteX14" fmla="*/ 0 w 8004242"/>
                <a:gd name="connsiteY14" fmla="*/ 0 h 3467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004242" h="3467965">
                  <a:moveTo>
                    <a:pt x="0" y="0"/>
                  </a:moveTo>
                  <a:cubicBezTo>
                    <a:pt x="0" y="0"/>
                    <a:pt x="0" y="0"/>
                    <a:pt x="50316" y="0"/>
                  </a:cubicBezTo>
                  <a:cubicBezTo>
                    <a:pt x="460465" y="119031"/>
                    <a:pt x="885861" y="198386"/>
                    <a:pt x="1299059" y="276214"/>
                  </a:cubicBezTo>
                  <a:cubicBezTo>
                    <a:pt x="1913519" y="390667"/>
                    <a:pt x="2550851" y="509698"/>
                    <a:pt x="3136342" y="761495"/>
                  </a:cubicBezTo>
                  <a:cubicBezTo>
                    <a:pt x="3593757" y="958355"/>
                    <a:pt x="3976461" y="1274246"/>
                    <a:pt x="4346967" y="1579454"/>
                  </a:cubicBezTo>
                  <a:cubicBezTo>
                    <a:pt x="4673256" y="1849564"/>
                    <a:pt x="5011744" y="2130356"/>
                    <a:pt x="5402071" y="2325689"/>
                  </a:cubicBezTo>
                  <a:cubicBezTo>
                    <a:pt x="6104965" y="2679731"/>
                    <a:pt x="6856650" y="2984939"/>
                    <a:pt x="7582416" y="3279466"/>
                  </a:cubicBezTo>
                  <a:lnTo>
                    <a:pt x="8004242" y="3452516"/>
                  </a:lnTo>
                  <a:lnTo>
                    <a:pt x="8004242" y="3467965"/>
                  </a:lnTo>
                  <a:lnTo>
                    <a:pt x="7576316" y="3293200"/>
                  </a:lnTo>
                  <a:cubicBezTo>
                    <a:pt x="6850552" y="2998674"/>
                    <a:pt x="6100391" y="2693465"/>
                    <a:pt x="5394447" y="2337897"/>
                  </a:cubicBezTo>
                  <a:cubicBezTo>
                    <a:pt x="5004120" y="2142564"/>
                    <a:pt x="4665632" y="1861772"/>
                    <a:pt x="4337818" y="1591663"/>
                  </a:cubicBezTo>
                  <a:cubicBezTo>
                    <a:pt x="3968837" y="1286454"/>
                    <a:pt x="3586133" y="970563"/>
                    <a:pt x="3130243" y="775230"/>
                  </a:cubicBezTo>
                  <a:cubicBezTo>
                    <a:pt x="2546277" y="523433"/>
                    <a:pt x="1910470" y="405927"/>
                    <a:pt x="1296009" y="289948"/>
                  </a:cubicBezTo>
                  <a:cubicBezTo>
                    <a:pt x="867564" y="210594"/>
                    <a:pt x="425396" y="128188"/>
                    <a:pt x="0" y="0"/>
                  </a:cubicBezTo>
                  <a:close/>
                </a:path>
              </a:pathLst>
            </a:custGeom>
            <a:solidFill>
              <a:srgbClr val="C3C5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14" name="Freeform: Shape 113"/>
            <p:cNvSpPr>
              <a:spLocks/>
            </p:cNvSpPr>
            <p:nvPr userDrawn="1"/>
          </p:nvSpPr>
          <p:spPr bwMode="auto">
            <a:xfrm>
              <a:off x="4780622" y="1"/>
              <a:ext cx="7412579" cy="3266743"/>
            </a:xfrm>
            <a:custGeom>
              <a:avLst/>
              <a:gdLst>
                <a:gd name="connsiteX0" fmla="*/ 0 w 7412579"/>
                <a:gd name="connsiteY0" fmla="*/ 0 h 3266743"/>
                <a:gd name="connsiteX1" fmla="*/ 54890 w 7412579"/>
                <a:gd name="connsiteY1" fmla="*/ 0 h 3266743"/>
                <a:gd name="connsiteX2" fmla="*/ 792845 w 7412579"/>
                <a:gd name="connsiteY2" fmla="*/ 189200 h 3266743"/>
                <a:gd name="connsiteX3" fmla="*/ 2625536 w 7412579"/>
                <a:gd name="connsiteY3" fmla="*/ 749170 h 3266743"/>
                <a:gd name="connsiteX4" fmla="*/ 3822427 w 7412579"/>
                <a:gd name="connsiteY4" fmla="*/ 1484608 h 3266743"/>
                <a:gd name="connsiteX5" fmla="*/ 4882095 w 7412579"/>
                <a:gd name="connsiteY5" fmla="*/ 2159014 h 3266743"/>
                <a:gd name="connsiteX6" fmla="*/ 7057843 w 7412579"/>
                <a:gd name="connsiteY6" fmla="*/ 3103487 h 3266743"/>
                <a:gd name="connsiteX7" fmla="*/ 7412579 w 7412579"/>
                <a:gd name="connsiteY7" fmla="*/ 3250217 h 3266743"/>
                <a:gd name="connsiteX8" fmla="*/ 7412579 w 7412579"/>
                <a:gd name="connsiteY8" fmla="*/ 3266743 h 3266743"/>
                <a:gd name="connsiteX9" fmla="*/ 7053269 w 7412579"/>
                <a:gd name="connsiteY9" fmla="*/ 3117219 h 3266743"/>
                <a:gd name="connsiteX10" fmla="*/ 4875995 w 7412579"/>
                <a:gd name="connsiteY10" fmla="*/ 2171220 h 3266743"/>
                <a:gd name="connsiteX11" fmla="*/ 3814803 w 7412579"/>
                <a:gd name="connsiteY11" fmla="*/ 1496814 h 3266743"/>
                <a:gd name="connsiteX12" fmla="*/ 2620962 w 7412579"/>
                <a:gd name="connsiteY12" fmla="*/ 761377 h 3266743"/>
                <a:gd name="connsiteX13" fmla="*/ 789796 w 7412579"/>
                <a:gd name="connsiteY13" fmla="*/ 202932 h 3266743"/>
                <a:gd name="connsiteX14" fmla="*/ 0 w 7412579"/>
                <a:gd name="connsiteY14" fmla="*/ 0 h 3266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412579" h="3266743">
                  <a:moveTo>
                    <a:pt x="0" y="0"/>
                  </a:moveTo>
                  <a:cubicBezTo>
                    <a:pt x="0" y="0"/>
                    <a:pt x="0" y="0"/>
                    <a:pt x="54890" y="0"/>
                  </a:cubicBezTo>
                  <a:cubicBezTo>
                    <a:pt x="301891" y="67135"/>
                    <a:pt x="548893" y="128168"/>
                    <a:pt x="792845" y="189200"/>
                  </a:cubicBezTo>
                  <a:cubicBezTo>
                    <a:pt x="1404250" y="340254"/>
                    <a:pt x="2037001" y="495887"/>
                    <a:pt x="2625536" y="749170"/>
                  </a:cubicBezTo>
                  <a:cubicBezTo>
                    <a:pt x="3063126" y="936844"/>
                    <a:pt x="3448875" y="1214541"/>
                    <a:pt x="3822427" y="1484608"/>
                  </a:cubicBezTo>
                  <a:cubicBezTo>
                    <a:pt x="4156337" y="1725685"/>
                    <a:pt x="4502443" y="1975917"/>
                    <a:pt x="4882095" y="2159014"/>
                  </a:cubicBezTo>
                  <a:cubicBezTo>
                    <a:pt x="5592605" y="2500794"/>
                    <a:pt x="6338185" y="2807480"/>
                    <a:pt x="7057843" y="3103487"/>
                  </a:cubicBezTo>
                  <a:lnTo>
                    <a:pt x="7412579" y="3250217"/>
                  </a:lnTo>
                  <a:lnTo>
                    <a:pt x="7412579" y="3266743"/>
                  </a:lnTo>
                  <a:lnTo>
                    <a:pt x="7053269" y="3117219"/>
                  </a:lnTo>
                  <a:cubicBezTo>
                    <a:pt x="6332085" y="2821213"/>
                    <a:pt x="5586507" y="2513000"/>
                    <a:pt x="4875995" y="2171220"/>
                  </a:cubicBezTo>
                  <a:cubicBezTo>
                    <a:pt x="4494820" y="1988123"/>
                    <a:pt x="4148713" y="1737892"/>
                    <a:pt x="3814803" y="1496814"/>
                  </a:cubicBezTo>
                  <a:cubicBezTo>
                    <a:pt x="3441252" y="1226747"/>
                    <a:pt x="3055502" y="949051"/>
                    <a:pt x="2620962" y="761377"/>
                  </a:cubicBezTo>
                  <a:cubicBezTo>
                    <a:pt x="2030903" y="509619"/>
                    <a:pt x="1399676" y="353987"/>
                    <a:pt x="789796" y="202932"/>
                  </a:cubicBezTo>
                  <a:cubicBezTo>
                    <a:pt x="529072" y="138848"/>
                    <a:pt x="263774" y="73239"/>
                    <a:pt x="0" y="0"/>
                  </a:cubicBezTo>
                  <a:close/>
                </a:path>
              </a:pathLst>
            </a:custGeom>
            <a:solidFill>
              <a:srgbClr val="C3C4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12" name="Freeform: Shape 111"/>
            <p:cNvSpPr>
              <a:spLocks/>
            </p:cNvSpPr>
            <p:nvPr userDrawn="1"/>
          </p:nvSpPr>
          <p:spPr bwMode="auto">
            <a:xfrm>
              <a:off x="5279287" y="1"/>
              <a:ext cx="6913913" cy="3065889"/>
            </a:xfrm>
            <a:custGeom>
              <a:avLst/>
              <a:gdLst>
                <a:gd name="connsiteX0" fmla="*/ 0 w 6913913"/>
                <a:gd name="connsiteY0" fmla="*/ 0 h 3065889"/>
                <a:gd name="connsiteX1" fmla="*/ 50315 w 6913913"/>
                <a:gd name="connsiteY1" fmla="*/ 0 h 3065889"/>
                <a:gd name="connsiteX2" fmla="*/ 385745 w 6913913"/>
                <a:gd name="connsiteY2" fmla="*/ 102261 h 3065889"/>
                <a:gd name="connsiteX3" fmla="*/ 2204691 w 6913913"/>
                <a:gd name="connsiteY3" fmla="*/ 731090 h 3065889"/>
                <a:gd name="connsiteX4" fmla="*/ 3387845 w 6913913"/>
                <a:gd name="connsiteY4" fmla="*/ 1387393 h 3065889"/>
                <a:gd name="connsiteX5" fmla="*/ 4456647 w 6913913"/>
                <a:gd name="connsiteY5" fmla="*/ 1993328 h 3065889"/>
                <a:gd name="connsiteX6" fmla="*/ 6621696 w 6913913"/>
                <a:gd name="connsiteY6" fmla="*/ 2927414 h 3065889"/>
                <a:gd name="connsiteX7" fmla="*/ 6913913 w 6913913"/>
                <a:gd name="connsiteY7" fmla="*/ 3049393 h 3065889"/>
                <a:gd name="connsiteX8" fmla="*/ 6913913 w 6913913"/>
                <a:gd name="connsiteY8" fmla="*/ 3065889 h 3065889"/>
                <a:gd name="connsiteX9" fmla="*/ 6617122 w 6913913"/>
                <a:gd name="connsiteY9" fmla="*/ 2941151 h 3065889"/>
                <a:gd name="connsiteX10" fmla="*/ 4450549 w 6913913"/>
                <a:gd name="connsiteY10" fmla="*/ 2005538 h 3065889"/>
                <a:gd name="connsiteX11" fmla="*/ 3380221 w 6913913"/>
                <a:gd name="connsiteY11" fmla="*/ 1399603 h 3065889"/>
                <a:gd name="connsiteX12" fmla="*/ 2200117 w 6913913"/>
                <a:gd name="connsiteY12" fmla="*/ 744827 h 3065889"/>
                <a:gd name="connsiteX13" fmla="*/ 381171 w 6913913"/>
                <a:gd name="connsiteY13" fmla="*/ 117524 h 3065889"/>
                <a:gd name="connsiteX14" fmla="*/ 0 w 6913913"/>
                <a:gd name="connsiteY14" fmla="*/ 0 h 3065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913913" h="3065889">
                  <a:moveTo>
                    <a:pt x="0" y="0"/>
                  </a:moveTo>
                  <a:cubicBezTo>
                    <a:pt x="0" y="0"/>
                    <a:pt x="0" y="0"/>
                    <a:pt x="50315" y="0"/>
                  </a:cubicBezTo>
                  <a:cubicBezTo>
                    <a:pt x="163141" y="35105"/>
                    <a:pt x="274443" y="68683"/>
                    <a:pt x="385745" y="102261"/>
                  </a:cubicBezTo>
                  <a:cubicBezTo>
                    <a:pt x="989519" y="286942"/>
                    <a:pt x="1614639" y="477727"/>
                    <a:pt x="2204691" y="731090"/>
                  </a:cubicBezTo>
                  <a:cubicBezTo>
                    <a:pt x="2622454" y="911192"/>
                    <a:pt x="3011248" y="1152345"/>
                    <a:pt x="3387845" y="1387393"/>
                  </a:cubicBezTo>
                  <a:cubicBezTo>
                    <a:pt x="3729373" y="1601073"/>
                    <a:pt x="4083100" y="1820858"/>
                    <a:pt x="4456647" y="1993328"/>
                  </a:cubicBezTo>
                  <a:cubicBezTo>
                    <a:pt x="5170199" y="2319953"/>
                    <a:pt x="5908145" y="2629789"/>
                    <a:pt x="6621696" y="2927414"/>
                  </a:cubicBezTo>
                  <a:lnTo>
                    <a:pt x="6913913" y="3049393"/>
                  </a:lnTo>
                  <a:lnTo>
                    <a:pt x="6913913" y="3065889"/>
                  </a:lnTo>
                  <a:lnTo>
                    <a:pt x="6617122" y="2941151"/>
                  </a:lnTo>
                  <a:cubicBezTo>
                    <a:pt x="5902046" y="2641999"/>
                    <a:pt x="5164099" y="2333689"/>
                    <a:pt x="4450549" y="2005538"/>
                  </a:cubicBezTo>
                  <a:cubicBezTo>
                    <a:pt x="4075477" y="1834594"/>
                    <a:pt x="3721750" y="1613283"/>
                    <a:pt x="3380221" y="1399603"/>
                  </a:cubicBezTo>
                  <a:cubicBezTo>
                    <a:pt x="3005149" y="1166082"/>
                    <a:pt x="2616355" y="923402"/>
                    <a:pt x="2200117" y="744827"/>
                  </a:cubicBezTo>
                  <a:cubicBezTo>
                    <a:pt x="1608540" y="491464"/>
                    <a:pt x="984945" y="300678"/>
                    <a:pt x="381171" y="117524"/>
                  </a:cubicBezTo>
                  <a:cubicBezTo>
                    <a:pt x="254622" y="77841"/>
                    <a:pt x="128074" y="39683"/>
                    <a:pt x="0" y="0"/>
                  </a:cubicBezTo>
                  <a:close/>
                </a:path>
              </a:pathLst>
            </a:custGeom>
            <a:solidFill>
              <a:srgbClr val="C2C4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10" name="Freeform: Shape 109"/>
            <p:cNvSpPr>
              <a:spLocks/>
            </p:cNvSpPr>
            <p:nvPr userDrawn="1"/>
          </p:nvSpPr>
          <p:spPr bwMode="auto">
            <a:xfrm>
              <a:off x="5667316" y="1"/>
              <a:ext cx="6525884" cy="2863221"/>
            </a:xfrm>
            <a:custGeom>
              <a:avLst/>
              <a:gdLst>
                <a:gd name="connsiteX0" fmla="*/ 0 w 6525884"/>
                <a:gd name="connsiteY0" fmla="*/ 0 h 2863221"/>
                <a:gd name="connsiteX1" fmla="*/ 44221 w 6525884"/>
                <a:gd name="connsiteY1" fmla="*/ 0 h 2863221"/>
                <a:gd name="connsiteX2" fmla="*/ 109790 w 6525884"/>
                <a:gd name="connsiteY2" fmla="*/ 24416 h 2863221"/>
                <a:gd name="connsiteX3" fmla="*/ 1889300 w 6525884"/>
                <a:gd name="connsiteY3" fmla="*/ 708059 h 2863221"/>
                <a:gd name="connsiteX4" fmla="*/ 3051242 w 6525884"/>
                <a:gd name="connsiteY4" fmla="*/ 1281831 h 2863221"/>
                <a:gd name="connsiteX5" fmla="*/ 4141516 w 6525884"/>
                <a:gd name="connsiteY5" fmla="*/ 1825084 h 2863221"/>
                <a:gd name="connsiteX6" fmla="*/ 6273268 w 6525884"/>
                <a:gd name="connsiteY6" fmla="*/ 2739151 h 2863221"/>
                <a:gd name="connsiteX7" fmla="*/ 6525884 w 6525884"/>
                <a:gd name="connsiteY7" fmla="*/ 2846566 h 2863221"/>
                <a:gd name="connsiteX8" fmla="*/ 6525884 w 6525884"/>
                <a:gd name="connsiteY8" fmla="*/ 2863221 h 2863221"/>
                <a:gd name="connsiteX9" fmla="*/ 6267168 w 6525884"/>
                <a:gd name="connsiteY9" fmla="*/ 2752885 h 2863221"/>
                <a:gd name="connsiteX10" fmla="*/ 4135416 w 6525884"/>
                <a:gd name="connsiteY10" fmla="*/ 1838818 h 2863221"/>
                <a:gd name="connsiteX11" fmla="*/ 3045142 w 6525884"/>
                <a:gd name="connsiteY11" fmla="*/ 1295565 h 2863221"/>
                <a:gd name="connsiteX12" fmla="*/ 1883200 w 6525884"/>
                <a:gd name="connsiteY12" fmla="*/ 721793 h 2863221"/>
                <a:gd name="connsiteX13" fmla="*/ 105215 w 6525884"/>
                <a:gd name="connsiteY13" fmla="*/ 38150 h 2863221"/>
                <a:gd name="connsiteX14" fmla="*/ 0 w 6525884"/>
                <a:gd name="connsiteY14" fmla="*/ 0 h 2863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525884" h="2863221">
                  <a:moveTo>
                    <a:pt x="0" y="0"/>
                  </a:moveTo>
                  <a:cubicBezTo>
                    <a:pt x="0" y="0"/>
                    <a:pt x="0" y="0"/>
                    <a:pt x="44221" y="0"/>
                  </a:cubicBezTo>
                  <a:cubicBezTo>
                    <a:pt x="65569" y="7630"/>
                    <a:pt x="88442" y="15260"/>
                    <a:pt x="109790" y="24416"/>
                  </a:cubicBezTo>
                  <a:cubicBezTo>
                    <a:pt x="698385" y="238054"/>
                    <a:pt x="1305279" y="457797"/>
                    <a:pt x="1889300" y="708059"/>
                  </a:cubicBezTo>
                  <a:cubicBezTo>
                    <a:pt x="2288813" y="878970"/>
                    <a:pt x="2676127" y="1083453"/>
                    <a:pt x="3051242" y="1281831"/>
                  </a:cubicBezTo>
                  <a:cubicBezTo>
                    <a:pt x="3403484" y="1469528"/>
                    <a:pt x="3769450" y="1661803"/>
                    <a:pt x="4141516" y="1825084"/>
                  </a:cubicBezTo>
                  <a:cubicBezTo>
                    <a:pt x="4849050" y="2136385"/>
                    <a:pt x="5573358" y="2443109"/>
                    <a:pt x="6273268" y="2739151"/>
                  </a:cubicBezTo>
                  <a:lnTo>
                    <a:pt x="6525884" y="2846566"/>
                  </a:lnTo>
                  <a:lnTo>
                    <a:pt x="6525884" y="2863221"/>
                  </a:lnTo>
                  <a:lnTo>
                    <a:pt x="6267168" y="2752885"/>
                  </a:lnTo>
                  <a:cubicBezTo>
                    <a:pt x="5567258" y="2456843"/>
                    <a:pt x="4842950" y="2150119"/>
                    <a:pt x="4135416" y="1838818"/>
                  </a:cubicBezTo>
                  <a:cubicBezTo>
                    <a:pt x="3761826" y="1675537"/>
                    <a:pt x="3397385" y="1481736"/>
                    <a:pt x="3045142" y="1295565"/>
                  </a:cubicBezTo>
                  <a:cubicBezTo>
                    <a:pt x="2670027" y="1097187"/>
                    <a:pt x="2281188" y="892704"/>
                    <a:pt x="1883200" y="721793"/>
                  </a:cubicBezTo>
                  <a:cubicBezTo>
                    <a:pt x="1299180" y="471531"/>
                    <a:pt x="692286" y="251788"/>
                    <a:pt x="105215" y="38150"/>
                  </a:cubicBezTo>
                  <a:cubicBezTo>
                    <a:pt x="70144" y="25942"/>
                    <a:pt x="35072" y="12208"/>
                    <a:pt x="0" y="0"/>
                  </a:cubicBezTo>
                  <a:close/>
                </a:path>
              </a:pathLst>
            </a:custGeom>
            <a:solidFill>
              <a:srgbClr val="C2C3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51" name="Freeform 40"/>
            <p:cNvSpPr>
              <a:spLocks/>
            </p:cNvSpPr>
            <p:nvPr userDrawn="1"/>
          </p:nvSpPr>
          <p:spPr bwMode="auto">
            <a:xfrm>
              <a:off x="-792" y="4832724"/>
              <a:ext cx="5053996" cy="732765"/>
            </a:xfrm>
            <a:custGeom>
              <a:avLst/>
              <a:gdLst>
                <a:gd name="T0" fmla="*/ 2531 w 3314"/>
                <a:gd name="T1" fmla="*/ 341 h 480"/>
                <a:gd name="T2" fmla="*/ 2388 w 3314"/>
                <a:gd name="T3" fmla="*/ 357 h 480"/>
                <a:gd name="T4" fmla="*/ 2141 w 3314"/>
                <a:gd name="T5" fmla="*/ 386 h 480"/>
                <a:gd name="T6" fmla="*/ 1044 w 3314"/>
                <a:gd name="T7" fmla="*/ 413 h 480"/>
                <a:gd name="T8" fmla="*/ 290 w 3314"/>
                <a:gd name="T9" fmla="*/ 132 h 480"/>
                <a:gd name="T10" fmla="*/ 18 w 3314"/>
                <a:gd name="T11" fmla="*/ 8 h 480"/>
                <a:gd name="T12" fmla="*/ 0 w 3314"/>
                <a:gd name="T13" fmla="*/ 0 h 480"/>
                <a:gd name="T14" fmla="*/ 0 w 3314"/>
                <a:gd name="T15" fmla="*/ 4 h 480"/>
                <a:gd name="T16" fmla="*/ 17 w 3314"/>
                <a:gd name="T17" fmla="*/ 11 h 480"/>
                <a:gd name="T18" fmla="*/ 288 w 3314"/>
                <a:gd name="T19" fmla="*/ 135 h 480"/>
                <a:gd name="T20" fmla="*/ 1043 w 3314"/>
                <a:gd name="T21" fmla="*/ 416 h 480"/>
                <a:gd name="T22" fmla="*/ 2142 w 3314"/>
                <a:gd name="T23" fmla="*/ 390 h 480"/>
                <a:gd name="T24" fmla="*/ 2388 w 3314"/>
                <a:gd name="T25" fmla="*/ 361 h 480"/>
                <a:gd name="T26" fmla="*/ 2532 w 3314"/>
                <a:gd name="T27" fmla="*/ 345 h 480"/>
                <a:gd name="T28" fmla="*/ 3302 w 3314"/>
                <a:gd name="T29" fmla="*/ 315 h 480"/>
                <a:gd name="T30" fmla="*/ 3314 w 3314"/>
                <a:gd name="T31" fmla="*/ 313 h 480"/>
                <a:gd name="T32" fmla="*/ 2531 w 3314"/>
                <a:gd name="T33" fmla="*/ 341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14" h="480">
                  <a:moveTo>
                    <a:pt x="2531" y="341"/>
                  </a:moveTo>
                  <a:cubicBezTo>
                    <a:pt x="2481" y="347"/>
                    <a:pt x="2434" y="352"/>
                    <a:pt x="2388" y="357"/>
                  </a:cubicBezTo>
                  <a:cubicBezTo>
                    <a:pt x="2306" y="366"/>
                    <a:pt x="2222" y="376"/>
                    <a:pt x="2141" y="386"/>
                  </a:cubicBezTo>
                  <a:cubicBezTo>
                    <a:pt x="1778" y="431"/>
                    <a:pt x="1402" y="477"/>
                    <a:pt x="1044" y="413"/>
                  </a:cubicBezTo>
                  <a:cubicBezTo>
                    <a:pt x="788" y="367"/>
                    <a:pt x="535" y="247"/>
                    <a:pt x="290" y="132"/>
                  </a:cubicBezTo>
                  <a:cubicBezTo>
                    <a:pt x="196" y="88"/>
                    <a:pt x="107" y="46"/>
                    <a:pt x="18" y="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06" y="49"/>
                    <a:pt x="194" y="91"/>
                    <a:pt x="288" y="135"/>
                  </a:cubicBezTo>
                  <a:cubicBezTo>
                    <a:pt x="533" y="251"/>
                    <a:pt x="787" y="370"/>
                    <a:pt x="1043" y="416"/>
                  </a:cubicBezTo>
                  <a:cubicBezTo>
                    <a:pt x="1402" y="480"/>
                    <a:pt x="1778" y="434"/>
                    <a:pt x="2142" y="390"/>
                  </a:cubicBezTo>
                  <a:cubicBezTo>
                    <a:pt x="2223" y="380"/>
                    <a:pt x="2307" y="370"/>
                    <a:pt x="2388" y="361"/>
                  </a:cubicBezTo>
                  <a:cubicBezTo>
                    <a:pt x="2434" y="356"/>
                    <a:pt x="2482" y="351"/>
                    <a:pt x="2532" y="345"/>
                  </a:cubicBezTo>
                  <a:cubicBezTo>
                    <a:pt x="2781" y="315"/>
                    <a:pt x="3053" y="284"/>
                    <a:pt x="3302" y="315"/>
                  </a:cubicBezTo>
                  <a:cubicBezTo>
                    <a:pt x="3314" y="313"/>
                    <a:pt x="3314" y="313"/>
                    <a:pt x="3314" y="313"/>
                  </a:cubicBezTo>
                  <a:cubicBezTo>
                    <a:pt x="3062" y="279"/>
                    <a:pt x="2785" y="311"/>
                    <a:pt x="2531" y="341"/>
                  </a:cubicBezTo>
                  <a:close/>
                </a:path>
              </a:pathLst>
            </a:custGeom>
            <a:solidFill>
              <a:srgbClr val="D3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2" name="Freeform 41"/>
            <p:cNvSpPr>
              <a:spLocks/>
            </p:cNvSpPr>
            <p:nvPr userDrawn="1"/>
          </p:nvSpPr>
          <p:spPr bwMode="auto">
            <a:xfrm>
              <a:off x="-792" y="4632296"/>
              <a:ext cx="5714608" cy="755213"/>
            </a:xfrm>
            <a:custGeom>
              <a:avLst/>
              <a:gdLst>
                <a:gd name="T0" fmla="*/ 3707 w 3747"/>
                <a:gd name="T1" fmla="*/ 348 h 495"/>
                <a:gd name="T2" fmla="*/ 2619 w 3747"/>
                <a:gd name="T3" fmla="*/ 320 h 495"/>
                <a:gd name="T4" fmla="*/ 2467 w 3747"/>
                <a:gd name="T5" fmla="*/ 342 h 495"/>
                <a:gd name="T6" fmla="*/ 2211 w 3747"/>
                <a:gd name="T7" fmla="*/ 379 h 495"/>
                <a:gd name="T8" fmla="*/ 1093 w 3747"/>
                <a:gd name="T9" fmla="*/ 431 h 495"/>
                <a:gd name="T10" fmla="*/ 336 w 3747"/>
                <a:gd name="T11" fmla="*/ 152 h 495"/>
                <a:gd name="T12" fmla="*/ 66 w 3747"/>
                <a:gd name="T13" fmla="*/ 28 h 495"/>
                <a:gd name="T14" fmla="*/ 0 w 3747"/>
                <a:gd name="T15" fmla="*/ 0 h 495"/>
                <a:gd name="T16" fmla="*/ 0 w 3747"/>
                <a:gd name="T17" fmla="*/ 4 h 495"/>
                <a:gd name="T18" fmla="*/ 64 w 3747"/>
                <a:gd name="T19" fmla="*/ 31 h 495"/>
                <a:gd name="T20" fmla="*/ 334 w 3747"/>
                <a:gd name="T21" fmla="*/ 155 h 495"/>
                <a:gd name="T22" fmla="*/ 1092 w 3747"/>
                <a:gd name="T23" fmla="*/ 435 h 495"/>
                <a:gd name="T24" fmla="*/ 2212 w 3747"/>
                <a:gd name="T25" fmla="*/ 382 h 495"/>
                <a:gd name="T26" fmla="*/ 2468 w 3747"/>
                <a:gd name="T27" fmla="*/ 346 h 495"/>
                <a:gd name="T28" fmla="*/ 2620 w 3747"/>
                <a:gd name="T29" fmla="*/ 324 h 495"/>
                <a:gd name="T30" fmla="*/ 3705 w 3747"/>
                <a:gd name="T31" fmla="*/ 351 h 495"/>
                <a:gd name="T32" fmla="*/ 3741 w 3747"/>
                <a:gd name="T33" fmla="*/ 368 h 495"/>
                <a:gd name="T34" fmla="*/ 3747 w 3747"/>
                <a:gd name="T35" fmla="*/ 367 h 495"/>
                <a:gd name="T36" fmla="*/ 3707 w 3747"/>
                <a:gd name="T37" fmla="*/ 348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747" h="495">
                  <a:moveTo>
                    <a:pt x="3707" y="348"/>
                  </a:moveTo>
                  <a:cubicBezTo>
                    <a:pt x="3390" y="209"/>
                    <a:pt x="2962" y="271"/>
                    <a:pt x="2619" y="320"/>
                  </a:cubicBezTo>
                  <a:cubicBezTo>
                    <a:pt x="2566" y="328"/>
                    <a:pt x="2516" y="335"/>
                    <a:pt x="2467" y="342"/>
                  </a:cubicBezTo>
                  <a:cubicBezTo>
                    <a:pt x="2383" y="353"/>
                    <a:pt x="2296" y="366"/>
                    <a:pt x="2211" y="379"/>
                  </a:cubicBezTo>
                  <a:cubicBezTo>
                    <a:pt x="1841" y="434"/>
                    <a:pt x="1458" y="491"/>
                    <a:pt x="1093" y="431"/>
                  </a:cubicBezTo>
                  <a:cubicBezTo>
                    <a:pt x="837" y="389"/>
                    <a:pt x="582" y="268"/>
                    <a:pt x="336" y="152"/>
                  </a:cubicBezTo>
                  <a:cubicBezTo>
                    <a:pt x="242" y="107"/>
                    <a:pt x="154" y="66"/>
                    <a:pt x="66" y="2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64" y="31"/>
                    <a:pt x="64" y="31"/>
                    <a:pt x="64" y="31"/>
                  </a:cubicBezTo>
                  <a:cubicBezTo>
                    <a:pt x="153" y="69"/>
                    <a:pt x="241" y="111"/>
                    <a:pt x="334" y="155"/>
                  </a:cubicBezTo>
                  <a:cubicBezTo>
                    <a:pt x="580" y="272"/>
                    <a:pt x="835" y="392"/>
                    <a:pt x="1092" y="435"/>
                  </a:cubicBezTo>
                  <a:cubicBezTo>
                    <a:pt x="1458" y="495"/>
                    <a:pt x="1841" y="438"/>
                    <a:pt x="2212" y="382"/>
                  </a:cubicBezTo>
                  <a:cubicBezTo>
                    <a:pt x="2296" y="370"/>
                    <a:pt x="2384" y="357"/>
                    <a:pt x="2468" y="346"/>
                  </a:cubicBezTo>
                  <a:cubicBezTo>
                    <a:pt x="2517" y="339"/>
                    <a:pt x="2567" y="332"/>
                    <a:pt x="2620" y="324"/>
                  </a:cubicBezTo>
                  <a:cubicBezTo>
                    <a:pt x="2962" y="275"/>
                    <a:pt x="3389" y="213"/>
                    <a:pt x="3705" y="351"/>
                  </a:cubicBezTo>
                  <a:cubicBezTo>
                    <a:pt x="3717" y="357"/>
                    <a:pt x="3729" y="362"/>
                    <a:pt x="3741" y="368"/>
                  </a:cubicBezTo>
                  <a:cubicBezTo>
                    <a:pt x="3747" y="367"/>
                    <a:pt x="3747" y="367"/>
                    <a:pt x="3747" y="367"/>
                  </a:cubicBezTo>
                  <a:cubicBezTo>
                    <a:pt x="3734" y="361"/>
                    <a:pt x="3720" y="354"/>
                    <a:pt x="3707" y="348"/>
                  </a:cubicBezTo>
                  <a:close/>
                </a:path>
              </a:pathLst>
            </a:custGeom>
            <a:solidFill>
              <a:srgbClr val="D3D4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3" name="Freeform 42"/>
            <p:cNvSpPr>
              <a:spLocks/>
            </p:cNvSpPr>
            <p:nvPr userDrawn="1"/>
          </p:nvSpPr>
          <p:spPr bwMode="auto">
            <a:xfrm>
              <a:off x="-792" y="4433471"/>
              <a:ext cx="6110654" cy="780868"/>
            </a:xfrm>
            <a:custGeom>
              <a:avLst/>
              <a:gdLst>
                <a:gd name="T0" fmla="*/ 3801 w 4007"/>
                <a:gd name="T1" fmla="*/ 317 h 512"/>
                <a:gd name="T2" fmla="*/ 2697 w 4007"/>
                <a:gd name="T3" fmla="*/ 307 h 512"/>
                <a:gd name="T4" fmla="*/ 2542 w 4007"/>
                <a:gd name="T5" fmla="*/ 332 h 512"/>
                <a:gd name="T6" fmla="*/ 2277 w 4007"/>
                <a:gd name="T7" fmla="*/ 376 h 512"/>
                <a:gd name="T8" fmla="*/ 1141 w 4007"/>
                <a:gd name="T9" fmla="*/ 450 h 512"/>
                <a:gd name="T10" fmla="*/ 383 w 4007"/>
                <a:gd name="T11" fmla="*/ 172 h 512"/>
                <a:gd name="T12" fmla="*/ 113 w 4007"/>
                <a:gd name="T13" fmla="*/ 48 h 512"/>
                <a:gd name="T14" fmla="*/ 0 w 4007"/>
                <a:gd name="T15" fmla="*/ 0 h 512"/>
                <a:gd name="T16" fmla="*/ 0 w 4007"/>
                <a:gd name="T17" fmla="*/ 4 h 512"/>
                <a:gd name="T18" fmla="*/ 112 w 4007"/>
                <a:gd name="T19" fmla="*/ 52 h 512"/>
                <a:gd name="T20" fmla="*/ 381 w 4007"/>
                <a:gd name="T21" fmla="*/ 176 h 512"/>
                <a:gd name="T22" fmla="*/ 1140 w 4007"/>
                <a:gd name="T23" fmla="*/ 454 h 512"/>
                <a:gd name="T24" fmla="*/ 2277 w 4007"/>
                <a:gd name="T25" fmla="*/ 380 h 512"/>
                <a:gd name="T26" fmla="*/ 2542 w 4007"/>
                <a:gd name="T27" fmla="*/ 336 h 512"/>
                <a:gd name="T28" fmla="*/ 2698 w 4007"/>
                <a:gd name="T29" fmla="*/ 311 h 512"/>
                <a:gd name="T30" fmla="*/ 3799 w 4007"/>
                <a:gd name="T31" fmla="*/ 321 h 512"/>
                <a:gd name="T32" fmla="*/ 4002 w 4007"/>
                <a:gd name="T33" fmla="*/ 453 h 512"/>
                <a:gd name="T34" fmla="*/ 4007 w 4007"/>
                <a:gd name="T35" fmla="*/ 453 h 512"/>
                <a:gd name="T36" fmla="*/ 3801 w 4007"/>
                <a:gd name="T37" fmla="*/ 317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07" h="512">
                  <a:moveTo>
                    <a:pt x="3801" y="317"/>
                  </a:moveTo>
                  <a:cubicBezTo>
                    <a:pt x="3480" y="176"/>
                    <a:pt x="3046" y="249"/>
                    <a:pt x="2697" y="307"/>
                  </a:cubicBezTo>
                  <a:cubicBezTo>
                    <a:pt x="2643" y="316"/>
                    <a:pt x="2591" y="325"/>
                    <a:pt x="2542" y="332"/>
                  </a:cubicBezTo>
                  <a:cubicBezTo>
                    <a:pt x="2455" y="346"/>
                    <a:pt x="2364" y="361"/>
                    <a:pt x="2277" y="376"/>
                  </a:cubicBezTo>
                  <a:cubicBezTo>
                    <a:pt x="1901" y="441"/>
                    <a:pt x="1512" y="508"/>
                    <a:pt x="1141" y="450"/>
                  </a:cubicBezTo>
                  <a:cubicBezTo>
                    <a:pt x="885" y="410"/>
                    <a:pt x="630" y="289"/>
                    <a:pt x="383" y="172"/>
                  </a:cubicBezTo>
                  <a:cubicBezTo>
                    <a:pt x="289" y="128"/>
                    <a:pt x="201" y="86"/>
                    <a:pt x="113" y="4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12" y="52"/>
                    <a:pt x="112" y="52"/>
                    <a:pt x="112" y="52"/>
                  </a:cubicBezTo>
                  <a:cubicBezTo>
                    <a:pt x="200" y="89"/>
                    <a:pt x="288" y="131"/>
                    <a:pt x="381" y="176"/>
                  </a:cubicBezTo>
                  <a:cubicBezTo>
                    <a:pt x="628" y="293"/>
                    <a:pt x="884" y="414"/>
                    <a:pt x="1140" y="454"/>
                  </a:cubicBezTo>
                  <a:cubicBezTo>
                    <a:pt x="1512" y="512"/>
                    <a:pt x="1901" y="445"/>
                    <a:pt x="2277" y="380"/>
                  </a:cubicBezTo>
                  <a:cubicBezTo>
                    <a:pt x="2365" y="365"/>
                    <a:pt x="2455" y="350"/>
                    <a:pt x="2542" y="336"/>
                  </a:cubicBezTo>
                  <a:cubicBezTo>
                    <a:pt x="2592" y="329"/>
                    <a:pt x="2643" y="320"/>
                    <a:pt x="2698" y="311"/>
                  </a:cubicBezTo>
                  <a:cubicBezTo>
                    <a:pt x="3046" y="253"/>
                    <a:pt x="3479" y="180"/>
                    <a:pt x="3799" y="321"/>
                  </a:cubicBezTo>
                  <a:cubicBezTo>
                    <a:pt x="3877" y="355"/>
                    <a:pt x="3944" y="400"/>
                    <a:pt x="4002" y="453"/>
                  </a:cubicBezTo>
                  <a:cubicBezTo>
                    <a:pt x="4007" y="453"/>
                    <a:pt x="4007" y="453"/>
                    <a:pt x="4007" y="453"/>
                  </a:cubicBezTo>
                  <a:cubicBezTo>
                    <a:pt x="3945" y="396"/>
                    <a:pt x="3877" y="351"/>
                    <a:pt x="3801" y="317"/>
                  </a:cubicBezTo>
                  <a:close/>
                </a:path>
              </a:pathLst>
            </a:custGeom>
            <a:solidFill>
              <a:srgbClr val="D2D4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4" name="Freeform 43"/>
            <p:cNvSpPr>
              <a:spLocks/>
            </p:cNvSpPr>
            <p:nvPr userDrawn="1"/>
          </p:nvSpPr>
          <p:spPr bwMode="auto">
            <a:xfrm>
              <a:off x="-792" y="4233043"/>
              <a:ext cx="6388046" cy="841798"/>
            </a:xfrm>
            <a:custGeom>
              <a:avLst/>
              <a:gdLst>
                <a:gd name="T0" fmla="*/ 3883 w 4189"/>
                <a:gd name="T1" fmla="*/ 299 h 552"/>
                <a:gd name="T2" fmla="*/ 2764 w 4189"/>
                <a:gd name="T3" fmla="*/ 302 h 552"/>
                <a:gd name="T4" fmla="*/ 2609 w 4189"/>
                <a:gd name="T5" fmla="*/ 330 h 552"/>
                <a:gd name="T6" fmla="*/ 2337 w 4189"/>
                <a:gd name="T7" fmla="*/ 380 h 552"/>
                <a:gd name="T8" fmla="*/ 1188 w 4189"/>
                <a:gd name="T9" fmla="*/ 471 h 552"/>
                <a:gd name="T10" fmla="*/ 431 w 4189"/>
                <a:gd name="T11" fmla="*/ 193 h 552"/>
                <a:gd name="T12" fmla="*/ 160 w 4189"/>
                <a:gd name="T13" fmla="*/ 68 h 552"/>
                <a:gd name="T14" fmla="*/ 0 w 4189"/>
                <a:gd name="T15" fmla="*/ 0 h 552"/>
                <a:gd name="T16" fmla="*/ 0 w 4189"/>
                <a:gd name="T17" fmla="*/ 4 h 552"/>
                <a:gd name="T18" fmla="*/ 159 w 4189"/>
                <a:gd name="T19" fmla="*/ 72 h 552"/>
                <a:gd name="T20" fmla="*/ 430 w 4189"/>
                <a:gd name="T21" fmla="*/ 197 h 552"/>
                <a:gd name="T22" fmla="*/ 1187 w 4189"/>
                <a:gd name="T23" fmla="*/ 475 h 552"/>
                <a:gd name="T24" fmla="*/ 2338 w 4189"/>
                <a:gd name="T25" fmla="*/ 384 h 552"/>
                <a:gd name="T26" fmla="*/ 2610 w 4189"/>
                <a:gd name="T27" fmla="*/ 334 h 552"/>
                <a:gd name="T28" fmla="*/ 2765 w 4189"/>
                <a:gd name="T29" fmla="*/ 306 h 552"/>
                <a:gd name="T30" fmla="*/ 3881 w 4189"/>
                <a:gd name="T31" fmla="*/ 303 h 552"/>
                <a:gd name="T32" fmla="*/ 4183 w 4189"/>
                <a:gd name="T33" fmla="*/ 552 h 552"/>
                <a:gd name="T34" fmla="*/ 4189 w 4189"/>
                <a:gd name="T35" fmla="*/ 551 h 552"/>
                <a:gd name="T36" fmla="*/ 3883 w 4189"/>
                <a:gd name="T37" fmla="*/ 299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189" h="552">
                  <a:moveTo>
                    <a:pt x="3883" y="299"/>
                  </a:moveTo>
                  <a:cubicBezTo>
                    <a:pt x="3557" y="156"/>
                    <a:pt x="3118" y="237"/>
                    <a:pt x="2764" y="302"/>
                  </a:cubicBezTo>
                  <a:cubicBezTo>
                    <a:pt x="2710" y="312"/>
                    <a:pt x="2659" y="322"/>
                    <a:pt x="2609" y="330"/>
                  </a:cubicBezTo>
                  <a:cubicBezTo>
                    <a:pt x="2520" y="345"/>
                    <a:pt x="2427" y="363"/>
                    <a:pt x="2337" y="380"/>
                  </a:cubicBezTo>
                  <a:cubicBezTo>
                    <a:pt x="1956" y="453"/>
                    <a:pt x="1563" y="528"/>
                    <a:pt x="1188" y="471"/>
                  </a:cubicBezTo>
                  <a:cubicBezTo>
                    <a:pt x="933" y="432"/>
                    <a:pt x="678" y="310"/>
                    <a:pt x="431" y="193"/>
                  </a:cubicBezTo>
                  <a:cubicBezTo>
                    <a:pt x="338" y="148"/>
                    <a:pt x="249" y="106"/>
                    <a:pt x="160" y="6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59" y="72"/>
                    <a:pt x="159" y="72"/>
                    <a:pt x="159" y="72"/>
                  </a:cubicBezTo>
                  <a:cubicBezTo>
                    <a:pt x="247" y="110"/>
                    <a:pt x="336" y="152"/>
                    <a:pt x="430" y="197"/>
                  </a:cubicBezTo>
                  <a:cubicBezTo>
                    <a:pt x="676" y="314"/>
                    <a:pt x="932" y="436"/>
                    <a:pt x="1187" y="475"/>
                  </a:cubicBezTo>
                  <a:cubicBezTo>
                    <a:pt x="1563" y="532"/>
                    <a:pt x="1957" y="457"/>
                    <a:pt x="2338" y="384"/>
                  </a:cubicBezTo>
                  <a:cubicBezTo>
                    <a:pt x="2428" y="367"/>
                    <a:pt x="2521" y="350"/>
                    <a:pt x="2610" y="334"/>
                  </a:cubicBezTo>
                  <a:cubicBezTo>
                    <a:pt x="2660" y="326"/>
                    <a:pt x="2711" y="316"/>
                    <a:pt x="2765" y="306"/>
                  </a:cubicBezTo>
                  <a:cubicBezTo>
                    <a:pt x="3118" y="241"/>
                    <a:pt x="3556" y="161"/>
                    <a:pt x="3881" y="303"/>
                  </a:cubicBezTo>
                  <a:cubicBezTo>
                    <a:pt x="4012" y="360"/>
                    <a:pt x="4108" y="447"/>
                    <a:pt x="4183" y="552"/>
                  </a:cubicBezTo>
                  <a:cubicBezTo>
                    <a:pt x="4189" y="551"/>
                    <a:pt x="4189" y="551"/>
                    <a:pt x="4189" y="551"/>
                  </a:cubicBezTo>
                  <a:cubicBezTo>
                    <a:pt x="4106" y="436"/>
                    <a:pt x="4005" y="353"/>
                    <a:pt x="3883" y="299"/>
                  </a:cubicBezTo>
                  <a:close/>
                </a:path>
              </a:pathLst>
            </a:custGeom>
            <a:solidFill>
              <a:srgbClr val="D2D3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5" name="Freeform 44"/>
            <p:cNvSpPr>
              <a:spLocks/>
            </p:cNvSpPr>
            <p:nvPr userDrawn="1"/>
          </p:nvSpPr>
          <p:spPr bwMode="auto">
            <a:xfrm>
              <a:off x="-792" y="4032615"/>
              <a:ext cx="6590077" cy="1006952"/>
            </a:xfrm>
            <a:custGeom>
              <a:avLst/>
              <a:gdLst>
                <a:gd name="T0" fmla="*/ 3951 w 4322"/>
                <a:gd name="T1" fmla="*/ 296 h 660"/>
                <a:gd name="T2" fmla="*/ 2820 w 4322"/>
                <a:gd name="T3" fmla="*/ 308 h 660"/>
                <a:gd name="T4" fmla="*/ 2669 w 4322"/>
                <a:gd name="T5" fmla="*/ 336 h 660"/>
                <a:gd name="T6" fmla="*/ 2391 w 4322"/>
                <a:gd name="T7" fmla="*/ 391 h 660"/>
                <a:gd name="T8" fmla="*/ 1234 w 4322"/>
                <a:gd name="T9" fmla="*/ 493 h 660"/>
                <a:gd name="T10" fmla="*/ 482 w 4322"/>
                <a:gd name="T11" fmla="*/ 214 h 660"/>
                <a:gd name="T12" fmla="*/ 208 w 4322"/>
                <a:gd name="T13" fmla="*/ 88 h 660"/>
                <a:gd name="T14" fmla="*/ 0 w 4322"/>
                <a:gd name="T15" fmla="*/ 0 h 660"/>
                <a:gd name="T16" fmla="*/ 0 w 4322"/>
                <a:gd name="T17" fmla="*/ 4 h 660"/>
                <a:gd name="T18" fmla="*/ 206 w 4322"/>
                <a:gd name="T19" fmla="*/ 92 h 660"/>
                <a:gd name="T20" fmla="*/ 480 w 4322"/>
                <a:gd name="T21" fmla="*/ 218 h 660"/>
                <a:gd name="T22" fmla="*/ 1233 w 4322"/>
                <a:gd name="T23" fmla="*/ 497 h 660"/>
                <a:gd name="T24" fmla="*/ 2392 w 4322"/>
                <a:gd name="T25" fmla="*/ 396 h 660"/>
                <a:gd name="T26" fmla="*/ 2670 w 4322"/>
                <a:gd name="T27" fmla="*/ 341 h 660"/>
                <a:gd name="T28" fmla="*/ 2821 w 4322"/>
                <a:gd name="T29" fmla="*/ 312 h 660"/>
                <a:gd name="T30" fmla="*/ 3949 w 4322"/>
                <a:gd name="T31" fmla="*/ 300 h 660"/>
                <a:gd name="T32" fmla="*/ 4317 w 4322"/>
                <a:gd name="T33" fmla="*/ 660 h 660"/>
                <a:gd name="T34" fmla="*/ 4322 w 4322"/>
                <a:gd name="T35" fmla="*/ 659 h 660"/>
                <a:gd name="T36" fmla="*/ 3951 w 4322"/>
                <a:gd name="T37" fmla="*/ 296 h 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322" h="660">
                  <a:moveTo>
                    <a:pt x="3951" y="296"/>
                  </a:moveTo>
                  <a:cubicBezTo>
                    <a:pt x="3619" y="151"/>
                    <a:pt x="3176" y="238"/>
                    <a:pt x="2820" y="308"/>
                  </a:cubicBezTo>
                  <a:cubicBezTo>
                    <a:pt x="2767" y="318"/>
                    <a:pt x="2718" y="328"/>
                    <a:pt x="2669" y="336"/>
                  </a:cubicBezTo>
                  <a:cubicBezTo>
                    <a:pt x="2578" y="353"/>
                    <a:pt x="2487" y="372"/>
                    <a:pt x="2391" y="391"/>
                  </a:cubicBezTo>
                  <a:cubicBezTo>
                    <a:pt x="2008" y="470"/>
                    <a:pt x="1611" y="552"/>
                    <a:pt x="1234" y="493"/>
                  </a:cubicBezTo>
                  <a:cubicBezTo>
                    <a:pt x="981" y="453"/>
                    <a:pt x="727" y="332"/>
                    <a:pt x="482" y="214"/>
                  </a:cubicBezTo>
                  <a:cubicBezTo>
                    <a:pt x="387" y="169"/>
                    <a:pt x="297" y="126"/>
                    <a:pt x="208" y="8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06" y="92"/>
                    <a:pt x="206" y="92"/>
                    <a:pt x="206" y="92"/>
                  </a:cubicBezTo>
                  <a:cubicBezTo>
                    <a:pt x="295" y="130"/>
                    <a:pt x="385" y="173"/>
                    <a:pt x="480" y="218"/>
                  </a:cubicBezTo>
                  <a:cubicBezTo>
                    <a:pt x="725" y="336"/>
                    <a:pt x="979" y="457"/>
                    <a:pt x="1233" y="497"/>
                  </a:cubicBezTo>
                  <a:cubicBezTo>
                    <a:pt x="1611" y="556"/>
                    <a:pt x="2008" y="475"/>
                    <a:pt x="2392" y="396"/>
                  </a:cubicBezTo>
                  <a:cubicBezTo>
                    <a:pt x="2488" y="376"/>
                    <a:pt x="2579" y="357"/>
                    <a:pt x="2670" y="341"/>
                  </a:cubicBezTo>
                  <a:cubicBezTo>
                    <a:pt x="2718" y="332"/>
                    <a:pt x="2768" y="322"/>
                    <a:pt x="2821" y="312"/>
                  </a:cubicBezTo>
                  <a:cubicBezTo>
                    <a:pt x="3176" y="242"/>
                    <a:pt x="3618" y="156"/>
                    <a:pt x="3949" y="300"/>
                  </a:cubicBezTo>
                  <a:cubicBezTo>
                    <a:pt x="4124" y="377"/>
                    <a:pt x="4237" y="505"/>
                    <a:pt x="4317" y="660"/>
                  </a:cubicBezTo>
                  <a:cubicBezTo>
                    <a:pt x="4322" y="659"/>
                    <a:pt x="4322" y="659"/>
                    <a:pt x="4322" y="659"/>
                  </a:cubicBezTo>
                  <a:cubicBezTo>
                    <a:pt x="4232" y="485"/>
                    <a:pt x="4111" y="366"/>
                    <a:pt x="3951" y="296"/>
                  </a:cubicBezTo>
                  <a:close/>
                </a:path>
              </a:pathLst>
            </a:custGeom>
            <a:solidFill>
              <a:srgbClr val="D1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6" name="Freeform 45"/>
            <p:cNvSpPr>
              <a:spLocks/>
            </p:cNvSpPr>
            <p:nvPr userDrawn="1"/>
          </p:nvSpPr>
          <p:spPr bwMode="auto">
            <a:xfrm>
              <a:off x="-792" y="3832187"/>
              <a:ext cx="6752023" cy="1178518"/>
            </a:xfrm>
            <a:custGeom>
              <a:avLst/>
              <a:gdLst>
                <a:gd name="T0" fmla="*/ 4389 w 4428"/>
                <a:gd name="T1" fmla="*/ 681 h 773"/>
                <a:gd name="T2" fmla="*/ 4010 w 4428"/>
                <a:gd name="T3" fmla="*/ 297 h 773"/>
                <a:gd name="T4" fmla="*/ 2870 w 4428"/>
                <a:gd name="T5" fmla="*/ 316 h 773"/>
                <a:gd name="T6" fmla="*/ 2723 w 4428"/>
                <a:gd name="T7" fmla="*/ 346 h 773"/>
                <a:gd name="T8" fmla="*/ 2443 w 4428"/>
                <a:gd name="T9" fmla="*/ 405 h 773"/>
                <a:gd name="T10" fmla="*/ 1280 w 4428"/>
                <a:gd name="T11" fmla="*/ 515 h 773"/>
                <a:gd name="T12" fmla="*/ 531 w 4428"/>
                <a:gd name="T13" fmla="*/ 237 h 773"/>
                <a:gd name="T14" fmla="*/ 255 w 4428"/>
                <a:gd name="T15" fmla="*/ 109 h 773"/>
                <a:gd name="T16" fmla="*/ 0 w 4428"/>
                <a:gd name="T17" fmla="*/ 0 h 773"/>
                <a:gd name="T18" fmla="*/ 0 w 4428"/>
                <a:gd name="T19" fmla="*/ 5 h 773"/>
                <a:gd name="T20" fmla="*/ 253 w 4428"/>
                <a:gd name="T21" fmla="*/ 113 h 773"/>
                <a:gd name="T22" fmla="*/ 529 w 4428"/>
                <a:gd name="T23" fmla="*/ 241 h 773"/>
                <a:gd name="T24" fmla="*/ 1279 w 4428"/>
                <a:gd name="T25" fmla="*/ 519 h 773"/>
                <a:gd name="T26" fmla="*/ 2444 w 4428"/>
                <a:gd name="T27" fmla="*/ 409 h 773"/>
                <a:gd name="T28" fmla="*/ 2724 w 4428"/>
                <a:gd name="T29" fmla="*/ 350 h 773"/>
                <a:gd name="T30" fmla="*/ 2871 w 4428"/>
                <a:gd name="T31" fmla="*/ 320 h 773"/>
                <a:gd name="T32" fmla="*/ 4008 w 4428"/>
                <a:gd name="T33" fmla="*/ 301 h 773"/>
                <a:gd name="T34" fmla="*/ 4423 w 4428"/>
                <a:gd name="T35" fmla="*/ 773 h 773"/>
                <a:gd name="T36" fmla="*/ 4428 w 4428"/>
                <a:gd name="T37" fmla="*/ 772 h 773"/>
                <a:gd name="T38" fmla="*/ 4389 w 4428"/>
                <a:gd name="T39" fmla="*/ 681 h 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428" h="773">
                  <a:moveTo>
                    <a:pt x="4389" y="681"/>
                  </a:moveTo>
                  <a:cubicBezTo>
                    <a:pt x="4301" y="495"/>
                    <a:pt x="4177" y="370"/>
                    <a:pt x="4010" y="297"/>
                  </a:cubicBezTo>
                  <a:cubicBezTo>
                    <a:pt x="3673" y="150"/>
                    <a:pt x="3228" y="242"/>
                    <a:pt x="2870" y="316"/>
                  </a:cubicBezTo>
                  <a:cubicBezTo>
                    <a:pt x="2819" y="326"/>
                    <a:pt x="2770" y="336"/>
                    <a:pt x="2723" y="346"/>
                  </a:cubicBezTo>
                  <a:cubicBezTo>
                    <a:pt x="2631" y="363"/>
                    <a:pt x="2540" y="383"/>
                    <a:pt x="2443" y="405"/>
                  </a:cubicBezTo>
                  <a:cubicBezTo>
                    <a:pt x="2057" y="489"/>
                    <a:pt x="1658" y="576"/>
                    <a:pt x="1280" y="515"/>
                  </a:cubicBezTo>
                  <a:cubicBezTo>
                    <a:pt x="1028" y="475"/>
                    <a:pt x="776" y="354"/>
                    <a:pt x="531" y="237"/>
                  </a:cubicBezTo>
                  <a:cubicBezTo>
                    <a:pt x="436" y="191"/>
                    <a:pt x="345" y="148"/>
                    <a:pt x="255" y="10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253" y="113"/>
                    <a:pt x="253" y="113"/>
                    <a:pt x="253" y="113"/>
                  </a:cubicBezTo>
                  <a:cubicBezTo>
                    <a:pt x="343" y="152"/>
                    <a:pt x="434" y="195"/>
                    <a:pt x="529" y="241"/>
                  </a:cubicBezTo>
                  <a:cubicBezTo>
                    <a:pt x="774" y="358"/>
                    <a:pt x="1027" y="479"/>
                    <a:pt x="1279" y="519"/>
                  </a:cubicBezTo>
                  <a:cubicBezTo>
                    <a:pt x="1658" y="580"/>
                    <a:pt x="2057" y="493"/>
                    <a:pt x="2444" y="409"/>
                  </a:cubicBezTo>
                  <a:cubicBezTo>
                    <a:pt x="2541" y="388"/>
                    <a:pt x="2632" y="368"/>
                    <a:pt x="2724" y="350"/>
                  </a:cubicBezTo>
                  <a:cubicBezTo>
                    <a:pt x="2771" y="341"/>
                    <a:pt x="2820" y="331"/>
                    <a:pt x="2871" y="320"/>
                  </a:cubicBezTo>
                  <a:cubicBezTo>
                    <a:pt x="3228" y="247"/>
                    <a:pt x="3672" y="155"/>
                    <a:pt x="4008" y="301"/>
                  </a:cubicBezTo>
                  <a:cubicBezTo>
                    <a:pt x="4224" y="396"/>
                    <a:pt x="4344" y="569"/>
                    <a:pt x="4423" y="773"/>
                  </a:cubicBezTo>
                  <a:cubicBezTo>
                    <a:pt x="4428" y="772"/>
                    <a:pt x="4428" y="772"/>
                    <a:pt x="4428" y="772"/>
                  </a:cubicBezTo>
                  <a:cubicBezTo>
                    <a:pt x="4416" y="741"/>
                    <a:pt x="4403" y="710"/>
                    <a:pt x="4389" y="681"/>
                  </a:cubicBezTo>
                  <a:close/>
                </a:path>
              </a:pathLst>
            </a:custGeom>
            <a:solidFill>
              <a:srgbClr val="D1D2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7" name="Freeform 46"/>
            <p:cNvSpPr>
              <a:spLocks/>
            </p:cNvSpPr>
            <p:nvPr userDrawn="1"/>
          </p:nvSpPr>
          <p:spPr bwMode="auto">
            <a:xfrm>
              <a:off x="-792" y="3631758"/>
              <a:ext cx="6878694" cy="1356498"/>
            </a:xfrm>
            <a:custGeom>
              <a:avLst/>
              <a:gdLst>
                <a:gd name="T0" fmla="*/ 4069 w 4511"/>
                <a:gd name="T1" fmla="*/ 269 h 889"/>
                <a:gd name="T2" fmla="*/ 2931 w 4511"/>
                <a:gd name="T3" fmla="*/ 304 h 889"/>
                <a:gd name="T4" fmla="*/ 2777 w 4511"/>
                <a:gd name="T5" fmla="*/ 338 h 889"/>
                <a:gd name="T6" fmla="*/ 2497 w 4511"/>
                <a:gd name="T7" fmla="*/ 401 h 889"/>
                <a:gd name="T8" fmla="*/ 1330 w 4511"/>
                <a:gd name="T9" fmla="*/ 532 h 889"/>
                <a:gd name="T10" fmla="*/ 574 w 4511"/>
                <a:gd name="T11" fmla="*/ 255 h 889"/>
                <a:gd name="T12" fmla="*/ 303 w 4511"/>
                <a:gd name="T13" fmla="*/ 129 h 889"/>
                <a:gd name="T14" fmla="*/ 0 w 4511"/>
                <a:gd name="T15" fmla="*/ 0 h 889"/>
                <a:gd name="T16" fmla="*/ 0 w 4511"/>
                <a:gd name="T17" fmla="*/ 5 h 889"/>
                <a:gd name="T18" fmla="*/ 301 w 4511"/>
                <a:gd name="T19" fmla="*/ 134 h 889"/>
                <a:gd name="T20" fmla="*/ 572 w 4511"/>
                <a:gd name="T21" fmla="*/ 259 h 889"/>
                <a:gd name="T22" fmla="*/ 1330 w 4511"/>
                <a:gd name="T23" fmla="*/ 536 h 889"/>
                <a:gd name="T24" fmla="*/ 2498 w 4511"/>
                <a:gd name="T25" fmla="*/ 406 h 889"/>
                <a:gd name="T26" fmla="*/ 2778 w 4511"/>
                <a:gd name="T27" fmla="*/ 343 h 889"/>
                <a:gd name="T28" fmla="*/ 2932 w 4511"/>
                <a:gd name="T29" fmla="*/ 309 h 889"/>
                <a:gd name="T30" fmla="*/ 4067 w 4511"/>
                <a:gd name="T31" fmla="*/ 273 h 889"/>
                <a:gd name="T32" fmla="*/ 4507 w 4511"/>
                <a:gd name="T33" fmla="*/ 889 h 889"/>
                <a:gd name="T34" fmla="*/ 4511 w 4511"/>
                <a:gd name="T35" fmla="*/ 889 h 889"/>
                <a:gd name="T36" fmla="*/ 4069 w 4511"/>
                <a:gd name="T37" fmla="*/ 269 h 8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511" h="889">
                  <a:moveTo>
                    <a:pt x="4069" y="269"/>
                  </a:moveTo>
                  <a:cubicBezTo>
                    <a:pt x="3738" y="123"/>
                    <a:pt x="3290" y="224"/>
                    <a:pt x="2931" y="304"/>
                  </a:cubicBezTo>
                  <a:cubicBezTo>
                    <a:pt x="2877" y="316"/>
                    <a:pt x="2826" y="328"/>
                    <a:pt x="2777" y="338"/>
                  </a:cubicBezTo>
                  <a:cubicBezTo>
                    <a:pt x="2686" y="357"/>
                    <a:pt x="2594" y="379"/>
                    <a:pt x="2497" y="401"/>
                  </a:cubicBezTo>
                  <a:cubicBezTo>
                    <a:pt x="2111" y="492"/>
                    <a:pt x="1711" y="585"/>
                    <a:pt x="1330" y="532"/>
                  </a:cubicBezTo>
                  <a:cubicBezTo>
                    <a:pt x="1076" y="496"/>
                    <a:pt x="821" y="373"/>
                    <a:pt x="574" y="255"/>
                  </a:cubicBezTo>
                  <a:cubicBezTo>
                    <a:pt x="480" y="210"/>
                    <a:pt x="391" y="167"/>
                    <a:pt x="303" y="12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301" y="134"/>
                    <a:pt x="301" y="134"/>
                    <a:pt x="301" y="134"/>
                  </a:cubicBezTo>
                  <a:cubicBezTo>
                    <a:pt x="389" y="171"/>
                    <a:pt x="478" y="214"/>
                    <a:pt x="572" y="259"/>
                  </a:cubicBezTo>
                  <a:cubicBezTo>
                    <a:pt x="819" y="378"/>
                    <a:pt x="1075" y="500"/>
                    <a:pt x="1330" y="536"/>
                  </a:cubicBezTo>
                  <a:cubicBezTo>
                    <a:pt x="1712" y="590"/>
                    <a:pt x="2112" y="496"/>
                    <a:pt x="2498" y="406"/>
                  </a:cubicBezTo>
                  <a:cubicBezTo>
                    <a:pt x="2595" y="383"/>
                    <a:pt x="2687" y="362"/>
                    <a:pt x="2778" y="343"/>
                  </a:cubicBezTo>
                  <a:cubicBezTo>
                    <a:pt x="2827" y="332"/>
                    <a:pt x="2878" y="321"/>
                    <a:pt x="2932" y="309"/>
                  </a:cubicBezTo>
                  <a:cubicBezTo>
                    <a:pt x="3291" y="228"/>
                    <a:pt x="3737" y="128"/>
                    <a:pt x="4067" y="273"/>
                  </a:cubicBezTo>
                  <a:cubicBezTo>
                    <a:pt x="4312" y="380"/>
                    <a:pt x="4429" y="634"/>
                    <a:pt x="4507" y="889"/>
                  </a:cubicBezTo>
                  <a:cubicBezTo>
                    <a:pt x="4511" y="889"/>
                    <a:pt x="4511" y="889"/>
                    <a:pt x="4511" y="889"/>
                  </a:cubicBezTo>
                  <a:cubicBezTo>
                    <a:pt x="4433" y="632"/>
                    <a:pt x="4316" y="377"/>
                    <a:pt x="4069" y="269"/>
                  </a:cubicBez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8" name="Freeform 47"/>
            <p:cNvSpPr>
              <a:spLocks/>
            </p:cNvSpPr>
            <p:nvPr userDrawn="1"/>
          </p:nvSpPr>
          <p:spPr bwMode="auto">
            <a:xfrm>
              <a:off x="-792" y="3431331"/>
              <a:ext cx="6998951" cy="1537685"/>
            </a:xfrm>
            <a:custGeom>
              <a:avLst/>
              <a:gdLst>
                <a:gd name="T0" fmla="*/ 4455 w 4590"/>
                <a:gd name="T1" fmla="*/ 619 h 1007"/>
                <a:gd name="T2" fmla="*/ 4114 w 4590"/>
                <a:gd name="T3" fmla="*/ 255 h 1007"/>
                <a:gd name="T4" fmla="*/ 2978 w 4590"/>
                <a:gd name="T5" fmla="*/ 303 h 1007"/>
                <a:gd name="T6" fmla="*/ 2822 w 4590"/>
                <a:gd name="T7" fmla="*/ 339 h 1007"/>
                <a:gd name="T8" fmla="*/ 2545 w 4590"/>
                <a:gd name="T9" fmla="*/ 405 h 1007"/>
                <a:gd name="T10" fmla="*/ 1379 w 4590"/>
                <a:gd name="T11" fmla="*/ 549 h 1007"/>
                <a:gd name="T12" fmla="*/ 619 w 4590"/>
                <a:gd name="T13" fmla="*/ 274 h 1007"/>
                <a:gd name="T14" fmla="*/ 350 w 4590"/>
                <a:gd name="T15" fmla="*/ 150 h 1007"/>
                <a:gd name="T16" fmla="*/ 0 w 4590"/>
                <a:gd name="T17" fmla="*/ 0 h 1007"/>
                <a:gd name="T18" fmla="*/ 0 w 4590"/>
                <a:gd name="T19" fmla="*/ 5 h 1007"/>
                <a:gd name="T20" fmla="*/ 348 w 4590"/>
                <a:gd name="T21" fmla="*/ 154 h 1007"/>
                <a:gd name="T22" fmla="*/ 617 w 4590"/>
                <a:gd name="T23" fmla="*/ 278 h 1007"/>
                <a:gd name="T24" fmla="*/ 1379 w 4590"/>
                <a:gd name="T25" fmla="*/ 554 h 1007"/>
                <a:gd name="T26" fmla="*/ 2546 w 4590"/>
                <a:gd name="T27" fmla="*/ 410 h 1007"/>
                <a:gd name="T28" fmla="*/ 2823 w 4590"/>
                <a:gd name="T29" fmla="*/ 344 h 1007"/>
                <a:gd name="T30" fmla="*/ 2979 w 4590"/>
                <a:gd name="T31" fmla="*/ 307 h 1007"/>
                <a:gd name="T32" fmla="*/ 4112 w 4590"/>
                <a:gd name="T33" fmla="*/ 259 h 1007"/>
                <a:gd name="T34" fmla="*/ 4585 w 4590"/>
                <a:gd name="T35" fmla="*/ 1007 h 1007"/>
                <a:gd name="T36" fmla="*/ 4590 w 4590"/>
                <a:gd name="T37" fmla="*/ 1006 h 1007"/>
                <a:gd name="T38" fmla="*/ 4455 w 4590"/>
                <a:gd name="T39" fmla="*/ 619 h 10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590" h="1007">
                  <a:moveTo>
                    <a:pt x="4455" y="619"/>
                  </a:moveTo>
                  <a:cubicBezTo>
                    <a:pt x="4367" y="436"/>
                    <a:pt x="4255" y="317"/>
                    <a:pt x="4114" y="255"/>
                  </a:cubicBezTo>
                  <a:cubicBezTo>
                    <a:pt x="3785" y="110"/>
                    <a:pt x="3337" y="217"/>
                    <a:pt x="2978" y="303"/>
                  </a:cubicBezTo>
                  <a:cubicBezTo>
                    <a:pt x="2923" y="316"/>
                    <a:pt x="2872" y="328"/>
                    <a:pt x="2822" y="339"/>
                  </a:cubicBezTo>
                  <a:cubicBezTo>
                    <a:pt x="2731" y="359"/>
                    <a:pt x="2641" y="381"/>
                    <a:pt x="2545" y="405"/>
                  </a:cubicBezTo>
                  <a:cubicBezTo>
                    <a:pt x="2160" y="500"/>
                    <a:pt x="1761" y="598"/>
                    <a:pt x="1379" y="549"/>
                  </a:cubicBezTo>
                  <a:cubicBezTo>
                    <a:pt x="1124" y="517"/>
                    <a:pt x="867" y="393"/>
                    <a:pt x="619" y="274"/>
                  </a:cubicBezTo>
                  <a:cubicBezTo>
                    <a:pt x="525" y="229"/>
                    <a:pt x="437" y="187"/>
                    <a:pt x="350" y="15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348" y="154"/>
                    <a:pt x="348" y="154"/>
                    <a:pt x="348" y="154"/>
                  </a:cubicBezTo>
                  <a:cubicBezTo>
                    <a:pt x="435" y="191"/>
                    <a:pt x="523" y="234"/>
                    <a:pt x="617" y="278"/>
                  </a:cubicBezTo>
                  <a:cubicBezTo>
                    <a:pt x="865" y="398"/>
                    <a:pt x="1123" y="521"/>
                    <a:pt x="1379" y="554"/>
                  </a:cubicBezTo>
                  <a:cubicBezTo>
                    <a:pt x="1762" y="603"/>
                    <a:pt x="2160" y="505"/>
                    <a:pt x="2546" y="410"/>
                  </a:cubicBezTo>
                  <a:cubicBezTo>
                    <a:pt x="2642" y="386"/>
                    <a:pt x="2732" y="364"/>
                    <a:pt x="2823" y="344"/>
                  </a:cubicBezTo>
                  <a:cubicBezTo>
                    <a:pt x="2873" y="333"/>
                    <a:pt x="2924" y="320"/>
                    <a:pt x="2979" y="307"/>
                  </a:cubicBezTo>
                  <a:cubicBezTo>
                    <a:pt x="3338" y="222"/>
                    <a:pt x="3784" y="115"/>
                    <a:pt x="4112" y="259"/>
                  </a:cubicBezTo>
                  <a:cubicBezTo>
                    <a:pt x="4394" y="383"/>
                    <a:pt x="4506" y="711"/>
                    <a:pt x="4585" y="1007"/>
                  </a:cubicBezTo>
                  <a:cubicBezTo>
                    <a:pt x="4590" y="1006"/>
                    <a:pt x="4590" y="1006"/>
                    <a:pt x="4590" y="1006"/>
                  </a:cubicBezTo>
                  <a:cubicBezTo>
                    <a:pt x="4555" y="878"/>
                    <a:pt x="4514" y="742"/>
                    <a:pt x="4455" y="619"/>
                  </a:cubicBezTo>
                  <a:close/>
                </a:path>
              </a:pathLst>
            </a:custGeom>
            <a:solidFill>
              <a:srgbClr val="D0D1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9" name="Freeform 48"/>
            <p:cNvSpPr>
              <a:spLocks/>
            </p:cNvSpPr>
            <p:nvPr userDrawn="1"/>
          </p:nvSpPr>
          <p:spPr bwMode="auto">
            <a:xfrm>
              <a:off x="-792" y="3232506"/>
              <a:ext cx="7101570" cy="1717269"/>
            </a:xfrm>
            <a:custGeom>
              <a:avLst/>
              <a:gdLst>
                <a:gd name="T0" fmla="*/ 4653 w 4657"/>
                <a:gd name="T1" fmla="*/ 1112 h 1126"/>
                <a:gd name="T2" fmla="*/ 4486 w 4657"/>
                <a:gd name="T3" fmla="*/ 618 h 1126"/>
                <a:gd name="T4" fmla="*/ 4144 w 4657"/>
                <a:gd name="T5" fmla="*/ 253 h 1126"/>
                <a:gd name="T6" fmla="*/ 3013 w 4657"/>
                <a:gd name="T7" fmla="*/ 309 h 1126"/>
                <a:gd name="T8" fmla="*/ 2860 w 4657"/>
                <a:gd name="T9" fmla="*/ 347 h 1126"/>
                <a:gd name="T10" fmla="*/ 2586 w 4657"/>
                <a:gd name="T11" fmla="*/ 415 h 1126"/>
                <a:gd name="T12" fmla="*/ 1427 w 4657"/>
                <a:gd name="T13" fmla="*/ 568 h 1126"/>
                <a:gd name="T14" fmla="*/ 665 w 4657"/>
                <a:gd name="T15" fmla="*/ 294 h 1126"/>
                <a:gd name="T16" fmla="*/ 397 w 4657"/>
                <a:gd name="T17" fmla="*/ 170 h 1126"/>
                <a:gd name="T18" fmla="*/ 0 w 4657"/>
                <a:gd name="T19" fmla="*/ 0 h 1126"/>
                <a:gd name="T20" fmla="*/ 0 w 4657"/>
                <a:gd name="T21" fmla="*/ 5 h 1126"/>
                <a:gd name="T22" fmla="*/ 395 w 4657"/>
                <a:gd name="T23" fmla="*/ 174 h 1126"/>
                <a:gd name="T24" fmla="*/ 663 w 4657"/>
                <a:gd name="T25" fmla="*/ 298 h 1126"/>
                <a:gd name="T26" fmla="*/ 1426 w 4657"/>
                <a:gd name="T27" fmla="*/ 573 h 1126"/>
                <a:gd name="T28" fmla="*/ 2587 w 4657"/>
                <a:gd name="T29" fmla="*/ 420 h 1126"/>
                <a:gd name="T30" fmla="*/ 2861 w 4657"/>
                <a:gd name="T31" fmla="*/ 352 h 1126"/>
                <a:gd name="T32" fmla="*/ 3014 w 4657"/>
                <a:gd name="T33" fmla="*/ 314 h 1126"/>
                <a:gd name="T34" fmla="*/ 4142 w 4657"/>
                <a:gd name="T35" fmla="*/ 258 h 1126"/>
                <a:gd name="T36" fmla="*/ 4648 w 4657"/>
                <a:gd name="T37" fmla="*/ 1114 h 1126"/>
                <a:gd name="T38" fmla="*/ 4652 w 4657"/>
                <a:gd name="T39" fmla="*/ 1126 h 1126"/>
                <a:gd name="T40" fmla="*/ 4657 w 4657"/>
                <a:gd name="T41" fmla="*/ 1125 h 1126"/>
                <a:gd name="T42" fmla="*/ 4653 w 4657"/>
                <a:gd name="T43" fmla="*/ 1112 h 1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657" h="1126">
                  <a:moveTo>
                    <a:pt x="4653" y="1112"/>
                  </a:moveTo>
                  <a:cubicBezTo>
                    <a:pt x="4611" y="955"/>
                    <a:pt x="4564" y="777"/>
                    <a:pt x="4486" y="618"/>
                  </a:cubicBezTo>
                  <a:cubicBezTo>
                    <a:pt x="4397" y="435"/>
                    <a:pt x="4285" y="315"/>
                    <a:pt x="4144" y="253"/>
                  </a:cubicBezTo>
                  <a:cubicBezTo>
                    <a:pt x="3817" y="109"/>
                    <a:pt x="3371" y="220"/>
                    <a:pt x="3013" y="309"/>
                  </a:cubicBezTo>
                  <a:cubicBezTo>
                    <a:pt x="2959" y="323"/>
                    <a:pt x="2908" y="335"/>
                    <a:pt x="2860" y="347"/>
                  </a:cubicBezTo>
                  <a:cubicBezTo>
                    <a:pt x="2770" y="368"/>
                    <a:pt x="2681" y="391"/>
                    <a:pt x="2586" y="415"/>
                  </a:cubicBezTo>
                  <a:cubicBezTo>
                    <a:pt x="2203" y="513"/>
                    <a:pt x="1808" y="614"/>
                    <a:pt x="1427" y="568"/>
                  </a:cubicBezTo>
                  <a:cubicBezTo>
                    <a:pt x="1172" y="537"/>
                    <a:pt x="914" y="413"/>
                    <a:pt x="665" y="294"/>
                  </a:cubicBezTo>
                  <a:cubicBezTo>
                    <a:pt x="572" y="249"/>
                    <a:pt x="484" y="207"/>
                    <a:pt x="397" y="17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395" y="174"/>
                    <a:pt x="395" y="174"/>
                    <a:pt x="395" y="174"/>
                  </a:cubicBezTo>
                  <a:cubicBezTo>
                    <a:pt x="482" y="211"/>
                    <a:pt x="570" y="254"/>
                    <a:pt x="663" y="298"/>
                  </a:cubicBezTo>
                  <a:cubicBezTo>
                    <a:pt x="912" y="418"/>
                    <a:pt x="1170" y="542"/>
                    <a:pt x="1426" y="573"/>
                  </a:cubicBezTo>
                  <a:cubicBezTo>
                    <a:pt x="1808" y="620"/>
                    <a:pt x="2204" y="518"/>
                    <a:pt x="2587" y="420"/>
                  </a:cubicBezTo>
                  <a:cubicBezTo>
                    <a:pt x="2682" y="395"/>
                    <a:pt x="2771" y="372"/>
                    <a:pt x="2861" y="352"/>
                  </a:cubicBezTo>
                  <a:cubicBezTo>
                    <a:pt x="2909" y="340"/>
                    <a:pt x="2960" y="328"/>
                    <a:pt x="3014" y="314"/>
                  </a:cubicBezTo>
                  <a:cubicBezTo>
                    <a:pt x="3372" y="225"/>
                    <a:pt x="3817" y="115"/>
                    <a:pt x="4142" y="258"/>
                  </a:cubicBezTo>
                  <a:cubicBezTo>
                    <a:pt x="4457" y="396"/>
                    <a:pt x="4567" y="811"/>
                    <a:pt x="4648" y="1114"/>
                  </a:cubicBezTo>
                  <a:cubicBezTo>
                    <a:pt x="4649" y="1118"/>
                    <a:pt x="4650" y="1122"/>
                    <a:pt x="4652" y="1126"/>
                  </a:cubicBezTo>
                  <a:cubicBezTo>
                    <a:pt x="4657" y="1125"/>
                    <a:pt x="4657" y="1125"/>
                    <a:pt x="4657" y="1125"/>
                  </a:cubicBezTo>
                  <a:cubicBezTo>
                    <a:pt x="4655" y="1121"/>
                    <a:pt x="4654" y="1117"/>
                    <a:pt x="4653" y="1112"/>
                  </a:cubicBezTo>
                  <a:close/>
                </a:path>
              </a:pathLst>
            </a:custGeom>
            <a:solidFill>
              <a:srgbClr val="CFD1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0" name="Freeform 49"/>
            <p:cNvSpPr>
              <a:spLocks/>
            </p:cNvSpPr>
            <p:nvPr userDrawn="1"/>
          </p:nvSpPr>
          <p:spPr bwMode="auto">
            <a:xfrm>
              <a:off x="-792" y="3032077"/>
              <a:ext cx="7194569" cy="1901662"/>
            </a:xfrm>
            <a:custGeom>
              <a:avLst/>
              <a:gdLst>
                <a:gd name="T0" fmla="*/ 4699 w 4718"/>
                <a:gd name="T1" fmla="*/ 1179 h 1246"/>
                <a:gd name="T2" fmla="*/ 4683 w 4718"/>
                <a:gd name="T3" fmla="*/ 1122 h 1246"/>
                <a:gd name="T4" fmla="*/ 4509 w 4718"/>
                <a:gd name="T5" fmla="*/ 628 h 1246"/>
                <a:gd name="T6" fmla="*/ 4163 w 4718"/>
                <a:gd name="T7" fmla="*/ 263 h 1246"/>
                <a:gd name="T8" fmla="*/ 3038 w 4718"/>
                <a:gd name="T9" fmla="*/ 324 h 1246"/>
                <a:gd name="T10" fmla="*/ 2891 w 4718"/>
                <a:gd name="T11" fmla="*/ 361 h 1246"/>
                <a:gd name="T12" fmla="*/ 2622 w 4718"/>
                <a:gd name="T13" fmla="*/ 430 h 1246"/>
                <a:gd name="T14" fmla="*/ 1474 w 4718"/>
                <a:gd name="T15" fmla="*/ 588 h 1246"/>
                <a:gd name="T16" fmla="*/ 712 w 4718"/>
                <a:gd name="T17" fmla="*/ 314 h 1246"/>
                <a:gd name="T18" fmla="*/ 445 w 4718"/>
                <a:gd name="T19" fmla="*/ 190 h 1246"/>
                <a:gd name="T20" fmla="*/ 0 w 4718"/>
                <a:gd name="T21" fmla="*/ 0 h 1246"/>
                <a:gd name="T22" fmla="*/ 0 w 4718"/>
                <a:gd name="T23" fmla="*/ 5 h 1246"/>
                <a:gd name="T24" fmla="*/ 443 w 4718"/>
                <a:gd name="T25" fmla="*/ 195 h 1246"/>
                <a:gd name="T26" fmla="*/ 710 w 4718"/>
                <a:gd name="T27" fmla="*/ 319 h 1246"/>
                <a:gd name="T28" fmla="*/ 1473 w 4718"/>
                <a:gd name="T29" fmla="*/ 593 h 1246"/>
                <a:gd name="T30" fmla="*/ 2623 w 4718"/>
                <a:gd name="T31" fmla="*/ 435 h 1246"/>
                <a:gd name="T32" fmla="*/ 2892 w 4718"/>
                <a:gd name="T33" fmla="*/ 366 h 1246"/>
                <a:gd name="T34" fmla="*/ 3039 w 4718"/>
                <a:gd name="T35" fmla="*/ 329 h 1246"/>
                <a:gd name="T36" fmla="*/ 4161 w 4718"/>
                <a:gd name="T37" fmla="*/ 267 h 1246"/>
                <a:gd name="T38" fmla="*/ 4678 w 4718"/>
                <a:gd name="T39" fmla="*/ 1124 h 1246"/>
                <a:gd name="T40" fmla="*/ 4694 w 4718"/>
                <a:gd name="T41" fmla="*/ 1181 h 1246"/>
                <a:gd name="T42" fmla="*/ 4712 w 4718"/>
                <a:gd name="T43" fmla="*/ 1246 h 1246"/>
                <a:gd name="T44" fmla="*/ 4718 w 4718"/>
                <a:gd name="T45" fmla="*/ 1245 h 1246"/>
                <a:gd name="T46" fmla="*/ 4699 w 4718"/>
                <a:gd name="T47" fmla="*/ 1179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718" h="1246">
                  <a:moveTo>
                    <a:pt x="4699" y="1179"/>
                  </a:moveTo>
                  <a:cubicBezTo>
                    <a:pt x="4694" y="1161"/>
                    <a:pt x="4689" y="1142"/>
                    <a:pt x="4683" y="1122"/>
                  </a:cubicBezTo>
                  <a:cubicBezTo>
                    <a:pt x="4639" y="965"/>
                    <a:pt x="4588" y="786"/>
                    <a:pt x="4509" y="628"/>
                  </a:cubicBezTo>
                  <a:cubicBezTo>
                    <a:pt x="4417" y="444"/>
                    <a:pt x="4304" y="324"/>
                    <a:pt x="4163" y="263"/>
                  </a:cubicBezTo>
                  <a:cubicBezTo>
                    <a:pt x="3837" y="119"/>
                    <a:pt x="3394" y="232"/>
                    <a:pt x="3038" y="324"/>
                  </a:cubicBezTo>
                  <a:cubicBezTo>
                    <a:pt x="2986" y="337"/>
                    <a:pt x="2937" y="349"/>
                    <a:pt x="2891" y="361"/>
                  </a:cubicBezTo>
                  <a:cubicBezTo>
                    <a:pt x="2803" y="382"/>
                    <a:pt x="2715" y="405"/>
                    <a:pt x="2622" y="430"/>
                  </a:cubicBezTo>
                  <a:cubicBezTo>
                    <a:pt x="2243" y="530"/>
                    <a:pt x="1851" y="633"/>
                    <a:pt x="1474" y="588"/>
                  </a:cubicBezTo>
                  <a:cubicBezTo>
                    <a:pt x="1219" y="558"/>
                    <a:pt x="961" y="434"/>
                    <a:pt x="712" y="314"/>
                  </a:cubicBezTo>
                  <a:cubicBezTo>
                    <a:pt x="619" y="269"/>
                    <a:pt x="532" y="227"/>
                    <a:pt x="445" y="19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443" y="195"/>
                    <a:pt x="443" y="195"/>
                    <a:pt x="443" y="195"/>
                  </a:cubicBezTo>
                  <a:cubicBezTo>
                    <a:pt x="530" y="232"/>
                    <a:pt x="617" y="274"/>
                    <a:pt x="710" y="319"/>
                  </a:cubicBezTo>
                  <a:cubicBezTo>
                    <a:pt x="960" y="439"/>
                    <a:pt x="1217" y="563"/>
                    <a:pt x="1473" y="593"/>
                  </a:cubicBezTo>
                  <a:cubicBezTo>
                    <a:pt x="1852" y="639"/>
                    <a:pt x="2244" y="535"/>
                    <a:pt x="2623" y="435"/>
                  </a:cubicBezTo>
                  <a:cubicBezTo>
                    <a:pt x="2716" y="410"/>
                    <a:pt x="2804" y="387"/>
                    <a:pt x="2892" y="366"/>
                  </a:cubicBezTo>
                  <a:cubicBezTo>
                    <a:pt x="2939" y="354"/>
                    <a:pt x="2988" y="342"/>
                    <a:pt x="3039" y="329"/>
                  </a:cubicBezTo>
                  <a:cubicBezTo>
                    <a:pt x="3394" y="238"/>
                    <a:pt x="3837" y="125"/>
                    <a:pt x="4161" y="267"/>
                  </a:cubicBezTo>
                  <a:cubicBezTo>
                    <a:pt x="4476" y="406"/>
                    <a:pt x="4588" y="804"/>
                    <a:pt x="4678" y="1124"/>
                  </a:cubicBezTo>
                  <a:cubicBezTo>
                    <a:pt x="4684" y="1143"/>
                    <a:pt x="4689" y="1162"/>
                    <a:pt x="4694" y="1181"/>
                  </a:cubicBezTo>
                  <a:cubicBezTo>
                    <a:pt x="4700" y="1202"/>
                    <a:pt x="4706" y="1224"/>
                    <a:pt x="4712" y="1246"/>
                  </a:cubicBezTo>
                  <a:cubicBezTo>
                    <a:pt x="4718" y="1245"/>
                    <a:pt x="4718" y="1245"/>
                    <a:pt x="4718" y="1245"/>
                  </a:cubicBezTo>
                  <a:cubicBezTo>
                    <a:pt x="4711" y="1223"/>
                    <a:pt x="4705" y="1201"/>
                    <a:pt x="4699" y="1179"/>
                  </a:cubicBezTo>
                  <a:close/>
                </a:path>
              </a:pathLst>
            </a:custGeom>
            <a:solidFill>
              <a:srgbClr val="CFD0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1" name="Freeform 50"/>
            <p:cNvSpPr>
              <a:spLocks/>
            </p:cNvSpPr>
            <p:nvPr userDrawn="1"/>
          </p:nvSpPr>
          <p:spPr bwMode="auto">
            <a:xfrm>
              <a:off x="-792" y="2831650"/>
              <a:ext cx="7281154" cy="2086056"/>
            </a:xfrm>
            <a:custGeom>
              <a:avLst/>
              <a:gdLst>
                <a:gd name="T0" fmla="*/ 4769 w 4775"/>
                <a:gd name="T1" fmla="*/ 1346 h 1367"/>
                <a:gd name="T2" fmla="*/ 4726 w 4775"/>
                <a:gd name="T3" fmla="*/ 1198 h 1367"/>
                <a:gd name="T4" fmla="*/ 4708 w 4775"/>
                <a:gd name="T5" fmla="*/ 1139 h 1367"/>
                <a:gd name="T6" fmla="*/ 4173 w 4775"/>
                <a:gd name="T7" fmla="*/ 281 h 1367"/>
                <a:gd name="T8" fmla="*/ 3055 w 4775"/>
                <a:gd name="T9" fmla="*/ 344 h 1367"/>
                <a:gd name="T10" fmla="*/ 2916 w 4775"/>
                <a:gd name="T11" fmla="*/ 379 h 1367"/>
                <a:gd name="T12" fmla="*/ 2654 w 4775"/>
                <a:gd name="T13" fmla="*/ 448 h 1367"/>
                <a:gd name="T14" fmla="*/ 1520 w 4775"/>
                <a:gd name="T15" fmla="*/ 609 h 1367"/>
                <a:gd name="T16" fmla="*/ 761 w 4775"/>
                <a:gd name="T17" fmla="*/ 334 h 1367"/>
                <a:gd name="T18" fmla="*/ 492 w 4775"/>
                <a:gd name="T19" fmla="*/ 210 h 1367"/>
                <a:gd name="T20" fmla="*/ 0 w 4775"/>
                <a:gd name="T21" fmla="*/ 0 h 1367"/>
                <a:gd name="T22" fmla="*/ 0 w 4775"/>
                <a:gd name="T23" fmla="*/ 6 h 1367"/>
                <a:gd name="T24" fmla="*/ 490 w 4775"/>
                <a:gd name="T25" fmla="*/ 215 h 1367"/>
                <a:gd name="T26" fmla="*/ 758 w 4775"/>
                <a:gd name="T27" fmla="*/ 339 h 1367"/>
                <a:gd name="T28" fmla="*/ 1519 w 4775"/>
                <a:gd name="T29" fmla="*/ 614 h 1367"/>
                <a:gd name="T30" fmla="*/ 2655 w 4775"/>
                <a:gd name="T31" fmla="*/ 454 h 1367"/>
                <a:gd name="T32" fmla="*/ 2918 w 4775"/>
                <a:gd name="T33" fmla="*/ 385 h 1367"/>
                <a:gd name="T34" fmla="*/ 3057 w 4775"/>
                <a:gd name="T35" fmla="*/ 349 h 1367"/>
                <a:gd name="T36" fmla="*/ 4171 w 4775"/>
                <a:gd name="T37" fmla="*/ 286 h 1367"/>
                <a:gd name="T38" fmla="*/ 4703 w 4775"/>
                <a:gd name="T39" fmla="*/ 1141 h 1367"/>
                <a:gd name="T40" fmla="*/ 4721 w 4775"/>
                <a:gd name="T41" fmla="*/ 1200 h 1367"/>
                <a:gd name="T42" fmla="*/ 4764 w 4775"/>
                <a:gd name="T43" fmla="*/ 1348 h 1367"/>
                <a:gd name="T44" fmla="*/ 4770 w 4775"/>
                <a:gd name="T45" fmla="*/ 1367 h 1367"/>
                <a:gd name="T46" fmla="*/ 4775 w 4775"/>
                <a:gd name="T47" fmla="*/ 1366 h 1367"/>
                <a:gd name="T48" fmla="*/ 4769 w 4775"/>
                <a:gd name="T49" fmla="*/ 1346 h 1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775" h="1367">
                  <a:moveTo>
                    <a:pt x="4769" y="1346"/>
                  </a:moveTo>
                  <a:cubicBezTo>
                    <a:pt x="4755" y="1295"/>
                    <a:pt x="4741" y="1246"/>
                    <a:pt x="4726" y="1198"/>
                  </a:cubicBezTo>
                  <a:cubicBezTo>
                    <a:pt x="4720" y="1179"/>
                    <a:pt x="4714" y="1160"/>
                    <a:pt x="4708" y="1139"/>
                  </a:cubicBezTo>
                  <a:cubicBezTo>
                    <a:pt x="4612" y="819"/>
                    <a:pt x="4491" y="420"/>
                    <a:pt x="4173" y="281"/>
                  </a:cubicBezTo>
                  <a:cubicBezTo>
                    <a:pt x="3847" y="138"/>
                    <a:pt x="3408" y="252"/>
                    <a:pt x="3055" y="344"/>
                  </a:cubicBezTo>
                  <a:cubicBezTo>
                    <a:pt x="3007" y="356"/>
                    <a:pt x="2961" y="368"/>
                    <a:pt x="2916" y="379"/>
                  </a:cubicBezTo>
                  <a:cubicBezTo>
                    <a:pt x="2830" y="401"/>
                    <a:pt x="2744" y="424"/>
                    <a:pt x="2654" y="448"/>
                  </a:cubicBezTo>
                  <a:cubicBezTo>
                    <a:pt x="2280" y="550"/>
                    <a:pt x="1893" y="654"/>
                    <a:pt x="1520" y="609"/>
                  </a:cubicBezTo>
                  <a:cubicBezTo>
                    <a:pt x="1266" y="578"/>
                    <a:pt x="1009" y="454"/>
                    <a:pt x="761" y="334"/>
                  </a:cubicBezTo>
                  <a:cubicBezTo>
                    <a:pt x="667" y="290"/>
                    <a:pt x="579" y="247"/>
                    <a:pt x="492" y="21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490" y="215"/>
                    <a:pt x="490" y="215"/>
                    <a:pt x="490" y="215"/>
                  </a:cubicBezTo>
                  <a:cubicBezTo>
                    <a:pt x="577" y="252"/>
                    <a:pt x="665" y="294"/>
                    <a:pt x="758" y="339"/>
                  </a:cubicBezTo>
                  <a:cubicBezTo>
                    <a:pt x="1007" y="459"/>
                    <a:pt x="1264" y="583"/>
                    <a:pt x="1519" y="614"/>
                  </a:cubicBezTo>
                  <a:cubicBezTo>
                    <a:pt x="1893" y="660"/>
                    <a:pt x="2281" y="555"/>
                    <a:pt x="2655" y="454"/>
                  </a:cubicBezTo>
                  <a:cubicBezTo>
                    <a:pt x="2746" y="429"/>
                    <a:pt x="2832" y="406"/>
                    <a:pt x="2918" y="385"/>
                  </a:cubicBezTo>
                  <a:cubicBezTo>
                    <a:pt x="2962" y="374"/>
                    <a:pt x="3008" y="362"/>
                    <a:pt x="3057" y="349"/>
                  </a:cubicBezTo>
                  <a:cubicBezTo>
                    <a:pt x="3408" y="257"/>
                    <a:pt x="3846" y="143"/>
                    <a:pt x="4171" y="286"/>
                  </a:cubicBezTo>
                  <a:cubicBezTo>
                    <a:pt x="4487" y="424"/>
                    <a:pt x="4607" y="822"/>
                    <a:pt x="4703" y="1141"/>
                  </a:cubicBezTo>
                  <a:cubicBezTo>
                    <a:pt x="4709" y="1161"/>
                    <a:pt x="4715" y="1181"/>
                    <a:pt x="4721" y="1200"/>
                  </a:cubicBezTo>
                  <a:cubicBezTo>
                    <a:pt x="4735" y="1248"/>
                    <a:pt x="4749" y="1296"/>
                    <a:pt x="4764" y="1348"/>
                  </a:cubicBezTo>
                  <a:cubicBezTo>
                    <a:pt x="4766" y="1354"/>
                    <a:pt x="4768" y="1360"/>
                    <a:pt x="4770" y="1367"/>
                  </a:cubicBezTo>
                  <a:cubicBezTo>
                    <a:pt x="4775" y="1366"/>
                    <a:pt x="4775" y="1366"/>
                    <a:pt x="4775" y="1366"/>
                  </a:cubicBezTo>
                  <a:cubicBezTo>
                    <a:pt x="4773" y="1359"/>
                    <a:pt x="4771" y="1353"/>
                    <a:pt x="4769" y="1346"/>
                  </a:cubicBezTo>
                  <a:close/>
                </a:path>
              </a:pathLst>
            </a:custGeom>
            <a:solidFill>
              <a:srgbClr val="CED0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2" name="Freeform 51"/>
            <p:cNvSpPr>
              <a:spLocks/>
            </p:cNvSpPr>
            <p:nvPr userDrawn="1"/>
          </p:nvSpPr>
          <p:spPr bwMode="auto">
            <a:xfrm>
              <a:off x="-792" y="2632825"/>
              <a:ext cx="7369342" cy="2270450"/>
            </a:xfrm>
            <a:custGeom>
              <a:avLst/>
              <a:gdLst>
                <a:gd name="T0" fmla="*/ 4796 w 4833"/>
                <a:gd name="T1" fmla="*/ 1369 h 1488"/>
                <a:gd name="T2" fmla="*/ 4749 w 4833"/>
                <a:gd name="T3" fmla="*/ 1221 h 1488"/>
                <a:gd name="T4" fmla="*/ 4730 w 4833"/>
                <a:gd name="T5" fmla="*/ 1162 h 1488"/>
                <a:gd name="T6" fmla="*/ 4175 w 4833"/>
                <a:gd name="T7" fmla="*/ 306 h 1488"/>
                <a:gd name="T8" fmla="*/ 3066 w 4833"/>
                <a:gd name="T9" fmla="*/ 369 h 1488"/>
                <a:gd name="T10" fmla="*/ 2938 w 4833"/>
                <a:gd name="T11" fmla="*/ 402 h 1488"/>
                <a:gd name="T12" fmla="*/ 2682 w 4833"/>
                <a:gd name="T13" fmla="*/ 471 h 1488"/>
                <a:gd name="T14" fmla="*/ 1565 w 4833"/>
                <a:gd name="T15" fmla="*/ 630 h 1488"/>
                <a:gd name="T16" fmla="*/ 810 w 4833"/>
                <a:gd name="T17" fmla="*/ 355 h 1488"/>
                <a:gd name="T18" fmla="*/ 540 w 4833"/>
                <a:gd name="T19" fmla="*/ 230 h 1488"/>
                <a:gd name="T20" fmla="*/ 0 w 4833"/>
                <a:gd name="T21" fmla="*/ 0 h 1488"/>
                <a:gd name="T22" fmla="*/ 0 w 4833"/>
                <a:gd name="T23" fmla="*/ 6 h 1488"/>
                <a:gd name="T24" fmla="*/ 537 w 4833"/>
                <a:gd name="T25" fmla="*/ 235 h 1488"/>
                <a:gd name="T26" fmla="*/ 807 w 4833"/>
                <a:gd name="T27" fmla="*/ 360 h 1488"/>
                <a:gd name="T28" fmla="*/ 1564 w 4833"/>
                <a:gd name="T29" fmla="*/ 636 h 1488"/>
                <a:gd name="T30" fmla="*/ 2683 w 4833"/>
                <a:gd name="T31" fmla="*/ 476 h 1488"/>
                <a:gd name="T32" fmla="*/ 2939 w 4833"/>
                <a:gd name="T33" fmla="*/ 408 h 1488"/>
                <a:gd name="T34" fmla="*/ 3067 w 4833"/>
                <a:gd name="T35" fmla="*/ 374 h 1488"/>
                <a:gd name="T36" fmla="*/ 4173 w 4833"/>
                <a:gd name="T37" fmla="*/ 311 h 1488"/>
                <a:gd name="T38" fmla="*/ 4724 w 4833"/>
                <a:gd name="T39" fmla="*/ 1164 h 1488"/>
                <a:gd name="T40" fmla="*/ 4743 w 4833"/>
                <a:gd name="T41" fmla="*/ 1223 h 1488"/>
                <a:gd name="T42" fmla="*/ 4790 w 4833"/>
                <a:gd name="T43" fmla="*/ 1371 h 1488"/>
                <a:gd name="T44" fmla="*/ 4827 w 4833"/>
                <a:gd name="T45" fmla="*/ 1488 h 1488"/>
                <a:gd name="T46" fmla="*/ 4833 w 4833"/>
                <a:gd name="T47" fmla="*/ 1487 h 1488"/>
                <a:gd name="T48" fmla="*/ 4796 w 4833"/>
                <a:gd name="T49" fmla="*/ 1369 h 1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833" h="1488">
                  <a:moveTo>
                    <a:pt x="4796" y="1369"/>
                  </a:moveTo>
                  <a:cubicBezTo>
                    <a:pt x="4780" y="1317"/>
                    <a:pt x="4764" y="1269"/>
                    <a:pt x="4749" y="1221"/>
                  </a:cubicBezTo>
                  <a:cubicBezTo>
                    <a:pt x="4742" y="1202"/>
                    <a:pt x="4736" y="1182"/>
                    <a:pt x="4730" y="1162"/>
                  </a:cubicBezTo>
                  <a:cubicBezTo>
                    <a:pt x="4626" y="843"/>
                    <a:pt x="4496" y="446"/>
                    <a:pt x="4175" y="306"/>
                  </a:cubicBezTo>
                  <a:cubicBezTo>
                    <a:pt x="3848" y="163"/>
                    <a:pt x="3414" y="277"/>
                    <a:pt x="3066" y="369"/>
                  </a:cubicBezTo>
                  <a:cubicBezTo>
                    <a:pt x="3021" y="381"/>
                    <a:pt x="2979" y="392"/>
                    <a:pt x="2938" y="402"/>
                  </a:cubicBezTo>
                  <a:cubicBezTo>
                    <a:pt x="2854" y="423"/>
                    <a:pt x="2770" y="446"/>
                    <a:pt x="2682" y="471"/>
                  </a:cubicBezTo>
                  <a:cubicBezTo>
                    <a:pt x="2313" y="572"/>
                    <a:pt x="1932" y="677"/>
                    <a:pt x="1565" y="630"/>
                  </a:cubicBezTo>
                  <a:cubicBezTo>
                    <a:pt x="1312" y="598"/>
                    <a:pt x="1057" y="475"/>
                    <a:pt x="810" y="355"/>
                  </a:cubicBezTo>
                  <a:cubicBezTo>
                    <a:pt x="716" y="310"/>
                    <a:pt x="627" y="267"/>
                    <a:pt x="540" y="23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537" y="235"/>
                    <a:pt x="537" y="235"/>
                    <a:pt x="537" y="235"/>
                  </a:cubicBezTo>
                  <a:cubicBezTo>
                    <a:pt x="625" y="273"/>
                    <a:pt x="714" y="315"/>
                    <a:pt x="807" y="360"/>
                  </a:cubicBezTo>
                  <a:cubicBezTo>
                    <a:pt x="1055" y="480"/>
                    <a:pt x="1311" y="603"/>
                    <a:pt x="1564" y="636"/>
                  </a:cubicBezTo>
                  <a:cubicBezTo>
                    <a:pt x="1933" y="683"/>
                    <a:pt x="2314" y="578"/>
                    <a:pt x="2683" y="476"/>
                  </a:cubicBezTo>
                  <a:cubicBezTo>
                    <a:pt x="2772" y="452"/>
                    <a:pt x="2855" y="429"/>
                    <a:pt x="2939" y="408"/>
                  </a:cubicBezTo>
                  <a:cubicBezTo>
                    <a:pt x="2980" y="397"/>
                    <a:pt x="3023" y="386"/>
                    <a:pt x="3067" y="374"/>
                  </a:cubicBezTo>
                  <a:cubicBezTo>
                    <a:pt x="3415" y="283"/>
                    <a:pt x="3847" y="169"/>
                    <a:pt x="4173" y="311"/>
                  </a:cubicBezTo>
                  <a:cubicBezTo>
                    <a:pt x="4492" y="450"/>
                    <a:pt x="4621" y="846"/>
                    <a:pt x="4724" y="1164"/>
                  </a:cubicBezTo>
                  <a:cubicBezTo>
                    <a:pt x="4731" y="1184"/>
                    <a:pt x="4737" y="1204"/>
                    <a:pt x="4743" y="1223"/>
                  </a:cubicBezTo>
                  <a:cubicBezTo>
                    <a:pt x="4759" y="1271"/>
                    <a:pt x="4774" y="1319"/>
                    <a:pt x="4790" y="1371"/>
                  </a:cubicBezTo>
                  <a:cubicBezTo>
                    <a:pt x="4802" y="1409"/>
                    <a:pt x="4814" y="1448"/>
                    <a:pt x="4827" y="1488"/>
                  </a:cubicBezTo>
                  <a:cubicBezTo>
                    <a:pt x="4833" y="1487"/>
                    <a:pt x="4833" y="1487"/>
                    <a:pt x="4833" y="1487"/>
                  </a:cubicBezTo>
                  <a:cubicBezTo>
                    <a:pt x="4820" y="1447"/>
                    <a:pt x="4808" y="1408"/>
                    <a:pt x="4796" y="1369"/>
                  </a:cubicBezTo>
                  <a:close/>
                </a:path>
              </a:pathLst>
            </a:custGeom>
            <a:solidFill>
              <a:srgbClr val="CECF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3" name="Freeform 52"/>
            <p:cNvSpPr>
              <a:spLocks/>
            </p:cNvSpPr>
            <p:nvPr userDrawn="1"/>
          </p:nvSpPr>
          <p:spPr bwMode="auto">
            <a:xfrm>
              <a:off x="-792" y="2430793"/>
              <a:ext cx="7462341" cy="2454844"/>
            </a:xfrm>
            <a:custGeom>
              <a:avLst/>
              <a:gdLst>
                <a:gd name="T0" fmla="*/ 4819 w 4894"/>
                <a:gd name="T1" fmla="*/ 1395 h 1609"/>
                <a:gd name="T2" fmla="*/ 4768 w 4894"/>
                <a:gd name="T3" fmla="*/ 1248 h 1609"/>
                <a:gd name="T4" fmla="*/ 4749 w 4894"/>
                <a:gd name="T5" fmla="*/ 1191 h 1609"/>
                <a:gd name="T6" fmla="*/ 4172 w 4894"/>
                <a:gd name="T7" fmla="*/ 337 h 1609"/>
                <a:gd name="T8" fmla="*/ 3072 w 4894"/>
                <a:gd name="T9" fmla="*/ 398 h 1609"/>
                <a:gd name="T10" fmla="*/ 2956 w 4894"/>
                <a:gd name="T11" fmla="*/ 429 h 1609"/>
                <a:gd name="T12" fmla="*/ 2707 w 4894"/>
                <a:gd name="T13" fmla="*/ 496 h 1609"/>
                <a:gd name="T14" fmla="*/ 1610 w 4894"/>
                <a:gd name="T15" fmla="*/ 653 h 1609"/>
                <a:gd name="T16" fmla="*/ 860 w 4894"/>
                <a:gd name="T17" fmla="*/ 378 h 1609"/>
                <a:gd name="T18" fmla="*/ 587 w 4894"/>
                <a:gd name="T19" fmla="*/ 251 h 1609"/>
                <a:gd name="T20" fmla="*/ 0 w 4894"/>
                <a:gd name="T21" fmla="*/ 0 h 1609"/>
                <a:gd name="T22" fmla="*/ 0 w 4894"/>
                <a:gd name="T23" fmla="*/ 7 h 1609"/>
                <a:gd name="T24" fmla="*/ 585 w 4894"/>
                <a:gd name="T25" fmla="*/ 256 h 1609"/>
                <a:gd name="T26" fmla="*/ 857 w 4894"/>
                <a:gd name="T27" fmla="*/ 383 h 1609"/>
                <a:gd name="T28" fmla="*/ 1609 w 4894"/>
                <a:gd name="T29" fmla="*/ 658 h 1609"/>
                <a:gd name="T30" fmla="*/ 2709 w 4894"/>
                <a:gd name="T31" fmla="*/ 502 h 1609"/>
                <a:gd name="T32" fmla="*/ 2957 w 4894"/>
                <a:gd name="T33" fmla="*/ 434 h 1609"/>
                <a:gd name="T34" fmla="*/ 3073 w 4894"/>
                <a:gd name="T35" fmla="*/ 404 h 1609"/>
                <a:gd name="T36" fmla="*/ 4169 w 4894"/>
                <a:gd name="T37" fmla="*/ 342 h 1609"/>
                <a:gd name="T38" fmla="*/ 4743 w 4894"/>
                <a:gd name="T39" fmla="*/ 1193 h 1609"/>
                <a:gd name="T40" fmla="*/ 4763 w 4894"/>
                <a:gd name="T41" fmla="*/ 1250 h 1609"/>
                <a:gd name="T42" fmla="*/ 4814 w 4894"/>
                <a:gd name="T43" fmla="*/ 1397 h 1609"/>
                <a:gd name="T44" fmla="*/ 4888 w 4894"/>
                <a:gd name="T45" fmla="*/ 1609 h 1609"/>
                <a:gd name="T46" fmla="*/ 4894 w 4894"/>
                <a:gd name="T47" fmla="*/ 1608 h 1609"/>
                <a:gd name="T48" fmla="*/ 4819 w 4894"/>
                <a:gd name="T49" fmla="*/ 1395 h 1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894" h="1609">
                  <a:moveTo>
                    <a:pt x="4819" y="1395"/>
                  </a:moveTo>
                  <a:cubicBezTo>
                    <a:pt x="4802" y="1344"/>
                    <a:pt x="4785" y="1295"/>
                    <a:pt x="4768" y="1248"/>
                  </a:cubicBezTo>
                  <a:cubicBezTo>
                    <a:pt x="4762" y="1229"/>
                    <a:pt x="4755" y="1210"/>
                    <a:pt x="4749" y="1191"/>
                  </a:cubicBezTo>
                  <a:cubicBezTo>
                    <a:pt x="4637" y="874"/>
                    <a:pt x="4497" y="478"/>
                    <a:pt x="4172" y="337"/>
                  </a:cubicBezTo>
                  <a:cubicBezTo>
                    <a:pt x="3843" y="194"/>
                    <a:pt x="3416" y="307"/>
                    <a:pt x="3072" y="398"/>
                  </a:cubicBezTo>
                  <a:cubicBezTo>
                    <a:pt x="3032" y="409"/>
                    <a:pt x="2993" y="419"/>
                    <a:pt x="2956" y="429"/>
                  </a:cubicBezTo>
                  <a:cubicBezTo>
                    <a:pt x="2875" y="449"/>
                    <a:pt x="2793" y="472"/>
                    <a:pt x="2707" y="496"/>
                  </a:cubicBezTo>
                  <a:cubicBezTo>
                    <a:pt x="2345" y="597"/>
                    <a:pt x="1970" y="702"/>
                    <a:pt x="1610" y="653"/>
                  </a:cubicBezTo>
                  <a:cubicBezTo>
                    <a:pt x="1359" y="618"/>
                    <a:pt x="1105" y="496"/>
                    <a:pt x="860" y="378"/>
                  </a:cubicBezTo>
                  <a:cubicBezTo>
                    <a:pt x="765" y="332"/>
                    <a:pt x="675" y="289"/>
                    <a:pt x="587" y="2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585" y="256"/>
                    <a:pt x="585" y="256"/>
                    <a:pt x="585" y="256"/>
                  </a:cubicBezTo>
                  <a:cubicBezTo>
                    <a:pt x="673" y="294"/>
                    <a:pt x="763" y="337"/>
                    <a:pt x="857" y="383"/>
                  </a:cubicBezTo>
                  <a:cubicBezTo>
                    <a:pt x="1103" y="501"/>
                    <a:pt x="1357" y="624"/>
                    <a:pt x="1609" y="658"/>
                  </a:cubicBezTo>
                  <a:cubicBezTo>
                    <a:pt x="1971" y="708"/>
                    <a:pt x="2346" y="603"/>
                    <a:pt x="2709" y="502"/>
                  </a:cubicBezTo>
                  <a:cubicBezTo>
                    <a:pt x="2795" y="478"/>
                    <a:pt x="2876" y="455"/>
                    <a:pt x="2957" y="434"/>
                  </a:cubicBezTo>
                  <a:cubicBezTo>
                    <a:pt x="2995" y="425"/>
                    <a:pt x="3033" y="415"/>
                    <a:pt x="3073" y="404"/>
                  </a:cubicBezTo>
                  <a:cubicBezTo>
                    <a:pt x="3416" y="313"/>
                    <a:pt x="3843" y="200"/>
                    <a:pt x="4169" y="342"/>
                  </a:cubicBezTo>
                  <a:cubicBezTo>
                    <a:pt x="4493" y="482"/>
                    <a:pt x="4632" y="877"/>
                    <a:pt x="4743" y="1193"/>
                  </a:cubicBezTo>
                  <a:cubicBezTo>
                    <a:pt x="4750" y="1212"/>
                    <a:pt x="4757" y="1231"/>
                    <a:pt x="4763" y="1250"/>
                  </a:cubicBezTo>
                  <a:cubicBezTo>
                    <a:pt x="4780" y="1297"/>
                    <a:pt x="4796" y="1346"/>
                    <a:pt x="4814" y="1397"/>
                  </a:cubicBezTo>
                  <a:cubicBezTo>
                    <a:pt x="4837" y="1466"/>
                    <a:pt x="4861" y="1538"/>
                    <a:pt x="4888" y="1609"/>
                  </a:cubicBezTo>
                  <a:cubicBezTo>
                    <a:pt x="4894" y="1608"/>
                    <a:pt x="4894" y="1608"/>
                    <a:pt x="4894" y="1608"/>
                  </a:cubicBezTo>
                  <a:cubicBezTo>
                    <a:pt x="4867" y="1537"/>
                    <a:pt x="4843" y="1465"/>
                    <a:pt x="4819" y="1395"/>
                  </a:cubicBezTo>
                  <a:close/>
                </a:path>
              </a:pathLst>
            </a:custGeom>
            <a:solidFill>
              <a:srgbClr val="CDCF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4" name="Freeform 53"/>
            <p:cNvSpPr>
              <a:spLocks/>
            </p:cNvSpPr>
            <p:nvPr userDrawn="1"/>
          </p:nvSpPr>
          <p:spPr bwMode="auto">
            <a:xfrm>
              <a:off x="-792" y="2230365"/>
              <a:ext cx="7563356" cy="2637635"/>
            </a:xfrm>
            <a:custGeom>
              <a:avLst/>
              <a:gdLst>
                <a:gd name="T0" fmla="*/ 4841 w 4960"/>
                <a:gd name="T1" fmla="*/ 1422 h 1728"/>
                <a:gd name="T2" fmla="*/ 4786 w 4960"/>
                <a:gd name="T3" fmla="*/ 1275 h 1728"/>
                <a:gd name="T4" fmla="*/ 4766 w 4960"/>
                <a:gd name="T5" fmla="*/ 1222 h 1728"/>
                <a:gd name="T6" fmla="*/ 4165 w 4960"/>
                <a:gd name="T7" fmla="*/ 370 h 1728"/>
                <a:gd name="T8" fmla="*/ 3074 w 4960"/>
                <a:gd name="T9" fmla="*/ 429 h 1728"/>
                <a:gd name="T10" fmla="*/ 2972 w 4960"/>
                <a:gd name="T11" fmla="*/ 456 h 1728"/>
                <a:gd name="T12" fmla="*/ 2731 w 4960"/>
                <a:gd name="T13" fmla="*/ 522 h 1728"/>
                <a:gd name="T14" fmla="*/ 1654 w 4960"/>
                <a:gd name="T15" fmla="*/ 675 h 1728"/>
                <a:gd name="T16" fmla="*/ 910 w 4960"/>
                <a:gd name="T17" fmla="*/ 399 h 1728"/>
                <a:gd name="T18" fmla="*/ 634 w 4960"/>
                <a:gd name="T19" fmla="*/ 271 h 1728"/>
                <a:gd name="T20" fmla="*/ 0 w 4960"/>
                <a:gd name="T21" fmla="*/ 0 h 1728"/>
                <a:gd name="T22" fmla="*/ 0 w 4960"/>
                <a:gd name="T23" fmla="*/ 7 h 1728"/>
                <a:gd name="T24" fmla="*/ 632 w 4960"/>
                <a:gd name="T25" fmla="*/ 277 h 1728"/>
                <a:gd name="T26" fmla="*/ 907 w 4960"/>
                <a:gd name="T27" fmla="*/ 404 h 1728"/>
                <a:gd name="T28" fmla="*/ 1653 w 4960"/>
                <a:gd name="T29" fmla="*/ 680 h 1728"/>
                <a:gd name="T30" fmla="*/ 2733 w 4960"/>
                <a:gd name="T31" fmla="*/ 528 h 1728"/>
                <a:gd name="T32" fmla="*/ 2974 w 4960"/>
                <a:gd name="T33" fmla="*/ 462 h 1728"/>
                <a:gd name="T34" fmla="*/ 3076 w 4960"/>
                <a:gd name="T35" fmla="*/ 435 h 1728"/>
                <a:gd name="T36" fmla="*/ 4163 w 4960"/>
                <a:gd name="T37" fmla="*/ 375 h 1728"/>
                <a:gd name="T38" fmla="*/ 4761 w 4960"/>
                <a:gd name="T39" fmla="*/ 1224 h 1728"/>
                <a:gd name="T40" fmla="*/ 4781 w 4960"/>
                <a:gd name="T41" fmla="*/ 1277 h 1728"/>
                <a:gd name="T42" fmla="*/ 4836 w 4960"/>
                <a:gd name="T43" fmla="*/ 1424 h 1728"/>
                <a:gd name="T44" fmla="*/ 4954 w 4960"/>
                <a:gd name="T45" fmla="*/ 1728 h 1728"/>
                <a:gd name="T46" fmla="*/ 4960 w 4960"/>
                <a:gd name="T47" fmla="*/ 1727 h 1728"/>
                <a:gd name="T48" fmla="*/ 4841 w 4960"/>
                <a:gd name="T49" fmla="*/ 1422 h 1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960" h="1728">
                  <a:moveTo>
                    <a:pt x="4841" y="1422"/>
                  </a:moveTo>
                  <a:cubicBezTo>
                    <a:pt x="4823" y="1371"/>
                    <a:pt x="4805" y="1322"/>
                    <a:pt x="4786" y="1275"/>
                  </a:cubicBezTo>
                  <a:cubicBezTo>
                    <a:pt x="4780" y="1257"/>
                    <a:pt x="4773" y="1240"/>
                    <a:pt x="4766" y="1222"/>
                  </a:cubicBezTo>
                  <a:cubicBezTo>
                    <a:pt x="4646" y="906"/>
                    <a:pt x="4496" y="513"/>
                    <a:pt x="4165" y="370"/>
                  </a:cubicBezTo>
                  <a:cubicBezTo>
                    <a:pt x="3835" y="227"/>
                    <a:pt x="3413" y="339"/>
                    <a:pt x="3074" y="429"/>
                  </a:cubicBezTo>
                  <a:cubicBezTo>
                    <a:pt x="3040" y="438"/>
                    <a:pt x="3006" y="447"/>
                    <a:pt x="2972" y="456"/>
                  </a:cubicBezTo>
                  <a:cubicBezTo>
                    <a:pt x="2894" y="476"/>
                    <a:pt x="2815" y="499"/>
                    <a:pt x="2731" y="522"/>
                  </a:cubicBezTo>
                  <a:cubicBezTo>
                    <a:pt x="2376" y="623"/>
                    <a:pt x="2008" y="727"/>
                    <a:pt x="1654" y="675"/>
                  </a:cubicBezTo>
                  <a:cubicBezTo>
                    <a:pt x="1406" y="638"/>
                    <a:pt x="1154" y="517"/>
                    <a:pt x="910" y="399"/>
                  </a:cubicBezTo>
                  <a:cubicBezTo>
                    <a:pt x="814" y="353"/>
                    <a:pt x="724" y="309"/>
                    <a:pt x="634" y="27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632" y="277"/>
                    <a:pt x="632" y="277"/>
                    <a:pt x="632" y="277"/>
                  </a:cubicBezTo>
                  <a:cubicBezTo>
                    <a:pt x="721" y="315"/>
                    <a:pt x="812" y="358"/>
                    <a:pt x="907" y="404"/>
                  </a:cubicBezTo>
                  <a:cubicBezTo>
                    <a:pt x="1151" y="522"/>
                    <a:pt x="1404" y="644"/>
                    <a:pt x="1653" y="680"/>
                  </a:cubicBezTo>
                  <a:cubicBezTo>
                    <a:pt x="2008" y="733"/>
                    <a:pt x="2377" y="629"/>
                    <a:pt x="2733" y="528"/>
                  </a:cubicBezTo>
                  <a:cubicBezTo>
                    <a:pt x="2816" y="504"/>
                    <a:pt x="2895" y="482"/>
                    <a:pt x="2974" y="462"/>
                  </a:cubicBezTo>
                  <a:cubicBezTo>
                    <a:pt x="3007" y="453"/>
                    <a:pt x="3041" y="444"/>
                    <a:pt x="3076" y="435"/>
                  </a:cubicBezTo>
                  <a:cubicBezTo>
                    <a:pt x="3414" y="345"/>
                    <a:pt x="3834" y="234"/>
                    <a:pt x="4163" y="375"/>
                  </a:cubicBezTo>
                  <a:cubicBezTo>
                    <a:pt x="4491" y="517"/>
                    <a:pt x="4641" y="909"/>
                    <a:pt x="4761" y="1224"/>
                  </a:cubicBezTo>
                  <a:cubicBezTo>
                    <a:pt x="4768" y="1242"/>
                    <a:pt x="4774" y="1260"/>
                    <a:pt x="4781" y="1277"/>
                  </a:cubicBezTo>
                  <a:cubicBezTo>
                    <a:pt x="4799" y="1324"/>
                    <a:pt x="4817" y="1373"/>
                    <a:pt x="4836" y="1424"/>
                  </a:cubicBezTo>
                  <a:cubicBezTo>
                    <a:pt x="4872" y="1524"/>
                    <a:pt x="4910" y="1627"/>
                    <a:pt x="4954" y="1728"/>
                  </a:cubicBezTo>
                  <a:cubicBezTo>
                    <a:pt x="4960" y="1727"/>
                    <a:pt x="4960" y="1727"/>
                    <a:pt x="4960" y="1727"/>
                  </a:cubicBezTo>
                  <a:cubicBezTo>
                    <a:pt x="4916" y="1626"/>
                    <a:pt x="4878" y="1522"/>
                    <a:pt x="4841" y="1422"/>
                  </a:cubicBezTo>
                  <a:close/>
                </a:path>
              </a:pathLst>
            </a:custGeom>
            <a:solidFill>
              <a:srgbClr val="CDCE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5" name="Freeform 54"/>
            <p:cNvSpPr>
              <a:spLocks/>
            </p:cNvSpPr>
            <p:nvPr userDrawn="1"/>
          </p:nvSpPr>
          <p:spPr bwMode="auto">
            <a:xfrm>
              <a:off x="-792" y="2031540"/>
              <a:ext cx="7677200" cy="2817218"/>
            </a:xfrm>
            <a:custGeom>
              <a:avLst/>
              <a:gdLst>
                <a:gd name="T0" fmla="*/ 4863 w 5034"/>
                <a:gd name="T1" fmla="*/ 1450 h 1846"/>
                <a:gd name="T2" fmla="*/ 4804 w 5034"/>
                <a:gd name="T3" fmla="*/ 1303 h 1846"/>
                <a:gd name="T4" fmla="*/ 4784 w 5034"/>
                <a:gd name="T5" fmla="*/ 1255 h 1846"/>
                <a:gd name="T6" fmla="*/ 4157 w 5034"/>
                <a:gd name="T7" fmla="*/ 404 h 1846"/>
                <a:gd name="T8" fmla="*/ 3075 w 5034"/>
                <a:gd name="T9" fmla="*/ 461 h 1846"/>
                <a:gd name="T10" fmla="*/ 2988 w 5034"/>
                <a:gd name="T11" fmla="*/ 484 h 1846"/>
                <a:gd name="T12" fmla="*/ 2755 w 5034"/>
                <a:gd name="T13" fmla="*/ 549 h 1846"/>
                <a:gd name="T14" fmla="*/ 1699 w 5034"/>
                <a:gd name="T15" fmla="*/ 697 h 1846"/>
                <a:gd name="T16" fmla="*/ 960 w 5034"/>
                <a:gd name="T17" fmla="*/ 421 h 1846"/>
                <a:gd name="T18" fmla="*/ 682 w 5034"/>
                <a:gd name="T19" fmla="*/ 291 h 1846"/>
                <a:gd name="T20" fmla="*/ 0 w 5034"/>
                <a:gd name="T21" fmla="*/ 0 h 1846"/>
                <a:gd name="T22" fmla="*/ 0 w 5034"/>
                <a:gd name="T23" fmla="*/ 7 h 1846"/>
                <a:gd name="T24" fmla="*/ 679 w 5034"/>
                <a:gd name="T25" fmla="*/ 297 h 1846"/>
                <a:gd name="T26" fmla="*/ 958 w 5034"/>
                <a:gd name="T27" fmla="*/ 426 h 1846"/>
                <a:gd name="T28" fmla="*/ 1698 w 5034"/>
                <a:gd name="T29" fmla="*/ 703 h 1846"/>
                <a:gd name="T30" fmla="*/ 2756 w 5034"/>
                <a:gd name="T31" fmla="*/ 555 h 1846"/>
                <a:gd name="T32" fmla="*/ 2990 w 5034"/>
                <a:gd name="T33" fmla="*/ 490 h 1846"/>
                <a:gd name="T34" fmla="*/ 3076 w 5034"/>
                <a:gd name="T35" fmla="*/ 467 h 1846"/>
                <a:gd name="T36" fmla="*/ 4155 w 5034"/>
                <a:gd name="T37" fmla="*/ 410 h 1846"/>
                <a:gd name="T38" fmla="*/ 4778 w 5034"/>
                <a:gd name="T39" fmla="*/ 1257 h 1846"/>
                <a:gd name="T40" fmla="*/ 4798 w 5034"/>
                <a:gd name="T41" fmla="*/ 1305 h 1846"/>
                <a:gd name="T42" fmla="*/ 4857 w 5034"/>
                <a:gd name="T43" fmla="*/ 1452 h 1846"/>
                <a:gd name="T44" fmla="*/ 5028 w 5034"/>
                <a:gd name="T45" fmla="*/ 1846 h 1846"/>
                <a:gd name="T46" fmla="*/ 5034 w 5034"/>
                <a:gd name="T47" fmla="*/ 1845 h 1846"/>
                <a:gd name="T48" fmla="*/ 4863 w 5034"/>
                <a:gd name="T49" fmla="*/ 1450 h 18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034" h="1846">
                  <a:moveTo>
                    <a:pt x="4863" y="1450"/>
                  </a:moveTo>
                  <a:cubicBezTo>
                    <a:pt x="4842" y="1398"/>
                    <a:pt x="4823" y="1350"/>
                    <a:pt x="4804" y="1303"/>
                  </a:cubicBezTo>
                  <a:cubicBezTo>
                    <a:pt x="4797" y="1287"/>
                    <a:pt x="4791" y="1271"/>
                    <a:pt x="4784" y="1255"/>
                  </a:cubicBezTo>
                  <a:cubicBezTo>
                    <a:pt x="4655" y="940"/>
                    <a:pt x="4494" y="549"/>
                    <a:pt x="4157" y="404"/>
                  </a:cubicBezTo>
                  <a:cubicBezTo>
                    <a:pt x="3825" y="262"/>
                    <a:pt x="3409" y="372"/>
                    <a:pt x="3075" y="461"/>
                  </a:cubicBezTo>
                  <a:cubicBezTo>
                    <a:pt x="3045" y="469"/>
                    <a:pt x="3016" y="477"/>
                    <a:pt x="2988" y="484"/>
                  </a:cubicBezTo>
                  <a:cubicBezTo>
                    <a:pt x="2912" y="504"/>
                    <a:pt x="2836" y="526"/>
                    <a:pt x="2755" y="549"/>
                  </a:cubicBezTo>
                  <a:cubicBezTo>
                    <a:pt x="2406" y="648"/>
                    <a:pt x="2045" y="751"/>
                    <a:pt x="1699" y="697"/>
                  </a:cubicBezTo>
                  <a:cubicBezTo>
                    <a:pt x="1452" y="658"/>
                    <a:pt x="1202" y="537"/>
                    <a:pt x="960" y="421"/>
                  </a:cubicBezTo>
                  <a:cubicBezTo>
                    <a:pt x="864" y="374"/>
                    <a:pt x="772" y="330"/>
                    <a:pt x="682" y="29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679" y="297"/>
                    <a:pt x="679" y="297"/>
                    <a:pt x="679" y="297"/>
                  </a:cubicBezTo>
                  <a:cubicBezTo>
                    <a:pt x="770" y="336"/>
                    <a:pt x="861" y="380"/>
                    <a:pt x="958" y="426"/>
                  </a:cubicBezTo>
                  <a:cubicBezTo>
                    <a:pt x="1200" y="543"/>
                    <a:pt x="1450" y="664"/>
                    <a:pt x="1698" y="703"/>
                  </a:cubicBezTo>
                  <a:cubicBezTo>
                    <a:pt x="2045" y="758"/>
                    <a:pt x="2407" y="654"/>
                    <a:pt x="2756" y="555"/>
                  </a:cubicBezTo>
                  <a:cubicBezTo>
                    <a:pt x="2837" y="532"/>
                    <a:pt x="2914" y="510"/>
                    <a:pt x="2990" y="490"/>
                  </a:cubicBezTo>
                  <a:cubicBezTo>
                    <a:pt x="3018" y="483"/>
                    <a:pt x="3047" y="475"/>
                    <a:pt x="3076" y="467"/>
                  </a:cubicBezTo>
                  <a:cubicBezTo>
                    <a:pt x="3409" y="378"/>
                    <a:pt x="3824" y="268"/>
                    <a:pt x="4155" y="410"/>
                  </a:cubicBezTo>
                  <a:cubicBezTo>
                    <a:pt x="4489" y="554"/>
                    <a:pt x="4649" y="944"/>
                    <a:pt x="4778" y="1257"/>
                  </a:cubicBezTo>
                  <a:cubicBezTo>
                    <a:pt x="4785" y="1273"/>
                    <a:pt x="4792" y="1289"/>
                    <a:pt x="4798" y="1305"/>
                  </a:cubicBezTo>
                  <a:cubicBezTo>
                    <a:pt x="4818" y="1352"/>
                    <a:pt x="4837" y="1401"/>
                    <a:pt x="4857" y="1452"/>
                  </a:cubicBezTo>
                  <a:cubicBezTo>
                    <a:pt x="4908" y="1581"/>
                    <a:pt x="4962" y="1718"/>
                    <a:pt x="5028" y="1846"/>
                  </a:cubicBezTo>
                  <a:cubicBezTo>
                    <a:pt x="5034" y="1845"/>
                    <a:pt x="5034" y="1845"/>
                    <a:pt x="5034" y="1845"/>
                  </a:cubicBezTo>
                  <a:cubicBezTo>
                    <a:pt x="4968" y="1716"/>
                    <a:pt x="4914" y="1579"/>
                    <a:pt x="4863" y="1450"/>
                  </a:cubicBezTo>
                  <a:close/>
                </a:path>
              </a:pathLst>
            </a:custGeom>
            <a:solidFill>
              <a:srgbClr val="CCCE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6" name="Freeform 55"/>
            <p:cNvSpPr>
              <a:spLocks/>
            </p:cNvSpPr>
            <p:nvPr userDrawn="1"/>
          </p:nvSpPr>
          <p:spPr bwMode="auto">
            <a:xfrm>
              <a:off x="-792" y="1831112"/>
              <a:ext cx="7800664" cy="2995199"/>
            </a:xfrm>
            <a:custGeom>
              <a:avLst/>
              <a:gdLst>
                <a:gd name="T0" fmla="*/ 4862 w 5116"/>
                <a:gd name="T1" fmla="*/ 1408 h 1963"/>
                <a:gd name="T2" fmla="*/ 4150 w 5116"/>
                <a:gd name="T3" fmla="*/ 438 h 1963"/>
                <a:gd name="T4" fmla="*/ 3074 w 5116"/>
                <a:gd name="T5" fmla="*/ 493 h 1963"/>
                <a:gd name="T6" fmla="*/ 3004 w 5116"/>
                <a:gd name="T7" fmla="*/ 512 h 1963"/>
                <a:gd name="T8" fmla="*/ 2779 w 5116"/>
                <a:gd name="T9" fmla="*/ 575 h 1963"/>
                <a:gd name="T10" fmla="*/ 1743 w 5116"/>
                <a:gd name="T11" fmla="*/ 719 h 1963"/>
                <a:gd name="T12" fmla="*/ 1011 w 5116"/>
                <a:gd name="T13" fmla="*/ 442 h 1963"/>
                <a:gd name="T14" fmla="*/ 729 w 5116"/>
                <a:gd name="T15" fmla="*/ 312 h 1963"/>
                <a:gd name="T16" fmla="*/ 0 w 5116"/>
                <a:gd name="T17" fmla="*/ 0 h 1963"/>
                <a:gd name="T18" fmla="*/ 0 w 5116"/>
                <a:gd name="T19" fmla="*/ 7 h 1963"/>
                <a:gd name="T20" fmla="*/ 727 w 5116"/>
                <a:gd name="T21" fmla="*/ 317 h 1963"/>
                <a:gd name="T22" fmla="*/ 1008 w 5116"/>
                <a:gd name="T23" fmla="*/ 448 h 1963"/>
                <a:gd name="T24" fmla="*/ 1742 w 5116"/>
                <a:gd name="T25" fmla="*/ 725 h 1963"/>
                <a:gd name="T26" fmla="*/ 2780 w 5116"/>
                <a:gd name="T27" fmla="*/ 581 h 1963"/>
                <a:gd name="T28" fmla="*/ 3006 w 5116"/>
                <a:gd name="T29" fmla="*/ 518 h 1963"/>
                <a:gd name="T30" fmla="*/ 3076 w 5116"/>
                <a:gd name="T31" fmla="*/ 499 h 1963"/>
                <a:gd name="T32" fmla="*/ 4147 w 5116"/>
                <a:gd name="T33" fmla="*/ 444 h 1963"/>
                <a:gd name="T34" fmla="*/ 4856 w 5116"/>
                <a:gd name="T35" fmla="*/ 1411 h 1963"/>
                <a:gd name="T36" fmla="*/ 5109 w 5116"/>
                <a:gd name="T37" fmla="*/ 1963 h 1963"/>
                <a:gd name="T38" fmla="*/ 5116 w 5116"/>
                <a:gd name="T39" fmla="*/ 1962 h 1963"/>
                <a:gd name="T40" fmla="*/ 4862 w 5116"/>
                <a:gd name="T41" fmla="*/ 1408 h 1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16" h="1963">
                  <a:moveTo>
                    <a:pt x="4862" y="1408"/>
                  </a:moveTo>
                  <a:cubicBezTo>
                    <a:pt x="4708" y="1015"/>
                    <a:pt x="4548" y="609"/>
                    <a:pt x="4150" y="438"/>
                  </a:cubicBezTo>
                  <a:cubicBezTo>
                    <a:pt x="3815" y="295"/>
                    <a:pt x="3422" y="400"/>
                    <a:pt x="3074" y="493"/>
                  </a:cubicBezTo>
                  <a:cubicBezTo>
                    <a:pt x="3051" y="499"/>
                    <a:pt x="3027" y="506"/>
                    <a:pt x="3004" y="512"/>
                  </a:cubicBezTo>
                  <a:cubicBezTo>
                    <a:pt x="2931" y="531"/>
                    <a:pt x="2857" y="552"/>
                    <a:pt x="2779" y="575"/>
                  </a:cubicBezTo>
                  <a:cubicBezTo>
                    <a:pt x="2436" y="674"/>
                    <a:pt x="2082" y="776"/>
                    <a:pt x="1743" y="719"/>
                  </a:cubicBezTo>
                  <a:cubicBezTo>
                    <a:pt x="1499" y="677"/>
                    <a:pt x="1251" y="558"/>
                    <a:pt x="1011" y="442"/>
                  </a:cubicBezTo>
                  <a:cubicBezTo>
                    <a:pt x="913" y="395"/>
                    <a:pt x="821" y="351"/>
                    <a:pt x="729" y="3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727" y="317"/>
                    <a:pt x="727" y="317"/>
                    <a:pt x="727" y="317"/>
                  </a:cubicBezTo>
                  <a:cubicBezTo>
                    <a:pt x="818" y="356"/>
                    <a:pt x="911" y="401"/>
                    <a:pt x="1008" y="448"/>
                  </a:cubicBezTo>
                  <a:cubicBezTo>
                    <a:pt x="1248" y="564"/>
                    <a:pt x="1497" y="683"/>
                    <a:pt x="1742" y="725"/>
                  </a:cubicBezTo>
                  <a:cubicBezTo>
                    <a:pt x="2083" y="783"/>
                    <a:pt x="2437" y="680"/>
                    <a:pt x="2780" y="581"/>
                  </a:cubicBezTo>
                  <a:cubicBezTo>
                    <a:pt x="2858" y="558"/>
                    <a:pt x="2932" y="537"/>
                    <a:pt x="3006" y="518"/>
                  </a:cubicBezTo>
                  <a:cubicBezTo>
                    <a:pt x="3029" y="512"/>
                    <a:pt x="3052" y="505"/>
                    <a:pt x="3076" y="499"/>
                  </a:cubicBezTo>
                  <a:cubicBezTo>
                    <a:pt x="3422" y="406"/>
                    <a:pt x="3815" y="301"/>
                    <a:pt x="4147" y="444"/>
                  </a:cubicBezTo>
                  <a:cubicBezTo>
                    <a:pt x="4544" y="614"/>
                    <a:pt x="4702" y="1019"/>
                    <a:pt x="4856" y="1411"/>
                  </a:cubicBezTo>
                  <a:cubicBezTo>
                    <a:pt x="4930" y="1600"/>
                    <a:pt x="5006" y="1794"/>
                    <a:pt x="5109" y="1963"/>
                  </a:cubicBezTo>
                  <a:cubicBezTo>
                    <a:pt x="5116" y="1962"/>
                    <a:pt x="5116" y="1962"/>
                    <a:pt x="5116" y="1962"/>
                  </a:cubicBezTo>
                  <a:cubicBezTo>
                    <a:pt x="5012" y="1793"/>
                    <a:pt x="4936" y="1599"/>
                    <a:pt x="4862" y="1408"/>
                  </a:cubicBezTo>
                  <a:close/>
                </a:path>
              </a:pathLst>
            </a:custGeom>
            <a:solidFill>
              <a:srgbClr val="CCCE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7" name="Freeform 56"/>
            <p:cNvSpPr>
              <a:spLocks/>
            </p:cNvSpPr>
            <p:nvPr userDrawn="1"/>
          </p:nvSpPr>
          <p:spPr bwMode="auto">
            <a:xfrm>
              <a:off x="-792" y="1630683"/>
              <a:ext cx="7949782" cy="3169972"/>
            </a:xfrm>
            <a:custGeom>
              <a:avLst/>
              <a:gdLst>
                <a:gd name="T0" fmla="*/ 4880 w 5213"/>
                <a:gd name="T1" fmla="*/ 1433 h 2077"/>
                <a:gd name="T2" fmla="*/ 4145 w 5213"/>
                <a:gd name="T3" fmla="*/ 469 h 2077"/>
                <a:gd name="T4" fmla="*/ 3076 w 5213"/>
                <a:gd name="T5" fmla="*/ 523 h 2077"/>
                <a:gd name="T6" fmla="*/ 3022 w 5213"/>
                <a:gd name="T7" fmla="*/ 538 h 2077"/>
                <a:gd name="T8" fmla="*/ 2804 w 5213"/>
                <a:gd name="T9" fmla="*/ 600 h 2077"/>
                <a:gd name="T10" fmla="*/ 1788 w 5213"/>
                <a:gd name="T11" fmla="*/ 740 h 2077"/>
                <a:gd name="T12" fmla="*/ 1062 w 5213"/>
                <a:gd name="T13" fmla="*/ 464 h 2077"/>
                <a:gd name="T14" fmla="*/ 777 w 5213"/>
                <a:gd name="T15" fmla="*/ 332 h 2077"/>
                <a:gd name="T16" fmla="*/ 0 w 5213"/>
                <a:gd name="T17" fmla="*/ 0 h 2077"/>
                <a:gd name="T18" fmla="*/ 0 w 5213"/>
                <a:gd name="T19" fmla="*/ 7 h 2077"/>
                <a:gd name="T20" fmla="*/ 774 w 5213"/>
                <a:gd name="T21" fmla="*/ 338 h 2077"/>
                <a:gd name="T22" fmla="*/ 1059 w 5213"/>
                <a:gd name="T23" fmla="*/ 470 h 2077"/>
                <a:gd name="T24" fmla="*/ 1787 w 5213"/>
                <a:gd name="T25" fmla="*/ 747 h 2077"/>
                <a:gd name="T26" fmla="*/ 2805 w 5213"/>
                <a:gd name="T27" fmla="*/ 606 h 2077"/>
                <a:gd name="T28" fmla="*/ 3024 w 5213"/>
                <a:gd name="T29" fmla="*/ 544 h 2077"/>
                <a:gd name="T30" fmla="*/ 3078 w 5213"/>
                <a:gd name="T31" fmla="*/ 529 h 2077"/>
                <a:gd name="T32" fmla="*/ 4143 w 5213"/>
                <a:gd name="T33" fmla="*/ 475 h 2077"/>
                <a:gd name="T34" fmla="*/ 4874 w 5213"/>
                <a:gd name="T35" fmla="*/ 1436 h 2077"/>
                <a:gd name="T36" fmla="*/ 5206 w 5213"/>
                <a:gd name="T37" fmla="*/ 2077 h 2077"/>
                <a:gd name="T38" fmla="*/ 5213 w 5213"/>
                <a:gd name="T39" fmla="*/ 2076 h 2077"/>
                <a:gd name="T40" fmla="*/ 4880 w 5213"/>
                <a:gd name="T41" fmla="*/ 1433 h 20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213" h="2077">
                  <a:moveTo>
                    <a:pt x="4880" y="1433"/>
                  </a:moveTo>
                  <a:cubicBezTo>
                    <a:pt x="4716" y="1044"/>
                    <a:pt x="4547" y="641"/>
                    <a:pt x="4145" y="469"/>
                  </a:cubicBezTo>
                  <a:cubicBezTo>
                    <a:pt x="3809" y="326"/>
                    <a:pt x="3419" y="431"/>
                    <a:pt x="3076" y="523"/>
                  </a:cubicBezTo>
                  <a:cubicBezTo>
                    <a:pt x="3058" y="528"/>
                    <a:pt x="3040" y="533"/>
                    <a:pt x="3022" y="538"/>
                  </a:cubicBezTo>
                  <a:cubicBezTo>
                    <a:pt x="2951" y="557"/>
                    <a:pt x="2879" y="578"/>
                    <a:pt x="2804" y="600"/>
                  </a:cubicBezTo>
                  <a:cubicBezTo>
                    <a:pt x="2468" y="698"/>
                    <a:pt x="2120" y="800"/>
                    <a:pt x="1788" y="740"/>
                  </a:cubicBezTo>
                  <a:cubicBezTo>
                    <a:pt x="1545" y="697"/>
                    <a:pt x="1299" y="578"/>
                    <a:pt x="1062" y="464"/>
                  </a:cubicBezTo>
                  <a:cubicBezTo>
                    <a:pt x="963" y="416"/>
                    <a:pt x="869" y="371"/>
                    <a:pt x="777" y="3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774" y="338"/>
                    <a:pt x="774" y="338"/>
                    <a:pt x="774" y="338"/>
                  </a:cubicBezTo>
                  <a:cubicBezTo>
                    <a:pt x="867" y="377"/>
                    <a:pt x="960" y="422"/>
                    <a:pt x="1059" y="470"/>
                  </a:cubicBezTo>
                  <a:cubicBezTo>
                    <a:pt x="1297" y="584"/>
                    <a:pt x="1543" y="703"/>
                    <a:pt x="1787" y="747"/>
                  </a:cubicBezTo>
                  <a:cubicBezTo>
                    <a:pt x="2120" y="807"/>
                    <a:pt x="2469" y="705"/>
                    <a:pt x="2805" y="606"/>
                  </a:cubicBezTo>
                  <a:cubicBezTo>
                    <a:pt x="2881" y="584"/>
                    <a:pt x="2952" y="563"/>
                    <a:pt x="3024" y="544"/>
                  </a:cubicBezTo>
                  <a:cubicBezTo>
                    <a:pt x="3041" y="539"/>
                    <a:pt x="3060" y="534"/>
                    <a:pt x="3078" y="529"/>
                  </a:cubicBezTo>
                  <a:cubicBezTo>
                    <a:pt x="3420" y="437"/>
                    <a:pt x="3808" y="332"/>
                    <a:pt x="4143" y="475"/>
                  </a:cubicBezTo>
                  <a:cubicBezTo>
                    <a:pt x="4542" y="646"/>
                    <a:pt x="4711" y="1047"/>
                    <a:pt x="4874" y="1436"/>
                  </a:cubicBezTo>
                  <a:cubicBezTo>
                    <a:pt x="4968" y="1660"/>
                    <a:pt x="5065" y="1889"/>
                    <a:pt x="5206" y="2077"/>
                  </a:cubicBezTo>
                  <a:cubicBezTo>
                    <a:pt x="5213" y="2076"/>
                    <a:pt x="5213" y="2076"/>
                    <a:pt x="5213" y="2076"/>
                  </a:cubicBezTo>
                  <a:cubicBezTo>
                    <a:pt x="5071" y="1888"/>
                    <a:pt x="4975" y="1658"/>
                    <a:pt x="4880" y="1433"/>
                  </a:cubicBezTo>
                  <a:close/>
                </a:path>
              </a:pathLst>
            </a:custGeom>
            <a:solidFill>
              <a:srgbClr val="CBCD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8" name="Freeform 57"/>
            <p:cNvSpPr>
              <a:spLocks/>
            </p:cNvSpPr>
            <p:nvPr userDrawn="1"/>
          </p:nvSpPr>
          <p:spPr bwMode="auto">
            <a:xfrm>
              <a:off x="-792" y="1431859"/>
              <a:ext cx="8122952" cy="3338331"/>
            </a:xfrm>
            <a:custGeom>
              <a:avLst/>
              <a:gdLst>
                <a:gd name="T0" fmla="*/ 4902 w 5327"/>
                <a:gd name="T1" fmla="*/ 1456 h 2188"/>
                <a:gd name="T2" fmla="*/ 4146 w 5327"/>
                <a:gd name="T3" fmla="*/ 496 h 2188"/>
                <a:gd name="T4" fmla="*/ 2889 w 5327"/>
                <a:gd name="T5" fmla="*/ 597 h 2188"/>
                <a:gd name="T6" fmla="*/ 1833 w 5327"/>
                <a:gd name="T7" fmla="*/ 762 h 2188"/>
                <a:gd name="T8" fmla="*/ 1112 w 5327"/>
                <a:gd name="T9" fmla="*/ 485 h 2188"/>
                <a:gd name="T10" fmla="*/ 824 w 5327"/>
                <a:gd name="T11" fmla="*/ 352 h 2188"/>
                <a:gd name="T12" fmla="*/ 0 w 5327"/>
                <a:gd name="T13" fmla="*/ 0 h 2188"/>
                <a:gd name="T14" fmla="*/ 0 w 5327"/>
                <a:gd name="T15" fmla="*/ 7 h 2188"/>
                <a:gd name="T16" fmla="*/ 821 w 5327"/>
                <a:gd name="T17" fmla="*/ 358 h 2188"/>
                <a:gd name="T18" fmla="*/ 1109 w 5327"/>
                <a:gd name="T19" fmla="*/ 491 h 2188"/>
                <a:gd name="T20" fmla="*/ 1832 w 5327"/>
                <a:gd name="T21" fmla="*/ 768 h 2188"/>
                <a:gd name="T22" fmla="*/ 2891 w 5327"/>
                <a:gd name="T23" fmla="*/ 603 h 2188"/>
                <a:gd name="T24" fmla="*/ 4143 w 5327"/>
                <a:gd name="T25" fmla="*/ 502 h 2188"/>
                <a:gd name="T26" fmla="*/ 4896 w 5327"/>
                <a:gd name="T27" fmla="*/ 1459 h 2188"/>
                <a:gd name="T28" fmla="*/ 5319 w 5327"/>
                <a:gd name="T29" fmla="*/ 2188 h 2188"/>
                <a:gd name="T30" fmla="*/ 5327 w 5327"/>
                <a:gd name="T31" fmla="*/ 2187 h 2188"/>
                <a:gd name="T32" fmla="*/ 4902 w 5327"/>
                <a:gd name="T33" fmla="*/ 1456 h 2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27" h="2188">
                  <a:moveTo>
                    <a:pt x="4902" y="1456"/>
                  </a:moveTo>
                  <a:cubicBezTo>
                    <a:pt x="4729" y="1069"/>
                    <a:pt x="4550" y="668"/>
                    <a:pt x="4146" y="496"/>
                  </a:cubicBezTo>
                  <a:cubicBezTo>
                    <a:pt x="3736" y="321"/>
                    <a:pt x="3306" y="461"/>
                    <a:pt x="2889" y="597"/>
                  </a:cubicBezTo>
                  <a:cubicBezTo>
                    <a:pt x="2541" y="710"/>
                    <a:pt x="2181" y="827"/>
                    <a:pt x="1833" y="762"/>
                  </a:cubicBezTo>
                  <a:cubicBezTo>
                    <a:pt x="1592" y="717"/>
                    <a:pt x="1348" y="599"/>
                    <a:pt x="1112" y="485"/>
                  </a:cubicBezTo>
                  <a:cubicBezTo>
                    <a:pt x="1012" y="437"/>
                    <a:pt x="918" y="392"/>
                    <a:pt x="824" y="35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821" y="358"/>
                    <a:pt x="821" y="358"/>
                    <a:pt x="821" y="358"/>
                  </a:cubicBezTo>
                  <a:cubicBezTo>
                    <a:pt x="915" y="398"/>
                    <a:pt x="1009" y="443"/>
                    <a:pt x="1109" y="491"/>
                  </a:cubicBezTo>
                  <a:cubicBezTo>
                    <a:pt x="1345" y="605"/>
                    <a:pt x="1590" y="723"/>
                    <a:pt x="1832" y="768"/>
                  </a:cubicBezTo>
                  <a:cubicBezTo>
                    <a:pt x="2182" y="834"/>
                    <a:pt x="2542" y="717"/>
                    <a:pt x="2891" y="603"/>
                  </a:cubicBezTo>
                  <a:cubicBezTo>
                    <a:pt x="3306" y="468"/>
                    <a:pt x="3736" y="328"/>
                    <a:pt x="4143" y="502"/>
                  </a:cubicBezTo>
                  <a:cubicBezTo>
                    <a:pt x="4545" y="674"/>
                    <a:pt x="4723" y="1073"/>
                    <a:pt x="4896" y="1459"/>
                  </a:cubicBezTo>
                  <a:cubicBezTo>
                    <a:pt x="5012" y="1720"/>
                    <a:pt x="5131" y="1987"/>
                    <a:pt x="5319" y="2188"/>
                  </a:cubicBezTo>
                  <a:cubicBezTo>
                    <a:pt x="5327" y="2187"/>
                    <a:pt x="5327" y="2187"/>
                    <a:pt x="5327" y="2187"/>
                  </a:cubicBezTo>
                  <a:cubicBezTo>
                    <a:pt x="5138" y="1986"/>
                    <a:pt x="5018" y="1718"/>
                    <a:pt x="4902" y="1456"/>
                  </a:cubicBezTo>
                  <a:close/>
                </a:path>
              </a:pathLst>
            </a:custGeom>
            <a:solidFill>
              <a:srgbClr val="CBCD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9" name="Freeform 58"/>
            <p:cNvSpPr>
              <a:spLocks/>
            </p:cNvSpPr>
            <p:nvPr userDrawn="1"/>
          </p:nvSpPr>
          <p:spPr bwMode="auto">
            <a:xfrm>
              <a:off x="-792" y="1231431"/>
              <a:ext cx="8329794" cy="3501881"/>
            </a:xfrm>
            <a:custGeom>
              <a:avLst/>
              <a:gdLst>
                <a:gd name="T0" fmla="*/ 4928 w 5463"/>
                <a:gd name="T1" fmla="*/ 1476 h 2295"/>
                <a:gd name="T2" fmla="*/ 4153 w 5463"/>
                <a:gd name="T3" fmla="*/ 516 h 2295"/>
                <a:gd name="T4" fmla="*/ 2920 w 5463"/>
                <a:gd name="T5" fmla="*/ 618 h 2295"/>
                <a:gd name="T6" fmla="*/ 1879 w 5463"/>
                <a:gd name="T7" fmla="*/ 783 h 2295"/>
                <a:gd name="T8" fmla="*/ 1161 w 5463"/>
                <a:gd name="T9" fmla="*/ 506 h 2295"/>
                <a:gd name="T10" fmla="*/ 871 w 5463"/>
                <a:gd name="T11" fmla="*/ 372 h 2295"/>
                <a:gd name="T12" fmla="*/ 0 w 5463"/>
                <a:gd name="T13" fmla="*/ 0 h 2295"/>
                <a:gd name="T14" fmla="*/ 0 w 5463"/>
                <a:gd name="T15" fmla="*/ 7 h 2295"/>
                <a:gd name="T16" fmla="*/ 869 w 5463"/>
                <a:gd name="T17" fmla="*/ 378 h 2295"/>
                <a:gd name="T18" fmla="*/ 1158 w 5463"/>
                <a:gd name="T19" fmla="*/ 512 h 2295"/>
                <a:gd name="T20" fmla="*/ 1878 w 5463"/>
                <a:gd name="T21" fmla="*/ 789 h 2295"/>
                <a:gd name="T22" fmla="*/ 2922 w 5463"/>
                <a:gd name="T23" fmla="*/ 625 h 2295"/>
                <a:gd name="T24" fmla="*/ 4150 w 5463"/>
                <a:gd name="T25" fmla="*/ 523 h 2295"/>
                <a:gd name="T26" fmla="*/ 4921 w 5463"/>
                <a:gd name="T27" fmla="*/ 1479 h 2295"/>
                <a:gd name="T28" fmla="*/ 5454 w 5463"/>
                <a:gd name="T29" fmla="*/ 2295 h 2295"/>
                <a:gd name="T30" fmla="*/ 5463 w 5463"/>
                <a:gd name="T31" fmla="*/ 2294 h 2295"/>
                <a:gd name="T32" fmla="*/ 4928 w 5463"/>
                <a:gd name="T33" fmla="*/ 1476 h 2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463" h="2295">
                  <a:moveTo>
                    <a:pt x="4928" y="1476"/>
                  </a:moveTo>
                  <a:cubicBezTo>
                    <a:pt x="4747" y="1090"/>
                    <a:pt x="4561" y="690"/>
                    <a:pt x="4153" y="516"/>
                  </a:cubicBezTo>
                  <a:cubicBezTo>
                    <a:pt x="3748" y="344"/>
                    <a:pt x="3327" y="483"/>
                    <a:pt x="2920" y="618"/>
                  </a:cubicBezTo>
                  <a:cubicBezTo>
                    <a:pt x="2578" y="732"/>
                    <a:pt x="2224" y="849"/>
                    <a:pt x="1879" y="783"/>
                  </a:cubicBezTo>
                  <a:cubicBezTo>
                    <a:pt x="1639" y="737"/>
                    <a:pt x="1396" y="619"/>
                    <a:pt x="1161" y="506"/>
                  </a:cubicBezTo>
                  <a:cubicBezTo>
                    <a:pt x="1060" y="458"/>
                    <a:pt x="966" y="412"/>
                    <a:pt x="871" y="37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869" y="378"/>
                    <a:pt x="869" y="378"/>
                    <a:pt x="869" y="378"/>
                  </a:cubicBezTo>
                  <a:cubicBezTo>
                    <a:pt x="963" y="418"/>
                    <a:pt x="1057" y="464"/>
                    <a:pt x="1158" y="512"/>
                  </a:cubicBezTo>
                  <a:cubicBezTo>
                    <a:pt x="1393" y="626"/>
                    <a:pt x="1637" y="743"/>
                    <a:pt x="1878" y="789"/>
                  </a:cubicBezTo>
                  <a:cubicBezTo>
                    <a:pt x="2224" y="856"/>
                    <a:pt x="2579" y="738"/>
                    <a:pt x="2922" y="625"/>
                  </a:cubicBezTo>
                  <a:cubicBezTo>
                    <a:pt x="3328" y="490"/>
                    <a:pt x="3748" y="351"/>
                    <a:pt x="4150" y="523"/>
                  </a:cubicBezTo>
                  <a:cubicBezTo>
                    <a:pt x="4555" y="695"/>
                    <a:pt x="4741" y="1094"/>
                    <a:pt x="4921" y="1479"/>
                  </a:cubicBezTo>
                  <a:cubicBezTo>
                    <a:pt x="5062" y="1780"/>
                    <a:pt x="5206" y="2089"/>
                    <a:pt x="5454" y="2295"/>
                  </a:cubicBezTo>
                  <a:cubicBezTo>
                    <a:pt x="5463" y="2294"/>
                    <a:pt x="5463" y="2294"/>
                    <a:pt x="5463" y="2294"/>
                  </a:cubicBezTo>
                  <a:cubicBezTo>
                    <a:pt x="5213" y="2088"/>
                    <a:pt x="5068" y="1778"/>
                    <a:pt x="4928" y="1476"/>
                  </a:cubicBezTo>
                  <a:close/>
                </a:path>
              </a:pathLst>
            </a:custGeom>
            <a:solidFill>
              <a:srgbClr val="CBCC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0" name="Freeform 59"/>
            <p:cNvSpPr>
              <a:spLocks/>
            </p:cNvSpPr>
            <p:nvPr userDrawn="1"/>
          </p:nvSpPr>
          <p:spPr bwMode="auto">
            <a:xfrm>
              <a:off x="-792" y="1029400"/>
              <a:ext cx="8578325" cy="3662224"/>
            </a:xfrm>
            <a:custGeom>
              <a:avLst/>
              <a:gdLst>
                <a:gd name="T0" fmla="*/ 5621 w 5625"/>
                <a:gd name="T1" fmla="*/ 2395 h 2399"/>
                <a:gd name="T2" fmla="*/ 4960 w 5625"/>
                <a:gd name="T3" fmla="*/ 1494 h 2399"/>
                <a:gd name="T4" fmla="*/ 4169 w 5625"/>
                <a:gd name="T5" fmla="*/ 529 h 2399"/>
                <a:gd name="T6" fmla="*/ 2953 w 5625"/>
                <a:gd name="T7" fmla="*/ 636 h 2399"/>
                <a:gd name="T8" fmla="*/ 1925 w 5625"/>
                <a:gd name="T9" fmla="*/ 804 h 2399"/>
                <a:gd name="T10" fmla="*/ 1208 w 5625"/>
                <a:gd name="T11" fmla="*/ 527 h 2399"/>
                <a:gd name="T12" fmla="*/ 919 w 5625"/>
                <a:gd name="T13" fmla="*/ 393 h 2399"/>
                <a:gd name="T14" fmla="*/ 0 w 5625"/>
                <a:gd name="T15" fmla="*/ 0 h 2399"/>
                <a:gd name="T16" fmla="*/ 0 w 5625"/>
                <a:gd name="T17" fmla="*/ 8 h 2399"/>
                <a:gd name="T18" fmla="*/ 916 w 5625"/>
                <a:gd name="T19" fmla="*/ 399 h 2399"/>
                <a:gd name="T20" fmla="*/ 1205 w 5625"/>
                <a:gd name="T21" fmla="*/ 534 h 2399"/>
                <a:gd name="T22" fmla="*/ 1924 w 5625"/>
                <a:gd name="T23" fmla="*/ 811 h 2399"/>
                <a:gd name="T24" fmla="*/ 2956 w 5625"/>
                <a:gd name="T25" fmla="*/ 643 h 2399"/>
                <a:gd name="T26" fmla="*/ 4166 w 5625"/>
                <a:gd name="T27" fmla="*/ 536 h 2399"/>
                <a:gd name="T28" fmla="*/ 4953 w 5625"/>
                <a:gd name="T29" fmla="*/ 1497 h 2399"/>
                <a:gd name="T30" fmla="*/ 5614 w 5625"/>
                <a:gd name="T31" fmla="*/ 2399 h 2399"/>
                <a:gd name="T32" fmla="*/ 5625 w 5625"/>
                <a:gd name="T33" fmla="*/ 2397 h 2399"/>
                <a:gd name="T34" fmla="*/ 5621 w 5625"/>
                <a:gd name="T35" fmla="*/ 2395 h 2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625" h="2399">
                  <a:moveTo>
                    <a:pt x="5621" y="2395"/>
                  </a:moveTo>
                  <a:cubicBezTo>
                    <a:pt x="5297" y="2195"/>
                    <a:pt x="5125" y="1839"/>
                    <a:pt x="4960" y="1494"/>
                  </a:cubicBezTo>
                  <a:cubicBezTo>
                    <a:pt x="4773" y="1106"/>
                    <a:pt x="4580" y="704"/>
                    <a:pt x="4169" y="529"/>
                  </a:cubicBezTo>
                  <a:cubicBezTo>
                    <a:pt x="3768" y="359"/>
                    <a:pt x="3354" y="500"/>
                    <a:pt x="2953" y="636"/>
                  </a:cubicBezTo>
                  <a:cubicBezTo>
                    <a:pt x="2616" y="751"/>
                    <a:pt x="2267" y="869"/>
                    <a:pt x="1925" y="804"/>
                  </a:cubicBezTo>
                  <a:cubicBezTo>
                    <a:pt x="1686" y="758"/>
                    <a:pt x="1443" y="641"/>
                    <a:pt x="1208" y="527"/>
                  </a:cubicBezTo>
                  <a:cubicBezTo>
                    <a:pt x="1108" y="479"/>
                    <a:pt x="1013" y="433"/>
                    <a:pt x="919" y="39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16" y="399"/>
                    <a:pt x="916" y="399"/>
                    <a:pt x="916" y="399"/>
                  </a:cubicBezTo>
                  <a:cubicBezTo>
                    <a:pt x="1010" y="440"/>
                    <a:pt x="1105" y="485"/>
                    <a:pt x="1205" y="534"/>
                  </a:cubicBezTo>
                  <a:cubicBezTo>
                    <a:pt x="1440" y="647"/>
                    <a:pt x="1684" y="764"/>
                    <a:pt x="1924" y="811"/>
                  </a:cubicBezTo>
                  <a:cubicBezTo>
                    <a:pt x="2268" y="877"/>
                    <a:pt x="2617" y="758"/>
                    <a:pt x="2956" y="643"/>
                  </a:cubicBezTo>
                  <a:cubicBezTo>
                    <a:pt x="3355" y="507"/>
                    <a:pt x="3768" y="366"/>
                    <a:pt x="4166" y="536"/>
                  </a:cubicBezTo>
                  <a:cubicBezTo>
                    <a:pt x="4575" y="709"/>
                    <a:pt x="4767" y="1110"/>
                    <a:pt x="4953" y="1497"/>
                  </a:cubicBezTo>
                  <a:cubicBezTo>
                    <a:pt x="5119" y="1842"/>
                    <a:pt x="5291" y="2198"/>
                    <a:pt x="5614" y="2399"/>
                  </a:cubicBezTo>
                  <a:cubicBezTo>
                    <a:pt x="5625" y="2397"/>
                    <a:pt x="5625" y="2397"/>
                    <a:pt x="5625" y="2397"/>
                  </a:cubicBezTo>
                  <a:cubicBezTo>
                    <a:pt x="5623" y="2396"/>
                    <a:pt x="5622" y="2396"/>
                    <a:pt x="5621" y="2395"/>
                  </a:cubicBezTo>
                  <a:close/>
                </a:path>
              </a:pathLst>
            </a:custGeom>
            <a:solidFill>
              <a:srgbClr val="CACC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1" name="Freeform 60"/>
            <p:cNvSpPr>
              <a:spLocks/>
            </p:cNvSpPr>
            <p:nvPr userDrawn="1"/>
          </p:nvSpPr>
          <p:spPr bwMode="auto">
            <a:xfrm>
              <a:off x="-792" y="830575"/>
              <a:ext cx="8862131" cy="3809739"/>
            </a:xfrm>
            <a:custGeom>
              <a:avLst/>
              <a:gdLst>
                <a:gd name="T0" fmla="*/ 5668 w 5812"/>
                <a:gd name="T1" fmla="*/ 2414 h 2497"/>
                <a:gd name="T2" fmla="*/ 4999 w 5812"/>
                <a:gd name="T3" fmla="*/ 1506 h 2497"/>
                <a:gd name="T4" fmla="*/ 4196 w 5812"/>
                <a:gd name="T5" fmla="*/ 531 h 2497"/>
                <a:gd name="T6" fmla="*/ 2990 w 5812"/>
                <a:gd name="T7" fmla="*/ 647 h 2497"/>
                <a:gd name="T8" fmla="*/ 1973 w 5812"/>
                <a:gd name="T9" fmla="*/ 823 h 2497"/>
                <a:gd name="T10" fmla="*/ 1254 w 5812"/>
                <a:gd name="T11" fmla="*/ 547 h 2497"/>
                <a:gd name="T12" fmla="*/ 966 w 5812"/>
                <a:gd name="T13" fmla="*/ 413 h 2497"/>
                <a:gd name="T14" fmla="*/ 0 w 5812"/>
                <a:gd name="T15" fmla="*/ 0 h 2497"/>
                <a:gd name="T16" fmla="*/ 0 w 5812"/>
                <a:gd name="T17" fmla="*/ 8 h 2497"/>
                <a:gd name="T18" fmla="*/ 963 w 5812"/>
                <a:gd name="T19" fmla="*/ 420 h 2497"/>
                <a:gd name="T20" fmla="*/ 1251 w 5812"/>
                <a:gd name="T21" fmla="*/ 554 h 2497"/>
                <a:gd name="T22" fmla="*/ 1971 w 5812"/>
                <a:gd name="T23" fmla="*/ 830 h 2497"/>
                <a:gd name="T24" fmla="*/ 2993 w 5812"/>
                <a:gd name="T25" fmla="*/ 653 h 2497"/>
                <a:gd name="T26" fmla="*/ 4193 w 5812"/>
                <a:gd name="T27" fmla="*/ 538 h 2497"/>
                <a:gd name="T28" fmla="*/ 4993 w 5812"/>
                <a:gd name="T29" fmla="*/ 1509 h 2497"/>
                <a:gd name="T30" fmla="*/ 5664 w 5812"/>
                <a:gd name="T31" fmla="*/ 2420 h 2497"/>
                <a:gd name="T32" fmla="*/ 5801 w 5812"/>
                <a:gd name="T33" fmla="*/ 2497 h 2497"/>
                <a:gd name="T34" fmla="*/ 5812 w 5812"/>
                <a:gd name="T35" fmla="*/ 2495 h 2497"/>
                <a:gd name="T36" fmla="*/ 5668 w 5812"/>
                <a:gd name="T37" fmla="*/ 2414 h 2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12" h="2497">
                  <a:moveTo>
                    <a:pt x="5668" y="2414"/>
                  </a:moveTo>
                  <a:cubicBezTo>
                    <a:pt x="5344" y="2212"/>
                    <a:pt x="5168" y="1853"/>
                    <a:pt x="4999" y="1506"/>
                  </a:cubicBezTo>
                  <a:cubicBezTo>
                    <a:pt x="4808" y="1113"/>
                    <a:pt x="4610" y="707"/>
                    <a:pt x="4196" y="531"/>
                  </a:cubicBezTo>
                  <a:cubicBezTo>
                    <a:pt x="3797" y="362"/>
                    <a:pt x="3387" y="506"/>
                    <a:pt x="2990" y="647"/>
                  </a:cubicBezTo>
                  <a:cubicBezTo>
                    <a:pt x="2657" y="764"/>
                    <a:pt x="2312" y="886"/>
                    <a:pt x="1973" y="823"/>
                  </a:cubicBezTo>
                  <a:cubicBezTo>
                    <a:pt x="1733" y="778"/>
                    <a:pt x="1490" y="661"/>
                    <a:pt x="1254" y="547"/>
                  </a:cubicBezTo>
                  <a:cubicBezTo>
                    <a:pt x="1154" y="499"/>
                    <a:pt x="1060" y="453"/>
                    <a:pt x="966" y="4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63" y="420"/>
                    <a:pt x="963" y="420"/>
                    <a:pt x="963" y="420"/>
                  </a:cubicBezTo>
                  <a:cubicBezTo>
                    <a:pt x="1057" y="460"/>
                    <a:pt x="1151" y="505"/>
                    <a:pt x="1251" y="554"/>
                  </a:cubicBezTo>
                  <a:cubicBezTo>
                    <a:pt x="1487" y="667"/>
                    <a:pt x="1731" y="785"/>
                    <a:pt x="1971" y="830"/>
                  </a:cubicBezTo>
                  <a:cubicBezTo>
                    <a:pt x="2312" y="894"/>
                    <a:pt x="2658" y="771"/>
                    <a:pt x="2993" y="653"/>
                  </a:cubicBezTo>
                  <a:cubicBezTo>
                    <a:pt x="3388" y="514"/>
                    <a:pt x="3797" y="369"/>
                    <a:pt x="4193" y="538"/>
                  </a:cubicBezTo>
                  <a:cubicBezTo>
                    <a:pt x="4605" y="713"/>
                    <a:pt x="4802" y="1117"/>
                    <a:pt x="4993" y="1509"/>
                  </a:cubicBezTo>
                  <a:cubicBezTo>
                    <a:pt x="5162" y="1857"/>
                    <a:pt x="5338" y="2217"/>
                    <a:pt x="5664" y="2420"/>
                  </a:cubicBezTo>
                  <a:cubicBezTo>
                    <a:pt x="5708" y="2447"/>
                    <a:pt x="5754" y="2473"/>
                    <a:pt x="5801" y="2497"/>
                  </a:cubicBezTo>
                  <a:cubicBezTo>
                    <a:pt x="5812" y="2495"/>
                    <a:pt x="5812" y="2495"/>
                    <a:pt x="5812" y="2495"/>
                  </a:cubicBezTo>
                  <a:cubicBezTo>
                    <a:pt x="5763" y="2470"/>
                    <a:pt x="5714" y="2443"/>
                    <a:pt x="5668" y="2414"/>
                  </a:cubicBezTo>
                  <a:close/>
                </a:path>
              </a:pathLst>
            </a:custGeom>
            <a:solidFill>
              <a:srgbClr val="CACB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2" name="Freeform 61"/>
            <p:cNvSpPr>
              <a:spLocks/>
            </p:cNvSpPr>
            <p:nvPr userDrawn="1"/>
          </p:nvSpPr>
          <p:spPr bwMode="auto">
            <a:xfrm>
              <a:off x="-792" y="630146"/>
              <a:ext cx="9171592" cy="3957254"/>
            </a:xfrm>
            <a:custGeom>
              <a:avLst/>
              <a:gdLst>
                <a:gd name="T0" fmla="*/ 5717 w 6015"/>
                <a:gd name="T1" fmla="*/ 2433 h 2593"/>
                <a:gd name="T2" fmla="*/ 5048 w 6015"/>
                <a:gd name="T3" fmla="*/ 1512 h 2593"/>
                <a:gd name="T4" fmla="*/ 4236 w 6015"/>
                <a:gd name="T5" fmla="*/ 521 h 2593"/>
                <a:gd name="T6" fmla="*/ 3031 w 6015"/>
                <a:gd name="T7" fmla="*/ 650 h 2593"/>
                <a:gd name="T8" fmla="*/ 2021 w 6015"/>
                <a:gd name="T9" fmla="*/ 841 h 2593"/>
                <a:gd name="T10" fmla="*/ 1299 w 6015"/>
                <a:gd name="T11" fmla="*/ 566 h 2593"/>
                <a:gd name="T12" fmla="*/ 1014 w 6015"/>
                <a:gd name="T13" fmla="*/ 433 h 2593"/>
                <a:gd name="T14" fmla="*/ 0 w 6015"/>
                <a:gd name="T15" fmla="*/ 0 h 2593"/>
                <a:gd name="T16" fmla="*/ 0 w 6015"/>
                <a:gd name="T17" fmla="*/ 8 h 2593"/>
                <a:gd name="T18" fmla="*/ 1011 w 6015"/>
                <a:gd name="T19" fmla="*/ 440 h 2593"/>
                <a:gd name="T20" fmla="*/ 1296 w 6015"/>
                <a:gd name="T21" fmla="*/ 573 h 2593"/>
                <a:gd name="T22" fmla="*/ 2020 w 6015"/>
                <a:gd name="T23" fmla="*/ 848 h 2593"/>
                <a:gd name="T24" fmla="*/ 3034 w 6015"/>
                <a:gd name="T25" fmla="*/ 657 h 2593"/>
                <a:gd name="T26" fmla="*/ 4233 w 6015"/>
                <a:gd name="T27" fmla="*/ 528 h 2593"/>
                <a:gd name="T28" fmla="*/ 5041 w 6015"/>
                <a:gd name="T29" fmla="*/ 1515 h 2593"/>
                <a:gd name="T30" fmla="*/ 5713 w 6015"/>
                <a:gd name="T31" fmla="*/ 2439 h 2593"/>
                <a:gd name="T32" fmla="*/ 6002 w 6015"/>
                <a:gd name="T33" fmla="*/ 2593 h 2593"/>
                <a:gd name="T34" fmla="*/ 6015 w 6015"/>
                <a:gd name="T35" fmla="*/ 2590 h 2593"/>
                <a:gd name="T36" fmla="*/ 5717 w 6015"/>
                <a:gd name="T37" fmla="*/ 2433 h 25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015" h="2593">
                  <a:moveTo>
                    <a:pt x="5717" y="2433"/>
                  </a:moveTo>
                  <a:cubicBezTo>
                    <a:pt x="5394" y="2227"/>
                    <a:pt x="5218" y="1864"/>
                    <a:pt x="5048" y="1512"/>
                  </a:cubicBezTo>
                  <a:cubicBezTo>
                    <a:pt x="4854" y="1112"/>
                    <a:pt x="4654" y="698"/>
                    <a:pt x="4236" y="521"/>
                  </a:cubicBezTo>
                  <a:cubicBezTo>
                    <a:pt x="3838" y="352"/>
                    <a:pt x="3428" y="503"/>
                    <a:pt x="3031" y="650"/>
                  </a:cubicBezTo>
                  <a:cubicBezTo>
                    <a:pt x="2700" y="773"/>
                    <a:pt x="2358" y="900"/>
                    <a:pt x="2021" y="841"/>
                  </a:cubicBezTo>
                  <a:cubicBezTo>
                    <a:pt x="1781" y="799"/>
                    <a:pt x="1536" y="681"/>
                    <a:pt x="1299" y="566"/>
                  </a:cubicBezTo>
                  <a:cubicBezTo>
                    <a:pt x="1200" y="518"/>
                    <a:pt x="1106" y="473"/>
                    <a:pt x="1014" y="43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011" y="440"/>
                    <a:pt x="1011" y="440"/>
                    <a:pt x="1011" y="440"/>
                  </a:cubicBezTo>
                  <a:cubicBezTo>
                    <a:pt x="1103" y="479"/>
                    <a:pt x="1197" y="525"/>
                    <a:pt x="1296" y="573"/>
                  </a:cubicBezTo>
                  <a:cubicBezTo>
                    <a:pt x="1533" y="687"/>
                    <a:pt x="1778" y="806"/>
                    <a:pt x="2020" y="848"/>
                  </a:cubicBezTo>
                  <a:cubicBezTo>
                    <a:pt x="2358" y="907"/>
                    <a:pt x="2702" y="780"/>
                    <a:pt x="3034" y="657"/>
                  </a:cubicBezTo>
                  <a:cubicBezTo>
                    <a:pt x="3429" y="511"/>
                    <a:pt x="3838" y="359"/>
                    <a:pt x="4233" y="528"/>
                  </a:cubicBezTo>
                  <a:cubicBezTo>
                    <a:pt x="4648" y="704"/>
                    <a:pt x="4848" y="1117"/>
                    <a:pt x="5041" y="1515"/>
                  </a:cubicBezTo>
                  <a:cubicBezTo>
                    <a:pt x="5212" y="1868"/>
                    <a:pt x="5388" y="2232"/>
                    <a:pt x="5713" y="2439"/>
                  </a:cubicBezTo>
                  <a:cubicBezTo>
                    <a:pt x="5803" y="2497"/>
                    <a:pt x="5900" y="2547"/>
                    <a:pt x="6002" y="2593"/>
                  </a:cubicBezTo>
                  <a:cubicBezTo>
                    <a:pt x="6015" y="2590"/>
                    <a:pt x="6015" y="2590"/>
                    <a:pt x="6015" y="2590"/>
                  </a:cubicBezTo>
                  <a:cubicBezTo>
                    <a:pt x="5910" y="2543"/>
                    <a:pt x="5809" y="2492"/>
                    <a:pt x="5717" y="2433"/>
                  </a:cubicBezTo>
                  <a:close/>
                </a:path>
              </a:pathLst>
            </a:custGeom>
            <a:solidFill>
              <a:srgbClr val="C9CB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3" name="Freeform 62"/>
            <p:cNvSpPr>
              <a:spLocks/>
            </p:cNvSpPr>
            <p:nvPr userDrawn="1"/>
          </p:nvSpPr>
          <p:spPr bwMode="auto">
            <a:xfrm>
              <a:off x="-792" y="429718"/>
              <a:ext cx="9501898" cy="4099958"/>
            </a:xfrm>
            <a:custGeom>
              <a:avLst/>
              <a:gdLst>
                <a:gd name="T0" fmla="*/ 5766 w 6231"/>
                <a:gd name="T1" fmla="*/ 2451 h 2686"/>
                <a:gd name="T2" fmla="*/ 5137 w 6231"/>
                <a:gd name="T3" fmla="*/ 1595 h 2686"/>
                <a:gd name="T4" fmla="*/ 5049 w 6231"/>
                <a:gd name="T5" fmla="*/ 1426 h 2686"/>
                <a:gd name="T6" fmla="*/ 5007 w 6231"/>
                <a:gd name="T7" fmla="*/ 1347 h 2686"/>
                <a:gd name="T8" fmla="*/ 4291 w 6231"/>
                <a:gd name="T9" fmla="*/ 497 h 2686"/>
                <a:gd name="T10" fmla="*/ 3257 w 6231"/>
                <a:gd name="T11" fmla="*/ 595 h 2686"/>
                <a:gd name="T12" fmla="*/ 3225 w 6231"/>
                <a:gd name="T13" fmla="*/ 606 h 2686"/>
                <a:gd name="T14" fmla="*/ 3032 w 6231"/>
                <a:gd name="T15" fmla="*/ 674 h 2686"/>
                <a:gd name="T16" fmla="*/ 2071 w 6231"/>
                <a:gd name="T17" fmla="*/ 858 h 2686"/>
                <a:gd name="T18" fmla="*/ 1341 w 6231"/>
                <a:gd name="T19" fmla="*/ 584 h 2686"/>
                <a:gd name="T20" fmla="*/ 1061 w 6231"/>
                <a:gd name="T21" fmla="*/ 453 h 2686"/>
                <a:gd name="T22" fmla="*/ 0 w 6231"/>
                <a:gd name="T23" fmla="*/ 0 h 2686"/>
                <a:gd name="T24" fmla="*/ 0 w 6231"/>
                <a:gd name="T25" fmla="*/ 8 h 2686"/>
                <a:gd name="T26" fmla="*/ 1058 w 6231"/>
                <a:gd name="T27" fmla="*/ 460 h 2686"/>
                <a:gd name="T28" fmla="*/ 1338 w 6231"/>
                <a:gd name="T29" fmla="*/ 591 h 2686"/>
                <a:gd name="T30" fmla="*/ 2070 w 6231"/>
                <a:gd name="T31" fmla="*/ 865 h 2686"/>
                <a:gd name="T32" fmla="*/ 3035 w 6231"/>
                <a:gd name="T33" fmla="*/ 681 h 2686"/>
                <a:gd name="T34" fmla="*/ 3228 w 6231"/>
                <a:gd name="T35" fmla="*/ 613 h 2686"/>
                <a:gd name="T36" fmla="*/ 3259 w 6231"/>
                <a:gd name="T37" fmla="*/ 602 h 2686"/>
                <a:gd name="T38" fmla="*/ 4288 w 6231"/>
                <a:gd name="T39" fmla="*/ 504 h 2686"/>
                <a:gd name="T40" fmla="*/ 5000 w 6231"/>
                <a:gd name="T41" fmla="*/ 1350 h 2686"/>
                <a:gd name="T42" fmla="*/ 5042 w 6231"/>
                <a:gd name="T43" fmla="*/ 1430 h 2686"/>
                <a:gd name="T44" fmla="*/ 5130 w 6231"/>
                <a:gd name="T45" fmla="*/ 1598 h 2686"/>
                <a:gd name="T46" fmla="*/ 5762 w 6231"/>
                <a:gd name="T47" fmla="*/ 2457 h 2686"/>
                <a:gd name="T48" fmla="*/ 6217 w 6231"/>
                <a:gd name="T49" fmla="*/ 2686 h 2686"/>
                <a:gd name="T50" fmla="*/ 6231 w 6231"/>
                <a:gd name="T51" fmla="*/ 2683 h 2686"/>
                <a:gd name="T52" fmla="*/ 5766 w 6231"/>
                <a:gd name="T53" fmla="*/ 2451 h 2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231" h="2686">
                  <a:moveTo>
                    <a:pt x="5766" y="2451"/>
                  </a:moveTo>
                  <a:cubicBezTo>
                    <a:pt x="5475" y="2257"/>
                    <a:pt x="5295" y="1905"/>
                    <a:pt x="5137" y="1595"/>
                  </a:cubicBezTo>
                  <a:cubicBezTo>
                    <a:pt x="5106" y="1536"/>
                    <a:pt x="5078" y="1481"/>
                    <a:pt x="5049" y="1426"/>
                  </a:cubicBezTo>
                  <a:cubicBezTo>
                    <a:pt x="5035" y="1400"/>
                    <a:pt x="5021" y="1374"/>
                    <a:pt x="5007" y="1347"/>
                  </a:cubicBezTo>
                  <a:cubicBezTo>
                    <a:pt x="4833" y="1017"/>
                    <a:pt x="4636" y="643"/>
                    <a:pt x="4291" y="497"/>
                  </a:cubicBezTo>
                  <a:cubicBezTo>
                    <a:pt x="3960" y="356"/>
                    <a:pt x="3587" y="483"/>
                    <a:pt x="3257" y="595"/>
                  </a:cubicBezTo>
                  <a:cubicBezTo>
                    <a:pt x="3225" y="606"/>
                    <a:pt x="3225" y="606"/>
                    <a:pt x="3225" y="606"/>
                  </a:cubicBezTo>
                  <a:cubicBezTo>
                    <a:pt x="3162" y="627"/>
                    <a:pt x="3099" y="650"/>
                    <a:pt x="3032" y="674"/>
                  </a:cubicBezTo>
                  <a:cubicBezTo>
                    <a:pt x="2717" y="789"/>
                    <a:pt x="2391" y="907"/>
                    <a:pt x="2071" y="858"/>
                  </a:cubicBezTo>
                  <a:cubicBezTo>
                    <a:pt x="1829" y="821"/>
                    <a:pt x="1581" y="700"/>
                    <a:pt x="1341" y="584"/>
                  </a:cubicBezTo>
                  <a:cubicBezTo>
                    <a:pt x="1244" y="537"/>
                    <a:pt x="1152" y="492"/>
                    <a:pt x="1061" y="45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058" y="460"/>
                    <a:pt x="1058" y="460"/>
                    <a:pt x="1058" y="460"/>
                  </a:cubicBezTo>
                  <a:cubicBezTo>
                    <a:pt x="1149" y="499"/>
                    <a:pt x="1241" y="544"/>
                    <a:pt x="1338" y="591"/>
                  </a:cubicBezTo>
                  <a:cubicBezTo>
                    <a:pt x="1578" y="707"/>
                    <a:pt x="1826" y="828"/>
                    <a:pt x="2070" y="865"/>
                  </a:cubicBezTo>
                  <a:cubicBezTo>
                    <a:pt x="2392" y="915"/>
                    <a:pt x="2719" y="796"/>
                    <a:pt x="3035" y="681"/>
                  </a:cubicBezTo>
                  <a:cubicBezTo>
                    <a:pt x="3102" y="657"/>
                    <a:pt x="3165" y="634"/>
                    <a:pt x="3228" y="613"/>
                  </a:cubicBezTo>
                  <a:cubicBezTo>
                    <a:pt x="3259" y="602"/>
                    <a:pt x="3259" y="602"/>
                    <a:pt x="3259" y="602"/>
                  </a:cubicBezTo>
                  <a:cubicBezTo>
                    <a:pt x="3588" y="490"/>
                    <a:pt x="3960" y="364"/>
                    <a:pt x="4288" y="504"/>
                  </a:cubicBezTo>
                  <a:cubicBezTo>
                    <a:pt x="4631" y="649"/>
                    <a:pt x="4827" y="1022"/>
                    <a:pt x="5000" y="1350"/>
                  </a:cubicBezTo>
                  <a:cubicBezTo>
                    <a:pt x="5015" y="1377"/>
                    <a:pt x="5029" y="1404"/>
                    <a:pt x="5042" y="1430"/>
                  </a:cubicBezTo>
                  <a:cubicBezTo>
                    <a:pt x="5071" y="1484"/>
                    <a:pt x="5100" y="1540"/>
                    <a:pt x="5130" y="1598"/>
                  </a:cubicBezTo>
                  <a:cubicBezTo>
                    <a:pt x="5289" y="1909"/>
                    <a:pt x="5470" y="2262"/>
                    <a:pt x="5762" y="2457"/>
                  </a:cubicBezTo>
                  <a:cubicBezTo>
                    <a:pt x="5899" y="2548"/>
                    <a:pt x="6056" y="2620"/>
                    <a:pt x="6217" y="2686"/>
                  </a:cubicBezTo>
                  <a:cubicBezTo>
                    <a:pt x="6231" y="2683"/>
                    <a:pt x="6231" y="2683"/>
                    <a:pt x="6231" y="2683"/>
                  </a:cubicBezTo>
                  <a:cubicBezTo>
                    <a:pt x="6066" y="2617"/>
                    <a:pt x="5905" y="2544"/>
                    <a:pt x="5766" y="2451"/>
                  </a:cubicBezTo>
                  <a:close/>
                </a:path>
              </a:pathLst>
            </a:custGeom>
            <a:solidFill>
              <a:srgbClr val="C9CA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4" name="Freeform 63"/>
            <p:cNvSpPr>
              <a:spLocks/>
            </p:cNvSpPr>
            <p:nvPr userDrawn="1"/>
          </p:nvSpPr>
          <p:spPr bwMode="auto">
            <a:xfrm>
              <a:off x="-792" y="230893"/>
              <a:ext cx="9849841" cy="4237854"/>
            </a:xfrm>
            <a:custGeom>
              <a:avLst/>
              <a:gdLst>
                <a:gd name="T0" fmla="*/ 5815 w 6459"/>
                <a:gd name="T1" fmla="*/ 2469 h 2777"/>
                <a:gd name="T2" fmla="*/ 5184 w 6459"/>
                <a:gd name="T3" fmla="*/ 1614 h 2777"/>
                <a:gd name="T4" fmla="*/ 5096 w 6459"/>
                <a:gd name="T5" fmla="*/ 1447 h 2777"/>
                <a:gd name="T6" fmla="*/ 5050 w 6459"/>
                <a:gd name="T7" fmla="*/ 1361 h 2777"/>
                <a:gd name="T8" fmla="*/ 4338 w 6459"/>
                <a:gd name="T9" fmla="*/ 518 h 2777"/>
                <a:gd name="T10" fmla="*/ 3311 w 6459"/>
                <a:gd name="T11" fmla="*/ 614 h 2777"/>
                <a:gd name="T12" fmla="*/ 3272 w 6459"/>
                <a:gd name="T13" fmla="*/ 627 h 2777"/>
                <a:gd name="T14" fmla="*/ 3080 w 6459"/>
                <a:gd name="T15" fmla="*/ 694 h 2777"/>
                <a:gd name="T16" fmla="*/ 2120 w 6459"/>
                <a:gd name="T17" fmla="*/ 876 h 2777"/>
                <a:gd name="T18" fmla="*/ 1385 w 6459"/>
                <a:gd name="T19" fmla="*/ 603 h 2777"/>
                <a:gd name="T20" fmla="*/ 1108 w 6459"/>
                <a:gd name="T21" fmla="*/ 473 h 2777"/>
                <a:gd name="T22" fmla="*/ 0 w 6459"/>
                <a:gd name="T23" fmla="*/ 0 h 2777"/>
                <a:gd name="T24" fmla="*/ 0 w 6459"/>
                <a:gd name="T25" fmla="*/ 8 h 2777"/>
                <a:gd name="T26" fmla="*/ 1105 w 6459"/>
                <a:gd name="T27" fmla="*/ 480 h 2777"/>
                <a:gd name="T28" fmla="*/ 1382 w 6459"/>
                <a:gd name="T29" fmla="*/ 610 h 2777"/>
                <a:gd name="T30" fmla="*/ 2119 w 6459"/>
                <a:gd name="T31" fmla="*/ 883 h 2777"/>
                <a:gd name="T32" fmla="*/ 3082 w 6459"/>
                <a:gd name="T33" fmla="*/ 701 h 2777"/>
                <a:gd name="T34" fmla="*/ 3274 w 6459"/>
                <a:gd name="T35" fmla="*/ 634 h 2777"/>
                <a:gd name="T36" fmla="*/ 3313 w 6459"/>
                <a:gd name="T37" fmla="*/ 621 h 2777"/>
                <a:gd name="T38" fmla="*/ 4335 w 6459"/>
                <a:gd name="T39" fmla="*/ 525 h 2777"/>
                <a:gd name="T40" fmla="*/ 5043 w 6459"/>
                <a:gd name="T41" fmla="*/ 1365 h 2777"/>
                <a:gd name="T42" fmla="*/ 5089 w 6459"/>
                <a:gd name="T43" fmla="*/ 1451 h 2777"/>
                <a:gd name="T44" fmla="*/ 5177 w 6459"/>
                <a:gd name="T45" fmla="*/ 1618 h 2777"/>
                <a:gd name="T46" fmla="*/ 5810 w 6459"/>
                <a:gd name="T47" fmla="*/ 2475 h 2777"/>
                <a:gd name="T48" fmla="*/ 6445 w 6459"/>
                <a:gd name="T49" fmla="*/ 2777 h 2777"/>
                <a:gd name="T50" fmla="*/ 6459 w 6459"/>
                <a:gd name="T51" fmla="*/ 2774 h 2777"/>
                <a:gd name="T52" fmla="*/ 5815 w 6459"/>
                <a:gd name="T53" fmla="*/ 2469 h 2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459" h="2777">
                  <a:moveTo>
                    <a:pt x="5815" y="2469"/>
                  </a:moveTo>
                  <a:cubicBezTo>
                    <a:pt x="5526" y="2272"/>
                    <a:pt x="5344" y="1923"/>
                    <a:pt x="5184" y="1614"/>
                  </a:cubicBezTo>
                  <a:cubicBezTo>
                    <a:pt x="5154" y="1556"/>
                    <a:pt x="5125" y="1501"/>
                    <a:pt x="5096" y="1447"/>
                  </a:cubicBezTo>
                  <a:cubicBezTo>
                    <a:pt x="5081" y="1419"/>
                    <a:pt x="5066" y="1390"/>
                    <a:pt x="5050" y="1361"/>
                  </a:cubicBezTo>
                  <a:cubicBezTo>
                    <a:pt x="4884" y="1050"/>
                    <a:pt x="4677" y="662"/>
                    <a:pt x="4338" y="518"/>
                  </a:cubicBezTo>
                  <a:cubicBezTo>
                    <a:pt x="4013" y="379"/>
                    <a:pt x="3623" y="509"/>
                    <a:pt x="3311" y="614"/>
                  </a:cubicBezTo>
                  <a:cubicBezTo>
                    <a:pt x="3272" y="627"/>
                    <a:pt x="3272" y="627"/>
                    <a:pt x="3272" y="627"/>
                  </a:cubicBezTo>
                  <a:cubicBezTo>
                    <a:pt x="3209" y="648"/>
                    <a:pt x="3146" y="670"/>
                    <a:pt x="3080" y="694"/>
                  </a:cubicBezTo>
                  <a:cubicBezTo>
                    <a:pt x="2765" y="806"/>
                    <a:pt x="2440" y="922"/>
                    <a:pt x="2120" y="876"/>
                  </a:cubicBezTo>
                  <a:cubicBezTo>
                    <a:pt x="1876" y="841"/>
                    <a:pt x="1626" y="720"/>
                    <a:pt x="1385" y="603"/>
                  </a:cubicBezTo>
                  <a:cubicBezTo>
                    <a:pt x="1289" y="556"/>
                    <a:pt x="1198" y="512"/>
                    <a:pt x="1108" y="47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105" y="480"/>
                    <a:pt x="1105" y="480"/>
                    <a:pt x="1105" y="480"/>
                  </a:cubicBezTo>
                  <a:cubicBezTo>
                    <a:pt x="1195" y="519"/>
                    <a:pt x="1286" y="563"/>
                    <a:pt x="1382" y="610"/>
                  </a:cubicBezTo>
                  <a:cubicBezTo>
                    <a:pt x="1624" y="727"/>
                    <a:pt x="1873" y="848"/>
                    <a:pt x="2119" y="883"/>
                  </a:cubicBezTo>
                  <a:cubicBezTo>
                    <a:pt x="2441" y="930"/>
                    <a:pt x="2767" y="813"/>
                    <a:pt x="3082" y="701"/>
                  </a:cubicBezTo>
                  <a:cubicBezTo>
                    <a:pt x="3149" y="677"/>
                    <a:pt x="3212" y="655"/>
                    <a:pt x="3274" y="634"/>
                  </a:cubicBezTo>
                  <a:cubicBezTo>
                    <a:pt x="3313" y="621"/>
                    <a:pt x="3313" y="621"/>
                    <a:pt x="3313" y="621"/>
                  </a:cubicBezTo>
                  <a:cubicBezTo>
                    <a:pt x="3625" y="517"/>
                    <a:pt x="4012" y="388"/>
                    <a:pt x="4335" y="525"/>
                  </a:cubicBezTo>
                  <a:cubicBezTo>
                    <a:pt x="4672" y="668"/>
                    <a:pt x="4878" y="1054"/>
                    <a:pt x="5043" y="1365"/>
                  </a:cubicBezTo>
                  <a:cubicBezTo>
                    <a:pt x="5059" y="1394"/>
                    <a:pt x="5074" y="1423"/>
                    <a:pt x="5089" y="1451"/>
                  </a:cubicBezTo>
                  <a:cubicBezTo>
                    <a:pt x="5119" y="1505"/>
                    <a:pt x="5147" y="1560"/>
                    <a:pt x="5177" y="1618"/>
                  </a:cubicBezTo>
                  <a:cubicBezTo>
                    <a:pt x="5338" y="1927"/>
                    <a:pt x="5520" y="2277"/>
                    <a:pt x="5810" y="2475"/>
                  </a:cubicBezTo>
                  <a:cubicBezTo>
                    <a:pt x="5996" y="2602"/>
                    <a:pt x="6221" y="2692"/>
                    <a:pt x="6445" y="2777"/>
                  </a:cubicBezTo>
                  <a:cubicBezTo>
                    <a:pt x="6459" y="2774"/>
                    <a:pt x="6459" y="2774"/>
                    <a:pt x="6459" y="2774"/>
                  </a:cubicBezTo>
                  <a:cubicBezTo>
                    <a:pt x="6233" y="2688"/>
                    <a:pt x="6002" y="2597"/>
                    <a:pt x="5815" y="2469"/>
                  </a:cubicBezTo>
                  <a:close/>
                </a:path>
              </a:pathLst>
            </a:custGeom>
            <a:solidFill>
              <a:srgbClr val="C8CA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4079776" y="0"/>
            <a:ext cx="8112224" cy="6861600"/>
          </a:xfrm>
          <a:custGeom>
            <a:avLst/>
            <a:gdLst>
              <a:gd name="connsiteX0" fmla="*/ 0 w 6120000"/>
              <a:gd name="connsiteY0" fmla="*/ 6855351 h 6861600"/>
              <a:gd name="connsiteX1" fmla="*/ 6120000 w 6120000"/>
              <a:gd name="connsiteY1" fmla="*/ 6856413 h 6861600"/>
              <a:gd name="connsiteX2" fmla="*/ 6120000 w 6120000"/>
              <a:gd name="connsiteY2" fmla="*/ 6861600 h 6861600"/>
              <a:gd name="connsiteX3" fmla="*/ 0 w 6120000"/>
              <a:gd name="connsiteY3" fmla="*/ 6861600 h 6861600"/>
              <a:gd name="connsiteX4" fmla="*/ 0 w 6120000"/>
              <a:gd name="connsiteY4" fmla="*/ 0 h 6861600"/>
              <a:gd name="connsiteX5" fmla="*/ 6120000 w 6120000"/>
              <a:gd name="connsiteY5" fmla="*/ 0 h 6861600"/>
              <a:gd name="connsiteX6" fmla="*/ 6120000 w 6120000"/>
              <a:gd name="connsiteY6" fmla="*/ 6856413 h 6861600"/>
              <a:gd name="connsiteX7" fmla="*/ 30350 w 6120000"/>
              <a:gd name="connsiteY7" fmla="*/ 5778500 h 6861600"/>
              <a:gd name="connsiteX8" fmla="*/ 0 w 6120000"/>
              <a:gd name="connsiteY8" fmla="*/ 5783848 h 6861600"/>
              <a:gd name="connsiteX0" fmla="*/ 0 w 6120000"/>
              <a:gd name="connsiteY0" fmla="*/ 6855351 h 6861600"/>
              <a:gd name="connsiteX1" fmla="*/ 6120000 w 6120000"/>
              <a:gd name="connsiteY1" fmla="*/ 6856413 h 6861600"/>
              <a:gd name="connsiteX2" fmla="*/ 6120000 w 6120000"/>
              <a:gd name="connsiteY2" fmla="*/ 6861600 h 6861600"/>
              <a:gd name="connsiteX3" fmla="*/ 0 w 6120000"/>
              <a:gd name="connsiteY3" fmla="*/ 6861600 h 6861600"/>
              <a:gd name="connsiteX4" fmla="*/ 0 w 6120000"/>
              <a:gd name="connsiteY4" fmla="*/ 6855351 h 6861600"/>
              <a:gd name="connsiteX5" fmla="*/ 0 w 6120000"/>
              <a:gd name="connsiteY5" fmla="*/ 0 h 6861600"/>
              <a:gd name="connsiteX6" fmla="*/ 6120000 w 6120000"/>
              <a:gd name="connsiteY6" fmla="*/ 0 h 6861600"/>
              <a:gd name="connsiteX7" fmla="*/ 6120000 w 6120000"/>
              <a:gd name="connsiteY7" fmla="*/ 6856413 h 6861600"/>
              <a:gd name="connsiteX8" fmla="*/ 30350 w 6120000"/>
              <a:gd name="connsiteY8" fmla="*/ 5778500 h 6861600"/>
              <a:gd name="connsiteX9" fmla="*/ 0 w 6120000"/>
              <a:gd name="connsiteY9" fmla="*/ 5461580 h 6861600"/>
              <a:gd name="connsiteX10" fmla="*/ 0 w 6120000"/>
              <a:gd name="connsiteY10" fmla="*/ 0 h 6861600"/>
              <a:gd name="connsiteX0" fmla="*/ 0 w 6120000"/>
              <a:gd name="connsiteY0" fmla="*/ 6855351 h 6861600"/>
              <a:gd name="connsiteX1" fmla="*/ 6120000 w 6120000"/>
              <a:gd name="connsiteY1" fmla="*/ 6856413 h 6861600"/>
              <a:gd name="connsiteX2" fmla="*/ 6120000 w 6120000"/>
              <a:gd name="connsiteY2" fmla="*/ 6861600 h 6861600"/>
              <a:gd name="connsiteX3" fmla="*/ 0 w 6120000"/>
              <a:gd name="connsiteY3" fmla="*/ 6861600 h 6861600"/>
              <a:gd name="connsiteX4" fmla="*/ 0 w 6120000"/>
              <a:gd name="connsiteY4" fmla="*/ 6855351 h 6861600"/>
              <a:gd name="connsiteX5" fmla="*/ 0 w 6120000"/>
              <a:gd name="connsiteY5" fmla="*/ 0 h 6861600"/>
              <a:gd name="connsiteX6" fmla="*/ 6120000 w 6120000"/>
              <a:gd name="connsiteY6" fmla="*/ 0 h 6861600"/>
              <a:gd name="connsiteX7" fmla="*/ 6120000 w 6120000"/>
              <a:gd name="connsiteY7" fmla="*/ 6856413 h 6861600"/>
              <a:gd name="connsiteX8" fmla="*/ 0 w 6120000"/>
              <a:gd name="connsiteY8" fmla="*/ 5461580 h 6861600"/>
              <a:gd name="connsiteX9" fmla="*/ 0 w 6120000"/>
              <a:gd name="connsiteY9" fmla="*/ 0 h 6861600"/>
              <a:gd name="connsiteX0" fmla="*/ 0 w 6120000"/>
              <a:gd name="connsiteY0" fmla="*/ 6861600 h 6861600"/>
              <a:gd name="connsiteX1" fmla="*/ 6120000 w 6120000"/>
              <a:gd name="connsiteY1" fmla="*/ 6856413 h 6861600"/>
              <a:gd name="connsiteX2" fmla="*/ 6120000 w 6120000"/>
              <a:gd name="connsiteY2" fmla="*/ 6861600 h 6861600"/>
              <a:gd name="connsiteX3" fmla="*/ 0 w 6120000"/>
              <a:gd name="connsiteY3" fmla="*/ 6861600 h 6861600"/>
              <a:gd name="connsiteX4" fmla="*/ 0 w 6120000"/>
              <a:gd name="connsiteY4" fmla="*/ 0 h 6861600"/>
              <a:gd name="connsiteX5" fmla="*/ 6120000 w 6120000"/>
              <a:gd name="connsiteY5" fmla="*/ 0 h 6861600"/>
              <a:gd name="connsiteX6" fmla="*/ 6120000 w 6120000"/>
              <a:gd name="connsiteY6" fmla="*/ 6856413 h 6861600"/>
              <a:gd name="connsiteX7" fmla="*/ 0 w 6120000"/>
              <a:gd name="connsiteY7" fmla="*/ 5461580 h 6861600"/>
              <a:gd name="connsiteX8" fmla="*/ 0 w 6120000"/>
              <a:gd name="connsiteY8" fmla="*/ 0 h 6861600"/>
              <a:gd name="connsiteX0" fmla="*/ 6120000 w 6120000"/>
              <a:gd name="connsiteY0" fmla="*/ 6861600 h 6861600"/>
              <a:gd name="connsiteX1" fmla="*/ 6120000 w 6120000"/>
              <a:gd name="connsiteY1" fmla="*/ 6856413 h 6861600"/>
              <a:gd name="connsiteX2" fmla="*/ 6120000 w 6120000"/>
              <a:gd name="connsiteY2" fmla="*/ 6861600 h 6861600"/>
              <a:gd name="connsiteX3" fmla="*/ 0 w 6120000"/>
              <a:gd name="connsiteY3" fmla="*/ 0 h 6861600"/>
              <a:gd name="connsiteX4" fmla="*/ 6120000 w 6120000"/>
              <a:gd name="connsiteY4" fmla="*/ 0 h 6861600"/>
              <a:gd name="connsiteX5" fmla="*/ 6120000 w 6120000"/>
              <a:gd name="connsiteY5" fmla="*/ 6856413 h 6861600"/>
              <a:gd name="connsiteX6" fmla="*/ 0 w 6120000"/>
              <a:gd name="connsiteY6" fmla="*/ 5461580 h 6861600"/>
              <a:gd name="connsiteX7" fmla="*/ 0 w 6120000"/>
              <a:gd name="connsiteY7" fmla="*/ 0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120000" h="6861600">
                <a:moveTo>
                  <a:pt x="6120000" y="6861600"/>
                </a:moveTo>
                <a:lnTo>
                  <a:pt x="6120000" y="6856413"/>
                </a:lnTo>
                <a:lnTo>
                  <a:pt x="6120000" y="6861600"/>
                </a:lnTo>
                <a:close/>
                <a:moveTo>
                  <a:pt x="0" y="0"/>
                </a:moveTo>
                <a:lnTo>
                  <a:pt x="6120000" y="0"/>
                </a:lnTo>
                <a:lnTo>
                  <a:pt x="6120000" y="6856413"/>
                </a:lnTo>
                <a:lnTo>
                  <a:pt x="0" y="546158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alpha val="90000"/>
            </a:schemeClr>
          </a:solidFill>
        </p:spPr>
        <p:txBody>
          <a:bodyPr wrap="square" lIns="666000" tIns="2304000" rIns="489600" bIns="2538000" anchor="t" anchorCtr="0">
            <a:noAutofit/>
          </a:bodyPr>
          <a:lstStyle>
            <a:lvl1pPr>
              <a:lnSpc>
                <a:spcPct val="87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Præsentationstitel i maksimum to linjer</a:t>
            </a:r>
            <a:endParaRPr lang="da-DK"/>
          </a:p>
        </p:txBody>
      </p:sp>
      <p:sp>
        <p:nvSpPr>
          <p:cNvPr id="3" name="Undertitel 2"/>
          <p:cNvSpPr>
            <a:spLocks noGrp="1"/>
          </p:cNvSpPr>
          <p:nvPr>
            <p:ph type="subTitle" idx="1" hasCustomPrompt="1"/>
          </p:nvPr>
        </p:nvSpPr>
        <p:spPr>
          <a:xfrm>
            <a:off x="4077409" y="3512868"/>
            <a:ext cx="7441491" cy="498834"/>
          </a:xfrm>
        </p:spPr>
        <p:txBody>
          <a:bodyPr lIns="684000" rIns="511200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Klik, og tilføj undertitel</a:t>
            </a:r>
            <a:endParaRPr lang="da-DK"/>
          </a:p>
        </p:txBody>
      </p:sp>
      <p:sp>
        <p:nvSpPr>
          <p:cNvPr id="6" name="Indsæt TitleName"/>
          <p:cNvSpPr>
            <a:spLocks noGrp="1"/>
          </p:cNvSpPr>
          <p:nvPr>
            <p:ph type="body" sz="quarter" idx="14" hasCustomPrompt="1"/>
          </p:nvPr>
        </p:nvSpPr>
        <p:spPr>
          <a:xfrm>
            <a:off x="4079775" y="1349645"/>
            <a:ext cx="7439125" cy="360040"/>
          </a:xfrm>
        </p:spPr>
        <p:txBody>
          <a:bodyPr lIns="684000" anchor="b" anchorCtr="0"/>
          <a:lstStyle>
            <a:lvl1pPr>
              <a:lnSpc>
                <a:spcPct val="115000"/>
              </a:lnSpc>
              <a:defRPr sz="10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Indsæt titel, navn</a:t>
            </a:r>
            <a:endParaRPr lang="da-DK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445224"/>
            <a:ext cx="12192000" cy="1411191"/>
          </a:xfrm>
          <a:custGeom>
            <a:avLst/>
            <a:gdLst>
              <a:gd name="connsiteX0" fmla="*/ 3054350 w 9144000"/>
              <a:gd name="connsiteY0" fmla="*/ 0 h 1077913"/>
              <a:gd name="connsiteX1" fmla="*/ 9144000 w 9144000"/>
              <a:gd name="connsiteY1" fmla="*/ 1077913 h 1077913"/>
              <a:gd name="connsiteX2" fmla="*/ 0 w 9144000"/>
              <a:gd name="connsiteY2" fmla="*/ 1076326 h 1077913"/>
              <a:gd name="connsiteX3" fmla="*/ 0 w 9144000"/>
              <a:gd name="connsiteY3" fmla="*/ 538163 h 1077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1077913">
                <a:moveTo>
                  <a:pt x="3054350" y="0"/>
                </a:moveTo>
                <a:lnTo>
                  <a:pt x="9144000" y="1077913"/>
                </a:lnTo>
                <a:lnTo>
                  <a:pt x="0" y="1076326"/>
                </a:lnTo>
                <a:lnTo>
                  <a:pt x="0" y="53816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079776" y="4041068"/>
            <a:ext cx="8109858" cy="2823852"/>
          </a:xfrm>
          <a:custGeom>
            <a:avLst/>
            <a:gdLst>
              <a:gd name="connsiteX0" fmla="*/ 6116484 w 6118225"/>
              <a:gd name="connsiteY0" fmla="*/ 0 h 2159720"/>
              <a:gd name="connsiteX1" fmla="*/ 6118225 w 6118225"/>
              <a:gd name="connsiteY1" fmla="*/ 0 h 2159720"/>
              <a:gd name="connsiteX2" fmla="*/ 6118225 w 6118225"/>
              <a:gd name="connsiteY2" fmla="*/ 2159720 h 2159720"/>
              <a:gd name="connsiteX3" fmla="*/ 0 w 6118225"/>
              <a:gd name="connsiteY3" fmla="*/ 1078913 h 2159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18225" h="2159720">
                <a:moveTo>
                  <a:pt x="6116484" y="0"/>
                </a:moveTo>
                <a:lnTo>
                  <a:pt x="6118225" y="0"/>
                </a:lnTo>
                <a:lnTo>
                  <a:pt x="6118225" y="2159720"/>
                </a:lnTo>
                <a:lnTo>
                  <a:pt x="0" y="1078913"/>
                </a:lnTo>
                <a:close/>
              </a:path>
            </a:pathLst>
          </a:custGeom>
          <a:solidFill>
            <a:srgbClr val="27A1BD"/>
          </a:solidFill>
        </p:spPr>
        <p:txBody>
          <a:bodyPr wrap="square">
            <a:noAutofit/>
          </a:bodyPr>
          <a:lstStyle>
            <a:lvl1pPr marL="0" indent="0">
              <a:buNone/>
              <a:defRPr sz="100"/>
            </a:lvl1pPr>
            <a:lvl2pPr marL="0" indent="0">
              <a:buNone/>
              <a:defRPr sz="100"/>
            </a:lvl2pPr>
            <a:lvl3pPr marL="216000" indent="0">
              <a:buNone/>
              <a:defRPr sz="100"/>
            </a:lvl3pPr>
            <a:lvl4pPr marL="432000" indent="0">
              <a:buNone/>
              <a:defRPr sz="100"/>
            </a:lvl4pPr>
            <a:lvl5pPr marL="648000" indent="0">
              <a:buNone/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122" name="Text Placeholder 3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4764088" y="345600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0802602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C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BEBEC"/>
          </a:solidFill>
          <a:ln w="3175">
            <a:noFill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4000"/>
              </a:lnSpc>
            </a:pPr>
            <a:endParaRPr lang="da-DK" sz="1800" dirty="0" err="1"/>
          </a:p>
        </p:txBody>
      </p:sp>
      <p:grpSp>
        <p:nvGrpSpPr>
          <p:cNvPr id="121" name="Lines"/>
          <p:cNvGrpSpPr/>
          <p:nvPr userDrawn="1"/>
        </p:nvGrpSpPr>
        <p:grpSpPr>
          <a:xfrm>
            <a:off x="-792" y="0"/>
            <a:ext cx="12298271" cy="6161964"/>
            <a:chOff x="-792" y="0"/>
            <a:chExt cx="12298271" cy="6161964"/>
          </a:xfrm>
        </p:grpSpPr>
        <p:sp>
          <p:nvSpPr>
            <p:cNvPr id="108" name="Freeform: Shape 107"/>
            <p:cNvSpPr>
              <a:spLocks/>
            </p:cNvSpPr>
            <p:nvPr userDrawn="1"/>
          </p:nvSpPr>
          <p:spPr bwMode="auto">
            <a:xfrm>
              <a:off x="5971967" y="0"/>
              <a:ext cx="6221233" cy="2661061"/>
            </a:xfrm>
            <a:custGeom>
              <a:avLst/>
              <a:gdLst>
                <a:gd name="connsiteX0" fmla="*/ 0 w 6221233"/>
                <a:gd name="connsiteY0" fmla="*/ 0 h 2661061"/>
                <a:gd name="connsiteX1" fmla="*/ 38482 w 6221233"/>
                <a:gd name="connsiteY1" fmla="*/ 0 h 2661061"/>
                <a:gd name="connsiteX2" fmla="*/ 6221233 w 6221233"/>
                <a:gd name="connsiteY2" fmla="*/ 2645019 h 2661061"/>
                <a:gd name="connsiteX3" fmla="*/ 6221233 w 6221233"/>
                <a:gd name="connsiteY3" fmla="*/ 2661061 h 2661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21233" h="2661061">
                  <a:moveTo>
                    <a:pt x="0" y="0"/>
                  </a:moveTo>
                  <a:lnTo>
                    <a:pt x="38482" y="0"/>
                  </a:lnTo>
                  <a:lnTo>
                    <a:pt x="6221233" y="2645019"/>
                  </a:lnTo>
                  <a:lnTo>
                    <a:pt x="6221233" y="2661061"/>
                  </a:lnTo>
                  <a:close/>
                </a:path>
              </a:pathLst>
            </a:custGeom>
            <a:solidFill>
              <a:srgbClr val="C1C3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06" name="Freeform: Shape 105"/>
            <p:cNvSpPr>
              <a:spLocks/>
            </p:cNvSpPr>
            <p:nvPr userDrawn="1"/>
          </p:nvSpPr>
          <p:spPr bwMode="auto">
            <a:xfrm>
              <a:off x="6239739" y="1"/>
              <a:ext cx="5953461" cy="2457299"/>
            </a:xfrm>
            <a:custGeom>
              <a:avLst/>
              <a:gdLst>
                <a:gd name="connsiteX0" fmla="*/ 0 w 5953461"/>
                <a:gd name="connsiteY0" fmla="*/ 0 h 2457299"/>
                <a:gd name="connsiteX1" fmla="*/ 36593 w 5953461"/>
                <a:gd name="connsiteY1" fmla="*/ 0 h 2457299"/>
                <a:gd name="connsiteX2" fmla="*/ 1445423 w 5953461"/>
                <a:gd name="connsiteY2" fmla="*/ 637927 h 2457299"/>
                <a:gd name="connsiteX3" fmla="*/ 2689583 w 5953461"/>
                <a:gd name="connsiteY3" fmla="*/ 1109504 h 2457299"/>
                <a:gd name="connsiteX4" fmla="*/ 3712662 w 5953461"/>
                <a:gd name="connsiteY4" fmla="*/ 1489513 h 2457299"/>
                <a:gd name="connsiteX5" fmla="*/ 5925012 w 5953461"/>
                <a:gd name="connsiteY5" fmla="*/ 2428089 h 2457299"/>
                <a:gd name="connsiteX6" fmla="*/ 5953461 w 5953461"/>
                <a:gd name="connsiteY6" fmla="*/ 2440341 h 2457299"/>
                <a:gd name="connsiteX7" fmla="*/ 5953461 w 5953461"/>
                <a:gd name="connsiteY7" fmla="*/ 2457299 h 2457299"/>
                <a:gd name="connsiteX8" fmla="*/ 5917389 w 5953461"/>
                <a:gd name="connsiteY8" fmla="*/ 2441825 h 2457299"/>
                <a:gd name="connsiteX9" fmla="*/ 3706563 w 5953461"/>
                <a:gd name="connsiteY9" fmla="*/ 1503248 h 2457299"/>
                <a:gd name="connsiteX10" fmla="*/ 2685009 w 5953461"/>
                <a:gd name="connsiteY10" fmla="*/ 1124765 h 2457299"/>
                <a:gd name="connsiteX11" fmla="*/ 1439324 w 5953461"/>
                <a:gd name="connsiteY11" fmla="*/ 651662 h 2457299"/>
                <a:gd name="connsiteX12" fmla="*/ 0 w 5953461"/>
                <a:gd name="connsiteY12" fmla="*/ 0 h 2457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3461" h="2457299">
                  <a:moveTo>
                    <a:pt x="0" y="0"/>
                  </a:moveTo>
                  <a:cubicBezTo>
                    <a:pt x="0" y="0"/>
                    <a:pt x="0" y="0"/>
                    <a:pt x="36593" y="0"/>
                  </a:cubicBezTo>
                  <a:cubicBezTo>
                    <a:pt x="501629" y="218238"/>
                    <a:pt x="972763" y="436476"/>
                    <a:pt x="1445423" y="637927"/>
                  </a:cubicBezTo>
                  <a:cubicBezTo>
                    <a:pt x="1854044" y="811907"/>
                    <a:pt x="2279437" y="962995"/>
                    <a:pt x="2689583" y="1109504"/>
                  </a:cubicBezTo>
                  <a:cubicBezTo>
                    <a:pt x="3026544" y="1230069"/>
                    <a:pt x="3375702" y="1353687"/>
                    <a:pt x="3712662" y="1489513"/>
                  </a:cubicBezTo>
                  <a:cubicBezTo>
                    <a:pt x="4455195" y="1788637"/>
                    <a:pt x="5202301" y="2113704"/>
                    <a:pt x="5925012" y="2428089"/>
                  </a:cubicBezTo>
                  <a:lnTo>
                    <a:pt x="5953461" y="2440341"/>
                  </a:lnTo>
                  <a:lnTo>
                    <a:pt x="5953461" y="2457299"/>
                  </a:lnTo>
                  <a:lnTo>
                    <a:pt x="5917389" y="2441825"/>
                  </a:lnTo>
                  <a:cubicBezTo>
                    <a:pt x="5196202" y="2127440"/>
                    <a:pt x="4449095" y="1802372"/>
                    <a:pt x="3706563" y="1503248"/>
                  </a:cubicBezTo>
                  <a:cubicBezTo>
                    <a:pt x="3369603" y="1367422"/>
                    <a:pt x="3021970" y="1243805"/>
                    <a:pt x="2685009" y="1124765"/>
                  </a:cubicBezTo>
                  <a:cubicBezTo>
                    <a:pt x="2273339" y="978256"/>
                    <a:pt x="1847945" y="825642"/>
                    <a:pt x="1439324" y="651662"/>
                  </a:cubicBezTo>
                  <a:cubicBezTo>
                    <a:pt x="955992" y="445633"/>
                    <a:pt x="474184" y="222817"/>
                    <a:pt x="0" y="0"/>
                  </a:cubicBezTo>
                  <a:close/>
                </a:path>
              </a:pathLst>
            </a:custGeom>
            <a:solidFill>
              <a:srgbClr val="C1C3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04" name="Freeform: Shape 103"/>
            <p:cNvSpPr>
              <a:spLocks/>
            </p:cNvSpPr>
            <p:nvPr userDrawn="1"/>
          </p:nvSpPr>
          <p:spPr bwMode="auto">
            <a:xfrm>
              <a:off x="6472236" y="1"/>
              <a:ext cx="5720965" cy="2253309"/>
            </a:xfrm>
            <a:custGeom>
              <a:avLst/>
              <a:gdLst>
                <a:gd name="connsiteX0" fmla="*/ 0 w 5720965"/>
                <a:gd name="connsiteY0" fmla="*/ 0 h 2253309"/>
                <a:gd name="connsiteX1" fmla="*/ 35073 w 5720965"/>
                <a:gd name="connsiteY1" fmla="*/ 0 h 2253309"/>
                <a:gd name="connsiteX2" fmla="*/ 1262628 w 5720965"/>
                <a:gd name="connsiteY2" fmla="*/ 585870 h 2253309"/>
                <a:gd name="connsiteX3" fmla="*/ 2485607 w 5720965"/>
                <a:gd name="connsiteY3" fmla="*/ 985604 h 2253309"/>
                <a:gd name="connsiteX4" fmla="*/ 3551521 w 5720965"/>
                <a:gd name="connsiteY4" fmla="*/ 1319733 h 2253309"/>
                <a:gd name="connsiteX5" fmla="*/ 4660895 w 5720965"/>
                <a:gd name="connsiteY5" fmla="*/ 1774583 h 2253309"/>
                <a:gd name="connsiteX6" fmla="*/ 5720965 w 5720965"/>
                <a:gd name="connsiteY6" fmla="*/ 2235408 h 2253309"/>
                <a:gd name="connsiteX7" fmla="*/ 5720965 w 5720965"/>
                <a:gd name="connsiteY7" fmla="*/ 2253309 h 2253309"/>
                <a:gd name="connsiteX8" fmla="*/ 4654223 w 5720965"/>
                <a:gd name="connsiteY8" fmla="*/ 1789268 h 2253309"/>
                <a:gd name="connsiteX9" fmla="*/ 3545421 w 5720965"/>
                <a:gd name="connsiteY9" fmla="*/ 1334990 h 2253309"/>
                <a:gd name="connsiteX10" fmla="*/ 2481032 w 5720965"/>
                <a:gd name="connsiteY10" fmla="*/ 1000861 h 2253309"/>
                <a:gd name="connsiteX11" fmla="*/ 1256528 w 5720965"/>
                <a:gd name="connsiteY11" fmla="*/ 601127 h 2253309"/>
                <a:gd name="connsiteX12" fmla="*/ 0 w 5720965"/>
                <a:gd name="connsiteY12" fmla="*/ 0 h 2253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0965" h="2253309">
                  <a:moveTo>
                    <a:pt x="0" y="0"/>
                  </a:moveTo>
                  <a:cubicBezTo>
                    <a:pt x="0" y="0"/>
                    <a:pt x="0" y="0"/>
                    <a:pt x="35073" y="0"/>
                  </a:cubicBezTo>
                  <a:cubicBezTo>
                    <a:pt x="437650" y="207496"/>
                    <a:pt x="847851" y="408888"/>
                    <a:pt x="1262628" y="585870"/>
                  </a:cubicBezTo>
                  <a:cubicBezTo>
                    <a:pt x="1659105" y="755223"/>
                    <a:pt x="2079980" y="872702"/>
                    <a:pt x="2485607" y="985604"/>
                  </a:cubicBezTo>
                  <a:cubicBezTo>
                    <a:pt x="2837862" y="1083249"/>
                    <a:pt x="3202316" y="1185471"/>
                    <a:pt x="3551521" y="1319733"/>
                  </a:cubicBezTo>
                  <a:cubicBezTo>
                    <a:pt x="3922075" y="1463912"/>
                    <a:pt x="4293010" y="1617626"/>
                    <a:pt x="4660895" y="1774583"/>
                  </a:cubicBezTo>
                  <a:lnTo>
                    <a:pt x="5720965" y="2235408"/>
                  </a:lnTo>
                  <a:lnTo>
                    <a:pt x="5720965" y="2253309"/>
                  </a:lnTo>
                  <a:lnTo>
                    <a:pt x="4654223" y="1789268"/>
                  </a:lnTo>
                  <a:cubicBezTo>
                    <a:pt x="4286529" y="1632502"/>
                    <a:pt x="3915975" y="1479169"/>
                    <a:pt x="3545421" y="1334990"/>
                  </a:cubicBezTo>
                  <a:cubicBezTo>
                    <a:pt x="3197741" y="1200728"/>
                    <a:pt x="2833287" y="1098506"/>
                    <a:pt x="2481032" y="1000861"/>
                  </a:cubicBezTo>
                  <a:cubicBezTo>
                    <a:pt x="2073881" y="886433"/>
                    <a:pt x="1654530" y="770480"/>
                    <a:pt x="1256528" y="601127"/>
                  </a:cubicBezTo>
                  <a:cubicBezTo>
                    <a:pt x="831077" y="419568"/>
                    <a:pt x="411727" y="212073"/>
                    <a:pt x="0" y="0"/>
                  </a:cubicBezTo>
                  <a:close/>
                </a:path>
              </a:pathLst>
            </a:custGeom>
            <a:solidFill>
              <a:srgbClr val="C0C2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00" name="Freeform: Shape 99"/>
            <p:cNvSpPr>
              <a:spLocks/>
            </p:cNvSpPr>
            <p:nvPr userDrawn="1"/>
          </p:nvSpPr>
          <p:spPr bwMode="auto">
            <a:xfrm>
              <a:off x="6687094" y="0"/>
              <a:ext cx="5506106" cy="2050042"/>
            </a:xfrm>
            <a:custGeom>
              <a:avLst/>
              <a:gdLst>
                <a:gd name="connsiteX0" fmla="*/ 0 w 5506106"/>
                <a:gd name="connsiteY0" fmla="*/ 0 h 2050042"/>
                <a:gd name="connsiteX1" fmla="*/ 33549 w 5506106"/>
                <a:gd name="connsiteY1" fmla="*/ 0 h 2050042"/>
                <a:gd name="connsiteX2" fmla="*/ 1088817 w 5506106"/>
                <a:gd name="connsiteY2" fmla="*/ 523538 h 2050042"/>
                <a:gd name="connsiteX3" fmla="*/ 2314880 w 5506106"/>
                <a:gd name="connsiteY3" fmla="*/ 863914 h 2050042"/>
                <a:gd name="connsiteX4" fmla="*/ 3406747 w 5506106"/>
                <a:gd name="connsiteY4" fmla="*/ 1150867 h 2050042"/>
                <a:gd name="connsiteX5" fmla="*/ 4514436 w 5506106"/>
                <a:gd name="connsiteY5" fmla="*/ 1599041 h 2050042"/>
                <a:gd name="connsiteX6" fmla="*/ 5506106 w 5506106"/>
                <a:gd name="connsiteY6" fmla="*/ 2033522 h 2050042"/>
                <a:gd name="connsiteX7" fmla="*/ 5506106 w 5506106"/>
                <a:gd name="connsiteY7" fmla="*/ 2050042 h 2050042"/>
                <a:gd name="connsiteX8" fmla="*/ 4508336 w 5506106"/>
                <a:gd name="connsiteY8" fmla="*/ 1614114 h 2050042"/>
                <a:gd name="connsiteX9" fmla="*/ 3400648 w 5506106"/>
                <a:gd name="connsiteY9" fmla="*/ 1166131 h 2050042"/>
                <a:gd name="connsiteX10" fmla="*/ 2311830 w 5506106"/>
                <a:gd name="connsiteY10" fmla="*/ 879177 h 2050042"/>
                <a:gd name="connsiteX11" fmla="*/ 1082718 w 5506106"/>
                <a:gd name="connsiteY11" fmla="*/ 537275 h 2050042"/>
                <a:gd name="connsiteX12" fmla="*/ 0 w 5506106"/>
                <a:gd name="connsiteY12" fmla="*/ 0 h 2050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506106" h="2050042">
                  <a:moveTo>
                    <a:pt x="0" y="0"/>
                  </a:moveTo>
                  <a:cubicBezTo>
                    <a:pt x="0" y="0"/>
                    <a:pt x="0" y="0"/>
                    <a:pt x="33549" y="0"/>
                  </a:cubicBezTo>
                  <a:cubicBezTo>
                    <a:pt x="378189" y="189267"/>
                    <a:pt x="728928" y="369377"/>
                    <a:pt x="1088817" y="523538"/>
                  </a:cubicBezTo>
                  <a:cubicBezTo>
                    <a:pt x="1485305" y="691436"/>
                    <a:pt x="1906193" y="778438"/>
                    <a:pt x="2314880" y="863914"/>
                  </a:cubicBezTo>
                  <a:cubicBezTo>
                    <a:pt x="2676294" y="938705"/>
                    <a:pt x="3051433" y="1016548"/>
                    <a:pt x="3406747" y="1150867"/>
                  </a:cubicBezTo>
                  <a:cubicBezTo>
                    <a:pt x="3777311" y="1290528"/>
                    <a:pt x="4147494" y="1442400"/>
                    <a:pt x="4514436" y="1599041"/>
                  </a:cubicBezTo>
                  <a:lnTo>
                    <a:pt x="5506106" y="2033522"/>
                  </a:lnTo>
                  <a:lnTo>
                    <a:pt x="5506106" y="2050042"/>
                  </a:lnTo>
                  <a:lnTo>
                    <a:pt x="4508336" y="1614114"/>
                  </a:lnTo>
                  <a:cubicBezTo>
                    <a:pt x="4141394" y="1457663"/>
                    <a:pt x="3771211" y="1305792"/>
                    <a:pt x="3400648" y="1166131"/>
                  </a:cubicBezTo>
                  <a:cubicBezTo>
                    <a:pt x="3046858" y="1033338"/>
                    <a:pt x="2673244" y="955494"/>
                    <a:pt x="2311830" y="879177"/>
                  </a:cubicBezTo>
                  <a:cubicBezTo>
                    <a:pt x="1903143" y="795228"/>
                    <a:pt x="1479206" y="706700"/>
                    <a:pt x="1082718" y="537275"/>
                  </a:cubicBezTo>
                  <a:cubicBezTo>
                    <a:pt x="713679" y="380061"/>
                    <a:pt x="352265" y="195373"/>
                    <a:pt x="0" y="0"/>
                  </a:cubicBezTo>
                  <a:close/>
                </a:path>
              </a:pathLst>
            </a:custGeom>
            <a:solidFill>
              <a:srgbClr val="C0C2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02" name="Freeform: Shape 101"/>
            <p:cNvSpPr>
              <a:spLocks/>
            </p:cNvSpPr>
            <p:nvPr userDrawn="1"/>
          </p:nvSpPr>
          <p:spPr bwMode="auto">
            <a:xfrm>
              <a:off x="7019004" y="0"/>
              <a:ext cx="5174196" cy="1848116"/>
            </a:xfrm>
            <a:custGeom>
              <a:avLst/>
              <a:gdLst>
                <a:gd name="connsiteX0" fmla="*/ 0 w 5174196"/>
                <a:gd name="connsiteY0" fmla="*/ 0 h 1848116"/>
                <a:gd name="connsiteX1" fmla="*/ 35068 w 5174196"/>
                <a:gd name="connsiteY1" fmla="*/ 0 h 1848116"/>
                <a:gd name="connsiteX2" fmla="*/ 817222 w 5174196"/>
                <a:gd name="connsiteY2" fmla="*/ 378424 h 1848116"/>
                <a:gd name="connsiteX3" fmla="*/ 2050677 w 5174196"/>
                <a:gd name="connsiteY3" fmla="*/ 708019 h 1848116"/>
                <a:gd name="connsiteX4" fmla="*/ 3146913 w 5174196"/>
                <a:gd name="connsiteY4" fmla="*/ 982682 h 1848116"/>
                <a:gd name="connsiteX5" fmla="*/ 4752602 w 5174196"/>
                <a:gd name="connsiteY5" fmla="*/ 1642730 h 1848116"/>
                <a:gd name="connsiteX6" fmla="*/ 5174196 w 5174196"/>
                <a:gd name="connsiteY6" fmla="*/ 1829780 h 1848116"/>
                <a:gd name="connsiteX7" fmla="*/ 5174196 w 5174196"/>
                <a:gd name="connsiteY7" fmla="*/ 1848116 h 1848116"/>
                <a:gd name="connsiteX8" fmla="*/ 4751244 w 5174196"/>
                <a:gd name="connsiteY8" fmla="*/ 1660564 h 1848116"/>
                <a:gd name="connsiteX9" fmla="*/ 3142339 w 5174196"/>
                <a:gd name="connsiteY9" fmla="*/ 997941 h 1848116"/>
                <a:gd name="connsiteX10" fmla="*/ 2047628 w 5174196"/>
                <a:gd name="connsiteY10" fmla="*/ 724804 h 1848116"/>
                <a:gd name="connsiteX11" fmla="*/ 811123 w 5174196"/>
                <a:gd name="connsiteY11" fmla="*/ 393683 h 1848116"/>
                <a:gd name="connsiteX12" fmla="*/ 0 w 5174196"/>
                <a:gd name="connsiteY12" fmla="*/ 0 h 1848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4196" h="1848116">
                  <a:moveTo>
                    <a:pt x="0" y="0"/>
                  </a:moveTo>
                  <a:cubicBezTo>
                    <a:pt x="0" y="0"/>
                    <a:pt x="0" y="0"/>
                    <a:pt x="35068" y="0"/>
                  </a:cubicBezTo>
                  <a:cubicBezTo>
                    <a:pt x="291212" y="135805"/>
                    <a:pt x="551930" y="265507"/>
                    <a:pt x="817222" y="378424"/>
                  </a:cubicBezTo>
                  <a:cubicBezTo>
                    <a:pt x="1215160" y="547799"/>
                    <a:pt x="1640542" y="628672"/>
                    <a:pt x="2050677" y="708019"/>
                  </a:cubicBezTo>
                  <a:cubicBezTo>
                    <a:pt x="2415073" y="778211"/>
                    <a:pt x="2791666" y="849928"/>
                    <a:pt x="3146913" y="982682"/>
                  </a:cubicBezTo>
                  <a:cubicBezTo>
                    <a:pt x="3686645" y="1182957"/>
                    <a:pt x="4224662" y="1410698"/>
                    <a:pt x="4752602" y="1642730"/>
                  </a:cubicBezTo>
                  <a:lnTo>
                    <a:pt x="5174196" y="1829780"/>
                  </a:lnTo>
                  <a:lnTo>
                    <a:pt x="5174196" y="1848116"/>
                  </a:lnTo>
                  <a:lnTo>
                    <a:pt x="4751244" y="1660564"/>
                  </a:lnTo>
                  <a:cubicBezTo>
                    <a:pt x="4221803" y="1427673"/>
                    <a:pt x="3682071" y="1198216"/>
                    <a:pt x="3142339" y="997941"/>
                  </a:cubicBezTo>
                  <a:cubicBezTo>
                    <a:pt x="2787092" y="865187"/>
                    <a:pt x="2410499" y="793470"/>
                    <a:pt x="2047628" y="724804"/>
                  </a:cubicBezTo>
                  <a:cubicBezTo>
                    <a:pt x="1635968" y="645457"/>
                    <a:pt x="1209061" y="563058"/>
                    <a:pt x="811123" y="393683"/>
                  </a:cubicBezTo>
                  <a:cubicBezTo>
                    <a:pt x="535158" y="276189"/>
                    <a:pt x="265292" y="141909"/>
                    <a:pt x="0" y="0"/>
                  </a:cubicBezTo>
                  <a:close/>
                </a:path>
              </a:pathLst>
            </a:custGeom>
            <a:solidFill>
              <a:srgbClr val="BFC1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98" name="Freeform: Shape 97"/>
            <p:cNvSpPr>
              <a:spLocks/>
            </p:cNvSpPr>
            <p:nvPr userDrawn="1"/>
          </p:nvSpPr>
          <p:spPr bwMode="auto">
            <a:xfrm>
              <a:off x="7431084" y="1"/>
              <a:ext cx="4762117" cy="1646199"/>
            </a:xfrm>
            <a:custGeom>
              <a:avLst/>
              <a:gdLst>
                <a:gd name="connsiteX0" fmla="*/ 0 w 4762117"/>
                <a:gd name="connsiteY0" fmla="*/ 0 h 1646199"/>
                <a:gd name="connsiteX1" fmla="*/ 38126 w 4762117"/>
                <a:gd name="connsiteY1" fmla="*/ 0 h 1646199"/>
                <a:gd name="connsiteX2" fmla="*/ 465129 w 4762117"/>
                <a:gd name="connsiteY2" fmla="*/ 195245 h 1646199"/>
                <a:gd name="connsiteX3" fmla="*/ 1711065 w 4762117"/>
                <a:gd name="connsiteY3" fmla="*/ 533873 h 1646199"/>
                <a:gd name="connsiteX4" fmla="*/ 2807549 w 4762117"/>
                <a:gd name="connsiteY4" fmla="*/ 813012 h 1646199"/>
                <a:gd name="connsiteX5" fmla="*/ 4357844 w 4762117"/>
                <a:gd name="connsiteY5" fmla="*/ 1449012 h 1646199"/>
                <a:gd name="connsiteX6" fmla="*/ 4762117 w 4762117"/>
                <a:gd name="connsiteY6" fmla="*/ 1627882 h 1646199"/>
                <a:gd name="connsiteX7" fmla="*/ 4762117 w 4762117"/>
                <a:gd name="connsiteY7" fmla="*/ 1646199 h 1646199"/>
                <a:gd name="connsiteX8" fmla="*/ 4356677 w 4762117"/>
                <a:gd name="connsiteY8" fmla="*/ 1466863 h 1646199"/>
                <a:gd name="connsiteX9" fmla="*/ 2801449 w 4762117"/>
                <a:gd name="connsiteY9" fmla="*/ 829791 h 1646199"/>
                <a:gd name="connsiteX10" fmla="*/ 1706490 w 4762117"/>
                <a:gd name="connsiteY10" fmla="*/ 550652 h 1646199"/>
                <a:gd name="connsiteX11" fmla="*/ 457504 w 4762117"/>
                <a:gd name="connsiteY11" fmla="*/ 210499 h 1646199"/>
                <a:gd name="connsiteX12" fmla="*/ 0 w 4762117"/>
                <a:gd name="connsiteY12" fmla="*/ 0 h 1646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762117" h="1646199">
                  <a:moveTo>
                    <a:pt x="0" y="0"/>
                  </a:moveTo>
                  <a:cubicBezTo>
                    <a:pt x="0" y="0"/>
                    <a:pt x="0" y="0"/>
                    <a:pt x="38126" y="0"/>
                  </a:cubicBezTo>
                  <a:cubicBezTo>
                    <a:pt x="178427" y="68641"/>
                    <a:pt x="320253" y="134231"/>
                    <a:pt x="465129" y="195245"/>
                  </a:cubicBezTo>
                  <a:cubicBezTo>
                    <a:pt x="866208" y="366084"/>
                    <a:pt x="1294736" y="451504"/>
                    <a:pt x="1711065" y="533873"/>
                  </a:cubicBezTo>
                  <a:cubicBezTo>
                    <a:pt x="2074018" y="607090"/>
                    <a:pt x="2450696" y="681832"/>
                    <a:pt x="2807549" y="813012"/>
                  </a:cubicBezTo>
                  <a:cubicBezTo>
                    <a:pt x="3327960" y="1006350"/>
                    <a:pt x="3847513" y="1225429"/>
                    <a:pt x="4357844" y="1449012"/>
                  </a:cubicBezTo>
                  <a:lnTo>
                    <a:pt x="4762117" y="1627882"/>
                  </a:lnTo>
                  <a:lnTo>
                    <a:pt x="4762117" y="1646199"/>
                  </a:lnTo>
                  <a:lnTo>
                    <a:pt x="4356677" y="1466863"/>
                  </a:lnTo>
                  <a:cubicBezTo>
                    <a:pt x="3845130" y="1242494"/>
                    <a:pt x="3324147" y="1021985"/>
                    <a:pt x="2801449" y="829791"/>
                  </a:cubicBezTo>
                  <a:cubicBezTo>
                    <a:pt x="2446121" y="697085"/>
                    <a:pt x="2070968" y="622343"/>
                    <a:pt x="1706490" y="550652"/>
                  </a:cubicBezTo>
                  <a:cubicBezTo>
                    <a:pt x="1290161" y="468283"/>
                    <a:pt x="860108" y="381338"/>
                    <a:pt x="457504" y="210499"/>
                  </a:cubicBezTo>
                  <a:cubicBezTo>
                    <a:pt x="303478" y="144908"/>
                    <a:pt x="150977" y="74742"/>
                    <a:pt x="0" y="0"/>
                  </a:cubicBezTo>
                  <a:close/>
                </a:path>
              </a:pathLst>
            </a:custGeom>
            <a:solidFill>
              <a:srgbClr val="BFC1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96" name="Freeform: Shape 95"/>
            <p:cNvSpPr>
              <a:spLocks/>
            </p:cNvSpPr>
            <p:nvPr userDrawn="1"/>
          </p:nvSpPr>
          <p:spPr bwMode="auto">
            <a:xfrm>
              <a:off x="7897682" y="0"/>
              <a:ext cx="4295519" cy="1446479"/>
            </a:xfrm>
            <a:custGeom>
              <a:avLst/>
              <a:gdLst>
                <a:gd name="connsiteX0" fmla="*/ 0 w 4295519"/>
                <a:gd name="connsiteY0" fmla="*/ 0 h 1446479"/>
                <a:gd name="connsiteX1" fmla="*/ 42701 w 4295519"/>
                <a:gd name="connsiteY1" fmla="*/ 0 h 1446479"/>
                <a:gd name="connsiteX2" fmla="*/ 50326 w 4295519"/>
                <a:gd name="connsiteY2" fmla="*/ 3053 h 1446479"/>
                <a:gd name="connsiteX3" fmla="*/ 1310004 w 4295519"/>
                <a:gd name="connsiteY3" fmla="*/ 355626 h 1446479"/>
                <a:gd name="connsiteX4" fmla="*/ 2414128 w 4295519"/>
                <a:gd name="connsiteY4" fmla="*/ 645621 h 1446479"/>
                <a:gd name="connsiteX5" fmla="*/ 3908684 w 4295519"/>
                <a:gd name="connsiteY5" fmla="*/ 1256685 h 1446479"/>
                <a:gd name="connsiteX6" fmla="*/ 4295519 w 4295519"/>
                <a:gd name="connsiteY6" fmla="*/ 1427524 h 1446479"/>
                <a:gd name="connsiteX7" fmla="*/ 4295519 w 4295519"/>
                <a:gd name="connsiteY7" fmla="*/ 1446479 h 1446479"/>
                <a:gd name="connsiteX8" fmla="*/ 3410546 w 4295519"/>
                <a:gd name="connsiteY8" fmla="*/ 1061153 h 1446479"/>
                <a:gd name="connsiteX9" fmla="*/ 2408027 w 4295519"/>
                <a:gd name="connsiteY9" fmla="*/ 660884 h 1446479"/>
                <a:gd name="connsiteX10" fmla="*/ 1306953 w 4295519"/>
                <a:gd name="connsiteY10" fmla="*/ 372415 h 1446479"/>
                <a:gd name="connsiteX11" fmla="*/ 44226 w 4295519"/>
                <a:gd name="connsiteY11" fmla="*/ 18316 h 1446479"/>
                <a:gd name="connsiteX12" fmla="*/ 0 w 4295519"/>
                <a:gd name="connsiteY12" fmla="*/ 0 h 1446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95519" h="1446479">
                  <a:moveTo>
                    <a:pt x="0" y="0"/>
                  </a:moveTo>
                  <a:cubicBezTo>
                    <a:pt x="0" y="0"/>
                    <a:pt x="0" y="0"/>
                    <a:pt x="42701" y="0"/>
                  </a:cubicBezTo>
                  <a:cubicBezTo>
                    <a:pt x="45751" y="1526"/>
                    <a:pt x="47276" y="1526"/>
                    <a:pt x="50326" y="3053"/>
                  </a:cubicBezTo>
                  <a:cubicBezTo>
                    <a:pt x="455985" y="175523"/>
                    <a:pt x="890619" y="267101"/>
                    <a:pt x="1310004" y="355626"/>
                  </a:cubicBezTo>
                  <a:cubicBezTo>
                    <a:pt x="1676012" y="431940"/>
                    <a:pt x="2055745" y="512833"/>
                    <a:pt x="2414128" y="645621"/>
                  </a:cubicBezTo>
                  <a:cubicBezTo>
                    <a:pt x="2915101" y="831065"/>
                    <a:pt x="3416075" y="1041407"/>
                    <a:pt x="3908684" y="1256685"/>
                  </a:cubicBezTo>
                  <a:lnTo>
                    <a:pt x="4295519" y="1427524"/>
                  </a:lnTo>
                  <a:lnTo>
                    <a:pt x="4295519" y="1446479"/>
                  </a:lnTo>
                  <a:lnTo>
                    <a:pt x="3410546" y="1061153"/>
                  </a:lnTo>
                  <a:cubicBezTo>
                    <a:pt x="3078280" y="920734"/>
                    <a:pt x="2743535" y="785276"/>
                    <a:pt x="2408027" y="660884"/>
                  </a:cubicBezTo>
                  <a:cubicBezTo>
                    <a:pt x="2049645" y="528096"/>
                    <a:pt x="1672961" y="448729"/>
                    <a:pt x="1306953" y="372415"/>
                  </a:cubicBezTo>
                  <a:cubicBezTo>
                    <a:pt x="886044" y="283890"/>
                    <a:pt x="451410" y="192313"/>
                    <a:pt x="44226" y="18316"/>
                  </a:cubicBezTo>
                  <a:cubicBezTo>
                    <a:pt x="28976" y="12210"/>
                    <a:pt x="15251" y="6105"/>
                    <a:pt x="0" y="0"/>
                  </a:cubicBezTo>
                  <a:close/>
                </a:path>
              </a:pathLst>
            </a:custGeom>
            <a:solidFill>
              <a:srgbClr val="BEC0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94" name="Freeform: Shape 93"/>
            <p:cNvSpPr>
              <a:spLocks/>
            </p:cNvSpPr>
            <p:nvPr userDrawn="1"/>
          </p:nvSpPr>
          <p:spPr bwMode="auto">
            <a:xfrm>
              <a:off x="8503776" y="1"/>
              <a:ext cx="3689425" cy="1246175"/>
            </a:xfrm>
            <a:custGeom>
              <a:avLst/>
              <a:gdLst>
                <a:gd name="connsiteX0" fmla="*/ 0 w 3689425"/>
                <a:gd name="connsiteY0" fmla="*/ 0 h 1246175"/>
                <a:gd name="connsiteX1" fmla="*/ 62516 w 3689425"/>
                <a:gd name="connsiteY1" fmla="*/ 0 h 1246175"/>
                <a:gd name="connsiteX2" fmla="*/ 766959 w 3689425"/>
                <a:gd name="connsiteY2" fmla="*/ 172406 h 1246175"/>
                <a:gd name="connsiteX3" fmla="*/ 1880040 w 3689425"/>
                <a:gd name="connsiteY3" fmla="*/ 476024 h 1246175"/>
                <a:gd name="connsiteX4" fmla="*/ 2842931 w 3689425"/>
                <a:gd name="connsiteY4" fmla="*/ 859933 h 1246175"/>
                <a:gd name="connsiteX5" fmla="*/ 3689425 w 3689425"/>
                <a:gd name="connsiteY5" fmla="*/ 1227826 h 1246175"/>
                <a:gd name="connsiteX6" fmla="*/ 3689425 w 3689425"/>
                <a:gd name="connsiteY6" fmla="*/ 1246175 h 1246175"/>
                <a:gd name="connsiteX7" fmla="*/ 2839882 w 3689425"/>
                <a:gd name="connsiteY7" fmla="*/ 877288 h 1246175"/>
                <a:gd name="connsiteX8" fmla="*/ 1873941 w 3689425"/>
                <a:gd name="connsiteY8" fmla="*/ 491282 h 1246175"/>
                <a:gd name="connsiteX9" fmla="*/ 763909 w 3689425"/>
                <a:gd name="connsiteY9" fmla="*/ 189189 h 1246175"/>
                <a:gd name="connsiteX10" fmla="*/ 0 w 3689425"/>
                <a:gd name="connsiteY10" fmla="*/ 0 h 1246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689425" h="1246175">
                  <a:moveTo>
                    <a:pt x="0" y="0"/>
                  </a:moveTo>
                  <a:cubicBezTo>
                    <a:pt x="0" y="0"/>
                    <a:pt x="0" y="0"/>
                    <a:pt x="62516" y="0"/>
                  </a:cubicBezTo>
                  <a:cubicBezTo>
                    <a:pt x="297330" y="65606"/>
                    <a:pt x="533669" y="119006"/>
                    <a:pt x="766959" y="172406"/>
                  </a:cubicBezTo>
                  <a:cubicBezTo>
                    <a:pt x="1135953" y="254795"/>
                    <a:pt x="1518670" y="340235"/>
                    <a:pt x="1880040" y="476024"/>
                  </a:cubicBezTo>
                  <a:cubicBezTo>
                    <a:pt x="2201766" y="595793"/>
                    <a:pt x="2523492" y="725479"/>
                    <a:pt x="2842931" y="859933"/>
                  </a:cubicBezTo>
                  <a:lnTo>
                    <a:pt x="3689425" y="1227826"/>
                  </a:lnTo>
                  <a:lnTo>
                    <a:pt x="3689425" y="1246175"/>
                  </a:lnTo>
                  <a:lnTo>
                    <a:pt x="2839882" y="877288"/>
                  </a:lnTo>
                  <a:cubicBezTo>
                    <a:pt x="2519681" y="742262"/>
                    <a:pt x="2197192" y="611813"/>
                    <a:pt x="1873941" y="491282"/>
                  </a:cubicBezTo>
                  <a:cubicBezTo>
                    <a:pt x="1512571" y="357018"/>
                    <a:pt x="1131379" y="271578"/>
                    <a:pt x="763909" y="189189"/>
                  </a:cubicBezTo>
                  <a:cubicBezTo>
                    <a:pt x="510798" y="131212"/>
                    <a:pt x="253112" y="73235"/>
                    <a:pt x="0" y="0"/>
                  </a:cubicBezTo>
                  <a:close/>
                </a:path>
              </a:pathLst>
            </a:custGeom>
            <a:solidFill>
              <a:srgbClr val="BEC0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92" name="Freeform: Shape 91"/>
            <p:cNvSpPr>
              <a:spLocks/>
            </p:cNvSpPr>
            <p:nvPr userDrawn="1"/>
          </p:nvSpPr>
          <p:spPr bwMode="auto">
            <a:xfrm>
              <a:off x="9318316" y="0"/>
              <a:ext cx="2874885" cy="1047517"/>
            </a:xfrm>
            <a:custGeom>
              <a:avLst/>
              <a:gdLst>
                <a:gd name="connsiteX0" fmla="*/ 0 w 2874885"/>
                <a:gd name="connsiteY0" fmla="*/ 0 h 1047517"/>
                <a:gd name="connsiteX1" fmla="*/ 74706 w 2874885"/>
                <a:gd name="connsiteY1" fmla="*/ 0 h 1047517"/>
                <a:gd name="connsiteX2" fmla="*/ 1137358 w 2874885"/>
                <a:gd name="connsiteY2" fmla="*/ 306963 h 1047517"/>
                <a:gd name="connsiteX3" fmla="*/ 2063176 w 2874885"/>
                <a:gd name="connsiteY3" fmla="*/ 677113 h 1047517"/>
                <a:gd name="connsiteX4" fmla="*/ 2874885 w 2874885"/>
                <a:gd name="connsiteY4" fmla="*/ 1029085 h 1047517"/>
                <a:gd name="connsiteX5" fmla="*/ 2874885 w 2874885"/>
                <a:gd name="connsiteY5" fmla="*/ 1047517 h 1047517"/>
                <a:gd name="connsiteX6" fmla="*/ 2060127 w 2874885"/>
                <a:gd name="connsiteY6" fmla="*/ 695057 h 1047517"/>
                <a:gd name="connsiteX7" fmla="*/ 1131259 w 2874885"/>
                <a:gd name="connsiteY7" fmla="*/ 322235 h 1047517"/>
                <a:gd name="connsiteX8" fmla="*/ 7623 w 2874885"/>
                <a:gd name="connsiteY8" fmla="*/ 1527 h 1047517"/>
                <a:gd name="connsiteX9" fmla="*/ 0 w 2874885"/>
                <a:gd name="connsiteY9" fmla="*/ 0 h 1047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74885" h="1047517">
                  <a:moveTo>
                    <a:pt x="0" y="0"/>
                  </a:moveTo>
                  <a:cubicBezTo>
                    <a:pt x="0" y="0"/>
                    <a:pt x="0" y="0"/>
                    <a:pt x="74706" y="0"/>
                  </a:cubicBezTo>
                  <a:cubicBezTo>
                    <a:pt x="428415" y="85522"/>
                    <a:pt x="791272" y="175626"/>
                    <a:pt x="1137358" y="306963"/>
                  </a:cubicBezTo>
                  <a:cubicBezTo>
                    <a:pt x="1446854" y="423029"/>
                    <a:pt x="1755968" y="547876"/>
                    <a:pt x="2063176" y="677113"/>
                  </a:cubicBezTo>
                  <a:lnTo>
                    <a:pt x="2874885" y="1029085"/>
                  </a:lnTo>
                  <a:lnTo>
                    <a:pt x="2874885" y="1047517"/>
                  </a:lnTo>
                  <a:lnTo>
                    <a:pt x="2060127" y="695057"/>
                  </a:lnTo>
                  <a:cubicBezTo>
                    <a:pt x="1751775" y="565438"/>
                    <a:pt x="1441517" y="439828"/>
                    <a:pt x="1131259" y="322235"/>
                  </a:cubicBezTo>
                  <a:cubicBezTo>
                    <a:pt x="765353" y="184789"/>
                    <a:pt x="379627" y="91631"/>
                    <a:pt x="7623" y="1527"/>
                  </a:cubicBezTo>
                  <a:cubicBezTo>
                    <a:pt x="4574" y="1527"/>
                    <a:pt x="3049" y="0"/>
                    <a:pt x="0" y="0"/>
                  </a:cubicBezTo>
                  <a:close/>
                </a:path>
              </a:pathLst>
            </a:custGeom>
            <a:solidFill>
              <a:srgbClr val="BDBF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88" name="Freeform: Shape 87"/>
            <p:cNvSpPr>
              <a:spLocks/>
            </p:cNvSpPr>
            <p:nvPr userDrawn="1"/>
          </p:nvSpPr>
          <p:spPr bwMode="auto">
            <a:xfrm>
              <a:off x="10070322" y="1"/>
              <a:ext cx="2122879" cy="848745"/>
            </a:xfrm>
            <a:custGeom>
              <a:avLst/>
              <a:gdLst>
                <a:gd name="connsiteX0" fmla="*/ 0 w 2122879"/>
                <a:gd name="connsiteY0" fmla="*/ 0 h 848745"/>
                <a:gd name="connsiteX1" fmla="*/ 59450 w 2122879"/>
                <a:gd name="connsiteY1" fmla="*/ 0 h 848745"/>
                <a:gd name="connsiteX2" fmla="*/ 457306 w 2122879"/>
                <a:gd name="connsiteY2" fmla="*/ 135875 h 848745"/>
                <a:gd name="connsiteX3" fmla="*/ 1346575 w 2122879"/>
                <a:gd name="connsiteY3" fmla="*/ 494263 h 848745"/>
                <a:gd name="connsiteX4" fmla="*/ 2122879 w 2122879"/>
                <a:gd name="connsiteY4" fmla="*/ 828990 h 848745"/>
                <a:gd name="connsiteX5" fmla="*/ 2122879 w 2122879"/>
                <a:gd name="connsiteY5" fmla="*/ 848745 h 848745"/>
                <a:gd name="connsiteX6" fmla="*/ 1343526 w 2122879"/>
                <a:gd name="connsiteY6" fmla="*/ 512010 h 848745"/>
                <a:gd name="connsiteX7" fmla="*/ 451208 w 2122879"/>
                <a:gd name="connsiteY7" fmla="*/ 152668 h 848745"/>
                <a:gd name="connsiteX8" fmla="*/ 0 w 2122879"/>
                <a:gd name="connsiteY8" fmla="*/ 0 h 848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22879" h="848745">
                  <a:moveTo>
                    <a:pt x="0" y="0"/>
                  </a:moveTo>
                  <a:cubicBezTo>
                    <a:pt x="0" y="0"/>
                    <a:pt x="0" y="0"/>
                    <a:pt x="59450" y="0"/>
                  </a:cubicBezTo>
                  <a:cubicBezTo>
                    <a:pt x="193593" y="41220"/>
                    <a:pt x="327736" y="85494"/>
                    <a:pt x="457306" y="135875"/>
                  </a:cubicBezTo>
                  <a:cubicBezTo>
                    <a:pt x="754555" y="249612"/>
                    <a:pt x="1051422" y="370220"/>
                    <a:pt x="1346575" y="494263"/>
                  </a:cubicBezTo>
                  <a:lnTo>
                    <a:pt x="2122879" y="828990"/>
                  </a:lnTo>
                  <a:lnTo>
                    <a:pt x="2122879" y="848745"/>
                  </a:lnTo>
                  <a:lnTo>
                    <a:pt x="1343526" y="512010"/>
                  </a:lnTo>
                  <a:cubicBezTo>
                    <a:pt x="1047230" y="387395"/>
                    <a:pt x="749219" y="266406"/>
                    <a:pt x="451208" y="152668"/>
                  </a:cubicBezTo>
                  <a:cubicBezTo>
                    <a:pt x="303346" y="96181"/>
                    <a:pt x="152435" y="45800"/>
                    <a:pt x="0" y="0"/>
                  </a:cubicBezTo>
                  <a:close/>
                </a:path>
              </a:pathLst>
            </a:custGeom>
            <a:solidFill>
              <a:srgbClr val="BDBF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90" name="Freeform: Shape 89"/>
            <p:cNvSpPr>
              <a:spLocks/>
            </p:cNvSpPr>
            <p:nvPr userDrawn="1"/>
          </p:nvSpPr>
          <p:spPr bwMode="auto">
            <a:xfrm>
              <a:off x="10636331" y="0"/>
              <a:ext cx="1556869" cy="650052"/>
            </a:xfrm>
            <a:custGeom>
              <a:avLst/>
              <a:gdLst>
                <a:gd name="connsiteX0" fmla="*/ 0 w 1556869"/>
                <a:gd name="connsiteY0" fmla="*/ 0 h 650052"/>
                <a:gd name="connsiteX1" fmla="*/ 48810 w 1556869"/>
                <a:gd name="connsiteY1" fmla="*/ 0 h 650052"/>
                <a:gd name="connsiteX2" fmla="*/ 858181 w 1556869"/>
                <a:gd name="connsiteY2" fmla="*/ 329785 h 650052"/>
                <a:gd name="connsiteX3" fmla="*/ 1556869 w 1556869"/>
                <a:gd name="connsiteY3" fmla="*/ 630286 h 650052"/>
                <a:gd name="connsiteX4" fmla="*/ 1556869 w 1556869"/>
                <a:gd name="connsiteY4" fmla="*/ 650052 h 650052"/>
                <a:gd name="connsiteX5" fmla="*/ 833776 w 1556869"/>
                <a:gd name="connsiteY5" fmla="*/ 338558 h 650052"/>
                <a:gd name="connsiteX6" fmla="*/ 0 w 1556869"/>
                <a:gd name="connsiteY6" fmla="*/ 0 h 650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56869" h="650052">
                  <a:moveTo>
                    <a:pt x="0" y="0"/>
                  </a:moveTo>
                  <a:cubicBezTo>
                    <a:pt x="0" y="0"/>
                    <a:pt x="0" y="0"/>
                    <a:pt x="48810" y="0"/>
                  </a:cubicBezTo>
                  <a:cubicBezTo>
                    <a:pt x="318791" y="106050"/>
                    <a:pt x="589154" y="216677"/>
                    <a:pt x="858181" y="329785"/>
                  </a:cubicBezTo>
                  <a:lnTo>
                    <a:pt x="1556869" y="630286"/>
                  </a:lnTo>
                  <a:lnTo>
                    <a:pt x="1556869" y="650052"/>
                  </a:lnTo>
                  <a:lnTo>
                    <a:pt x="833776" y="338558"/>
                  </a:lnTo>
                  <a:cubicBezTo>
                    <a:pt x="556741" y="222018"/>
                    <a:pt x="278371" y="108339"/>
                    <a:pt x="0" y="0"/>
                  </a:cubicBezTo>
                  <a:close/>
                </a:path>
              </a:pathLst>
            </a:custGeom>
            <a:solidFill>
              <a:srgbClr val="BCBE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86" name="Freeform: Shape 85"/>
            <p:cNvSpPr>
              <a:spLocks/>
            </p:cNvSpPr>
            <p:nvPr userDrawn="1"/>
          </p:nvSpPr>
          <p:spPr bwMode="auto">
            <a:xfrm>
              <a:off x="11128582" y="1"/>
              <a:ext cx="1064618" cy="451877"/>
            </a:xfrm>
            <a:custGeom>
              <a:avLst/>
              <a:gdLst>
                <a:gd name="connsiteX0" fmla="*/ 0 w 1064618"/>
                <a:gd name="connsiteY0" fmla="*/ 0 h 451877"/>
                <a:gd name="connsiteX1" fmla="*/ 47302 w 1064618"/>
                <a:gd name="connsiteY1" fmla="*/ 0 h 451877"/>
                <a:gd name="connsiteX2" fmla="*/ 609587 w 1064618"/>
                <a:gd name="connsiteY2" fmla="*/ 234961 h 451877"/>
                <a:gd name="connsiteX3" fmla="*/ 1064618 w 1064618"/>
                <a:gd name="connsiteY3" fmla="*/ 431330 h 451877"/>
                <a:gd name="connsiteX4" fmla="*/ 1064618 w 1064618"/>
                <a:gd name="connsiteY4" fmla="*/ 451877 h 451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4618" h="451877">
                  <a:moveTo>
                    <a:pt x="0" y="0"/>
                  </a:moveTo>
                  <a:cubicBezTo>
                    <a:pt x="0" y="0"/>
                    <a:pt x="0" y="0"/>
                    <a:pt x="47302" y="0"/>
                  </a:cubicBezTo>
                  <a:cubicBezTo>
                    <a:pt x="234985" y="76987"/>
                    <a:pt x="422667" y="155498"/>
                    <a:pt x="609587" y="234961"/>
                  </a:cubicBezTo>
                  <a:lnTo>
                    <a:pt x="1064618" y="431330"/>
                  </a:lnTo>
                  <a:lnTo>
                    <a:pt x="1064618" y="451877"/>
                  </a:lnTo>
                  <a:close/>
                </a:path>
              </a:pathLst>
            </a:custGeom>
            <a:solidFill>
              <a:srgbClr val="BCBE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81" name="Freeform: Shape 80"/>
            <p:cNvSpPr>
              <a:spLocks/>
            </p:cNvSpPr>
            <p:nvPr userDrawn="1"/>
          </p:nvSpPr>
          <p:spPr bwMode="auto">
            <a:xfrm>
              <a:off x="11599989" y="0"/>
              <a:ext cx="593211" cy="254233"/>
            </a:xfrm>
            <a:custGeom>
              <a:avLst/>
              <a:gdLst>
                <a:gd name="connsiteX0" fmla="*/ 0 w 593211"/>
                <a:gd name="connsiteY0" fmla="*/ 0 h 254233"/>
                <a:gd name="connsiteX1" fmla="*/ 47308 w 593211"/>
                <a:gd name="connsiteY1" fmla="*/ 0 h 254233"/>
                <a:gd name="connsiteX2" fmla="*/ 593211 w 593211"/>
                <a:gd name="connsiteY2" fmla="*/ 234288 h 254233"/>
                <a:gd name="connsiteX3" fmla="*/ 593211 w 593211"/>
                <a:gd name="connsiteY3" fmla="*/ 254233 h 254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3211" h="254233">
                  <a:moveTo>
                    <a:pt x="0" y="0"/>
                  </a:moveTo>
                  <a:cubicBezTo>
                    <a:pt x="0" y="0"/>
                    <a:pt x="0" y="0"/>
                    <a:pt x="47308" y="0"/>
                  </a:cubicBezTo>
                  <a:lnTo>
                    <a:pt x="593211" y="234288"/>
                  </a:lnTo>
                  <a:lnTo>
                    <a:pt x="593211" y="254233"/>
                  </a:lnTo>
                  <a:close/>
                </a:path>
              </a:pathLst>
            </a:custGeom>
            <a:solidFill>
              <a:srgbClr val="BBBD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83" name="Freeform: Shape 82"/>
            <p:cNvSpPr>
              <a:spLocks/>
            </p:cNvSpPr>
            <p:nvPr userDrawn="1"/>
          </p:nvSpPr>
          <p:spPr bwMode="auto">
            <a:xfrm>
              <a:off x="12063380" y="0"/>
              <a:ext cx="129821" cy="55510"/>
            </a:xfrm>
            <a:custGeom>
              <a:avLst/>
              <a:gdLst>
                <a:gd name="connsiteX0" fmla="*/ 0 w 129821"/>
                <a:gd name="connsiteY0" fmla="*/ 0 h 55510"/>
                <a:gd name="connsiteX1" fmla="*/ 47417 w 129821"/>
                <a:gd name="connsiteY1" fmla="*/ 0 h 55510"/>
                <a:gd name="connsiteX2" fmla="*/ 129821 w 129821"/>
                <a:gd name="connsiteY2" fmla="*/ 35410 h 55510"/>
                <a:gd name="connsiteX3" fmla="*/ 129821 w 129821"/>
                <a:gd name="connsiteY3" fmla="*/ 55510 h 55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821" h="55510">
                  <a:moveTo>
                    <a:pt x="0" y="0"/>
                  </a:moveTo>
                  <a:cubicBezTo>
                    <a:pt x="0" y="0"/>
                    <a:pt x="0" y="0"/>
                    <a:pt x="47417" y="0"/>
                  </a:cubicBezTo>
                  <a:lnTo>
                    <a:pt x="129821" y="35410"/>
                  </a:lnTo>
                  <a:lnTo>
                    <a:pt x="129821" y="55510"/>
                  </a:lnTo>
                  <a:close/>
                </a:path>
              </a:pathLst>
            </a:custGeom>
            <a:solidFill>
              <a:srgbClr val="BBBD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30" name="Freeform 19"/>
            <p:cNvSpPr>
              <a:spLocks/>
            </p:cNvSpPr>
            <p:nvPr userDrawn="1"/>
          </p:nvSpPr>
          <p:spPr bwMode="auto">
            <a:xfrm>
              <a:off x="-792" y="6070568"/>
              <a:ext cx="218066" cy="91396"/>
            </a:xfrm>
            <a:custGeom>
              <a:avLst/>
              <a:gdLst>
                <a:gd name="T0" fmla="*/ 0 w 143"/>
                <a:gd name="T1" fmla="*/ 0 h 60"/>
                <a:gd name="T2" fmla="*/ 0 w 143"/>
                <a:gd name="T3" fmla="*/ 2 h 60"/>
                <a:gd name="T4" fmla="*/ 138 w 143"/>
                <a:gd name="T5" fmla="*/ 60 h 60"/>
                <a:gd name="T6" fmla="*/ 143 w 143"/>
                <a:gd name="T7" fmla="*/ 59 h 60"/>
                <a:gd name="T8" fmla="*/ 0 w 143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60">
                  <a:moveTo>
                    <a:pt x="0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46" y="22"/>
                    <a:pt x="92" y="41"/>
                    <a:pt x="138" y="60"/>
                  </a:cubicBezTo>
                  <a:cubicBezTo>
                    <a:pt x="143" y="59"/>
                    <a:pt x="143" y="59"/>
                    <a:pt x="143" y="59"/>
                  </a:cubicBezTo>
                  <a:cubicBezTo>
                    <a:pt x="95" y="40"/>
                    <a:pt x="48" y="20"/>
                    <a:pt x="0" y="0"/>
                  </a:cubicBezTo>
                  <a:close/>
                </a:path>
              </a:pathLst>
            </a:custGeom>
            <a:solidFill>
              <a:srgbClr val="D6D8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1" name="Freeform 20"/>
            <p:cNvSpPr>
              <a:spLocks/>
            </p:cNvSpPr>
            <p:nvPr userDrawn="1"/>
          </p:nvSpPr>
          <p:spPr bwMode="auto">
            <a:xfrm>
              <a:off x="-792" y="5838072"/>
              <a:ext cx="582044" cy="259755"/>
            </a:xfrm>
            <a:custGeom>
              <a:avLst/>
              <a:gdLst>
                <a:gd name="T0" fmla="*/ 77 w 381"/>
                <a:gd name="T1" fmla="*/ 35 h 170"/>
                <a:gd name="T2" fmla="*/ 0 w 381"/>
                <a:gd name="T3" fmla="*/ 0 h 170"/>
                <a:gd name="T4" fmla="*/ 0 w 381"/>
                <a:gd name="T5" fmla="*/ 3 h 170"/>
                <a:gd name="T6" fmla="*/ 75 w 381"/>
                <a:gd name="T7" fmla="*/ 37 h 170"/>
                <a:gd name="T8" fmla="*/ 376 w 381"/>
                <a:gd name="T9" fmla="*/ 170 h 170"/>
                <a:gd name="T10" fmla="*/ 381 w 381"/>
                <a:gd name="T11" fmla="*/ 170 h 170"/>
                <a:gd name="T12" fmla="*/ 77 w 381"/>
                <a:gd name="T13" fmla="*/ 35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1" h="170">
                  <a:moveTo>
                    <a:pt x="77" y="35"/>
                  </a:moveTo>
                  <a:cubicBezTo>
                    <a:pt x="51" y="23"/>
                    <a:pt x="26" y="12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6" y="14"/>
                    <a:pt x="51" y="26"/>
                    <a:pt x="75" y="37"/>
                  </a:cubicBezTo>
                  <a:cubicBezTo>
                    <a:pt x="174" y="82"/>
                    <a:pt x="274" y="127"/>
                    <a:pt x="376" y="170"/>
                  </a:cubicBezTo>
                  <a:cubicBezTo>
                    <a:pt x="381" y="170"/>
                    <a:pt x="381" y="170"/>
                    <a:pt x="381" y="170"/>
                  </a:cubicBezTo>
                  <a:cubicBezTo>
                    <a:pt x="278" y="126"/>
                    <a:pt x="177" y="80"/>
                    <a:pt x="77" y="35"/>
                  </a:cubicBezTo>
                  <a:close/>
                </a:path>
              </a:pathLst>
            </a:custGeom>
            <a:solidFill>
              <a:srgbClr val="D6D7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2" name="Freeform 21"/>
            <p:cNvSpPr>
              <a:spLocks/>
            </p:cNvSpPr>
            <p:nvPr userDrawn="1"/>
          </p:nvSpPr>
          <p:spPr bwMode="auto">
            <a:xfrm>
              <a:off x="-792" y="5637644"/>
              <a:ext cx="920366" cy="400856"/>
            </a:xfrm>
            <a:custGeom>
              <a:avLst/>
              <a:gdLst>
                <a:gd name="T0" fmla="*/ 116 w 603"/>
                <a:gd name="T1" fmla="*/ 53 h 263"/>
                <a:gd name="T2" fmla="*/ 0 w 603"/>
                <a:gd name="T3" fmla="*/ 0 h 263"/>
                <a:gd name="T4" fmla="*/ 0 w 603"/>
                <a:gd name="T5" fmla="*/ 3 h 263"/>
                <a:gd name="T6" fmla="*/ 115 w 603"/>
                <a:gd name="T7" fmla="*/ 56 h 263"/>
                <a:gd name="T8" fmla="*/ 597 w 603"/>
                <a:gd name="T9" fmla="*/ 263 h 263"/>
                <a:gd name="T10" fmla="*/ 603 w 603"/>
                <a:gd name="T11" fmla="*/ 262 h 263"/>
                <a:gd name="T12" fmla="*/ 116 w 603"/>
                <a:gd name="T13" fmla="*/ 53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3" h="263">
                  <a:moveTo>
                    <a:pt x="116" y="53"/>
                  </a:moveTo>
                  <a:cubicBezTo>
                    <a:pt x="78" y="36"/>
                    <a:pt x="39" y="18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9" y="21"/>
                    <a:pt x="77" y="38"/>
                    <a:pt x="115" y="56"/>
                  </a:cubicBezTo>
                  <a:cubicBezTo>
                    <a:pt x="273" y="128"/>
                    <a:pt x="434" y="202"/>
                    <a:pt x="597" y="263"/>
                  </a:cubicBezTo>
                  <a:cubicBezTo>
                    <a:pt x="603" y="262"/>
                    <a:pt x="603" y="262"/>
                    <a:pt x="603" y="262"/>
                  </a:cubicBezTo>
                  <a:cubicBezTo>
                    <a:pt x="438" y="201"/>
                    <a:pt x="275" y="126"/>
                    <a:pt x="116" y="53"/>
                  </a:cubicBezTo>
                  <a:close/>
                </a:path>
              </a:pathLst>
            </a:custGeom>
            <a:solidFill>
              <a:srgbClr val="D5D7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3" name="Freeform 22"/>
            <p:cNvSpPr>
              <a:spLocks/>
            </p:cNvSpPr>
            <p:nvPr userDrawn="1"/>
          </p:nvSpPr>
          <p:spPr bwMode="auto">
            <a:xfrm>
              <a:off x="-792" y="5435612"/>
              <a:ext cx="1308395" cy="535544"/>
            </a:xfrm>
            <a:custGeom>
              <a:avLst/>
              <a:gdLst>
                <a:gd name="T0" fmla="*/ 158 w 858"/>
                <a:gd name="T1" fmla="*/ 72 h 351"/>
                <a:gd name="T2" fmla="*/ 0 w 858"/>
                <a:gd name="T3" fmla="*/ 0 h 351"/>
                <a:gd name="T4" fmla="*/ 0 w 858"/>
                <a:gd name="T5" fmla="*/ 4 h 351"/>
                <a:gd name="T6" fmla="*/ 157 w 858"/>
                <a:gd name="T7" fmla="*/ 75 h 351"/>
                <a:gd name="T8" fmla="*/ 850 w 858"/>
                <a:gd name="T9" fmla="*/ 351 h 351"/>
                <a:gd name="T10" fmla="*/ 858 w 858"/>
                <a:gd name="T11" fmla="*/ 350 h 351"/>
                <a:gd name="T12" fmla="*/ 158 w 858"/>
                <a:gd name="T13" fmla="*/ 72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8" h="351">
                  <a:moveTo>
                    <a:pt x="158" y="72"/>
                  </a:moveTo>
                  <a:cubicBezTo>
                    <a:pt x="106" y="48"/>
                    <a:pt x="53" y="24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53" y="27"/>
                    <a:pt x="105" y="51"/>
                    <a:pt x="157" y="75"/>
                  </a:cubicBezTo>
                  <a:cubicBezTo>
                    <a:pt x="382" y="179"/>
                    <a:pt x="614" y="287"/>
                    <a:pt x="850" y="351"/>
                  </a:cubicBezTo>
                  <a:cubicBezTo>
                    <a:pt x="858" y="350"/>
                    <a:pt x="858" y="350"/>
                    <a:pt x="858" y="350"/>
                  </a:cubicBezTo>
                  <a:cubicBezTo>
                    <a:pt x="619" y="286"/>
                    <a:pt x="385" y="177"/>
                    <a:pt x="158" y="72"/>
                  </a:cubicBezTo>
                  <a:close/>
                </a:path>
              </a:pathLst>
            </a:custGeom>
            <a:solidFill>
              <a:srgbClr val="D5D6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4" name="Freeform 23"/>
            <p:cNvSpPr>
              <a:spLocks/>
            </p:cNvSpPr>
            <p:nvPr userDrawn="1"/>
          </p:nvSpPr>
          <p:spPr bwMode="auto">
            <a:xfrm>
              <a:off x="-792" y="5233581"/>
              <a:ext cx="1858370" cy="642973"/>
            </a:xfrm>
            <a:custGeom>
              <a:avLst/>
              <a:gdLst>
                <a:gd name="T0" fmla="*/ 944 w 1218"/>
                <a:gd name="T1" fmla="*/ 377 h 421"/>
                <a:gd name="T2" fmla="*/ 201 w 1218"/>
                <a:gd name="T3" fmla="*/ 92 h 421"/>
                <a:gd name="T4" fmla="*/ 0 w 1218"/>
                <a:gd name="T5" fmla="*/ 0 h 421"/>
                <a:gd name="T6" fmla="*/ 0 w 1218"/>
                <a:gd name="T7" fmla="*/ 4 h 421"/>
                <a:gd name="T8" fmla="*/ 199 w 1218"/>
                <a:gd name="T9" fmla="*/ 95 h 421"/>
                <a:gd name="T10" fmla="*/ 943 w 1218"/>
                <a:gd name="T11" fmla="*/ 380 h 421"/>
                <a:gd name="T12" fmla="*/ 1205 w 1218"/>
                <a:gd name="T13" fmla="*/ 421 h 421"/>
                <a:gd name="T14" fmla="*/ 1218 w 1218"/>
                <a:gd name="T15" fmla="*/ 418 h 421"/>
                <a:gd name="T16" fmla="*/ 944 w 1218"/>
                <a:gd name="T17" fmla="*/ 377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18" h="421">
                  <a:moveTo>
                    <a:pt x="944" y="377"/>
                  </a:moveTo>
                  <a:cubicBezTo>
                    <a:pt x="691" y="321"/>
                    <a:pt x="442" y="204"/>
                    <a:pt x="201" y="92"/>
                  </a:cubicBezTo>
                  <a:cubicBezTo>
                    <a:pt x="135" y="61"/>
                    <a:pt x="67" y="3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67" y="33"/>
                    <a:pt x="134" y="65"/>
                    <a:pt x="199" y="95"/>
                  </a:cubicBezTo>
                  <a:cubicBezTo>
                    <a:pt x="441" y="208"/>
                    <a:pt x="690" y="324"/>
                    <a:pt x="943" y="380"/>
                  </a:cubicBezTo>
                  <a:cubicBezTo>
                    <a:pt x="1030" y="399"/>
                    <a:pt x="1117" y="412"/>
                    <a:pt x="1205" y="421"/>
                  </a:cubicBezTo>
                  <a:cubicBezTo>
                    <a:pt x="1218" y="418"/>
                    <a:pt x="1218" y="418"/>
                    <a:pt x="1218" y="418"/>
                  </a:cubicBezTo>
                  <a:cubicBezTo>
                    <a:pt x="1126" y="410"/>
                    <a:pt x="1034" y="397"/>
                    <a:pt x="944" y="377"/>
                  </a:cubicBezTo>
                  <a:close/>
                </a:path>
              </a:pathLst>
            </a:custGeom>
            <a:solidFill>
              <a:srgbClr val="D4D6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5" name="Freeform 24"/>
            <p:cNvSpPr>
              <a:spLocks/>
            </p:cNvSpPr>
            <p:nvPr userDrawn="1"/>
          </p:nvSpPr>
          <p:spPr bwMode="auto">
            <a:xfrm>
              <a:off x="-792" y="5034756"/>
              <a:ext cx="3202040" cy="710317"/>
            </a:xfrm>
            <a:custGeom>
              <a:avLst/>
              <a:gdLst>
                <a:gd name="T0" fmla="*/ 2068 w 2100"/>
                <a:gd name="T1" fmla="*/ 397 h 466"/>
                <a:gd name="T2" fmla="*/ 994 w 2100"/>
                <a:gd name="T3" fmla="*/ 394 h 466"/>
                <a:gd name="T4" fmla="*/ 245 w 2100"/>
                <a:gd name="T5" fmla="*/ 111 h 466"/>
                <a:gd name="T6" fmla="*/ 0 w 2100"/>
                <a:gd name="T7" fmla="*/ 0 h 466"/>
                <a:gd name="T8" fmla="*/ 0 w 2100"/>
                <a:gd name="T9" fmla="*/ 3 h 466"/>
                <a:gd name="T10" fmla="*/ 243 w 2100"/>
                <a:gd name="T11" fmla="*/ 114 h 466"/>
                <a:gd name="T12" fmla="*/ 994 w 2100"/>
                <a:gd name="T13" fmla="*/ 397 h 466"/>
                <a:gd name="T14" fmla="*/ 2059 w 2100"/>
                <a:gd name="T15" fmla="*/ 402 h 466"/>
                <a:gd name="T16" fmla="*/ 2100 w 2100"/>
                <a:gd name="T17" fmla="*/ 394 h 466"/>
                <a:gd name="T18" fmla="*/ 2068 w 2100"/>
                <a:gd name="T19" fmla="*/ 397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00" h="466">
                  <a:moveTo>
                    <a:pt x="2068" y="397"/>
                  </a:moveTo>
                  <a:cubicBezTo>
                    <a:pt x="1712" y="430"/>
                    <a:pt x="1344" y="463"/>
                    <a:pt x="994" y="394"/>
                  </a:cubicBezTo>
                  <a:cubicBezTo>
                    <a:pt x="740" y="343"/>
                    <a:pt x="488" y="225"/>
                    <a:pt x="245" y="111"/>
                  </a:cubicBezTo>
                  <a:cubicBezTo>
                    <a:pt x="164" y="74"/>
                    <a:pt x="81" y="35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81" y="38"/>
                    <a:pt x="163" y="77"/>
                    <a:pt x="243" y="114"/>
                  </a:cubicBezTo>
                  <a:cubicBezTo>
                    <a:pt x="487" y="229"/>
                    <a:pt x="738" y="347"/>
                    <a:pt x="994" y="397"/>
                  </a:cubicBezTo>
                  <a:cubicBezTo>
                    <a:pt x="1340" y="466"/>
                    <a:pt x="1705" y="434"/>
                    <a:pt x="2059" y="402"/>
                  </a:cubicBezTo>
                  <a:cubicBezTo>
                    <a:pt x="2100" y="394"/>
                    <a:pt x="2100" y="394"/>
                    <a:pt x="2100" y="394"/>
                  </a:cubicBezTo>
                  <a:cubicBezTo>
                    <a:pt x="2089" y="395"/>
                    <a:pt x="2078" y="396"/>
                    <a:pt x="2068" y="397"/>
                  </a:cubicBezTo>
                  <a:close/>
                </a:path>
              </a:pathLst>
            </a:custGeom>
            <a:solidFill>
              <a:srgbClr val="D4D5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8" name="Freeform: Shape 77"/>
            <p:cNvSpPr>
              <a:spLocks/>
            </p:cNvSpPr>
            <p:nvPr userDrawn="1"/>
          </p:nvSpPr>
          <p:spPr bwMode="auto">
            <a:xfrm>
              <a:off x="-1" y="29070"/>
              <a:ext cx="10203407" cy="4377143"/>
            </a:xfrm>
            <a:custGeom>
              <a:avLst/>
              <a:gdLst>
                <a:gd name="connsiteX0" fmla="*/ 0 w 10204800"/>
                <a:gd name="connsiteY0" fmla="*/ 0 h 4377740"/>
                <a:gd name="connsiteX1" fmla="*/ 12323 w 10204800"/>
                <a:gd name="connsiteY1" fmla="*/ 5280 h 4377740"/>
                <a:gd name="connsiteX2" fmla="*/ 1762640 w 10204800"/>
                <a:gd name="connsiteY2" fmla="*/ 755145 h 4377740"/>
                <a:gd name="connsiteX3" fmla="*/ 2185053 w 10204800"/>
                <a:gd name="connsiteY3" fmla="*/ 952075 h 4377740"/>
                <a:gd name="connsiteX4" fmla="*/ 3302846 w 10204800"/>
                <a:gd name="connsiteY4" fmla="*/ 1368834 h 4377740"/>
                <a:gd name="connsiteX5" fmla="*/ 4754605 w 10204800"/>
                <a:gd name="connsiteY5" fmla="*/ 1139845 h 4377740"/>
                <a:gd name="connsiteX6" fmla="*/ 5045872 w 10204800"/>
                <a:gd name="connsiteY6" fmla="*/ 1051303 h 4377740"/>
                <a:gd name="connsiteX7" fmla="*/ 5103820 w 10204800"/>
                <a:gd name="connsiteY7" fmla="*/ 1034511 h 4377740"/>
                <a:gd name="connsiteX8" fmla="*/ 6657751 w 10204800"/>
                <a:gd name="connsiteY8" fmla="*/ 930703 h 4377740"/>
                <a:gd name="connsiteX9" fmla="*/ 7763344 w 10204800"/>
                <a:gd name="connsiteY9" fmla="*/ 2187085 h 4377740"/>
                <a:gd name="connsiteX10" fmla="*/ 7827393 w 10204800"/>
                <a:gd name="connsiteY10" fmla="*/ 2300053 h 4377740"/>
                <a:gd name="connsiteX11" fmla="*/ 7960064 w 10204800"/>
                <a:gd name="connsiteY11" fmla="*/ 2535147 h 4377740"/>
                <a:gd name="connsiteX12" fmla="*/ 8937561 w 10204800"/>
                <a:gd name="connsiteY12" fmla="*/ 3800690 h 4377740"/>
                <a:gd name="connsiteX13" fmla="*/ 10005031 w 10204800"/>
                <a:gd name="connsiteY13" fmla="*/ 4296831 h 4377740"/>
                <a:gd name="connsiteX14" fmla="*/ 10204800 w 10204800"/>
                <a:gd name="connsiteY14" fmla="*/ 4373160 h 4377740"/>
                <a:gd name="connsiteX15" fmla="*/ 10181926 w 10204800"/>
                <a:gd name="connsiteY15" fmla="*/ 4377740 h 4377740"/>
                <a:gd name="connsiteX16" fmla="*/ 10000456 w 10204800"/>
                <a:gd name="connsiteY16" fmla="*/ 4307517 h 4377740"/>
                <a:gd name="connsiteX17" fmla="*/ 8931461 w 10204800"/>
                <a:gd name="connsiteY17" fmla="*/ 3809849 h 4377740"/>
                <a:gd name="connsiteX18" fmla="*/ 7949389 w 10204800"/>
                <a:gd name="connsiteY18" fmla="*/ 2541254 h 4377740"/>
                <a:gd name="connsiteX19" fmla="*/ 7816718 w 10204800"/>
                <a:gd name="connsiteY19" fmla="*/ 2306159 h 4377740"/>
                <a:gd name="connsiteX20" fmla="*/ 7752670 w 10204800"/>
                <a:gd name="connsiteY20" fmla="*/ 2193192 h 4377740"/>
                <a:gd name="connsiteX21" fmla="*/ 6653176 w 10204800"/>
                <a:gd name="connsiteY21" fmla="*/ 941389 h 4377740"/>
                <a:gd name="connsiteX22" fmla="*/ 5106870 w 10204800"/>
                <a:gd name="connsiteY22" fmla="*/ 1045197 h 4377740"/>
                <a:gd name="connsiteX23" fmla="*/ 5048921 w 10204800"/>
                <a:gd name="connsiteY23" fmla="*/ 1063516 h 4377740"/>
                <a:gd name="connsiteX24" fmla="*/ 4759180 w 10204800"/>
                <a:gd name="connsiteY24" fmla="*/ 1152058 h 4377740"/>
                <a:gd name="connsiteX25" fmla="*/ 3299796 w 10204800"/>
                <a:gd name="connsiteY25" fmla="*/ 1381046 h 4377740"/>
                <a:gd name="connsiteX26" fmla="*/ 2180478 w 10204800"/>
                <a:gd name="connsiteY26" fmla="*/ 962761 h 4377740"/>
                <a:gd name="connsiteX27" fmla="*/ 1758065 w 10204800"/>
                <a:gd name="connsiteY27" fmla="*/ 765831 h 4377740"/>
                <a:gd name="connsiteX28" fmla="*/ 292956 w 10204800"/>
                <a:gd name="connsiteY28" fmla="*/ 138154 h 4377740"/>
                <a:gd name="connsiteX29" fmla="*/ 0 w 10204800"/>
                <a:gd name="connsiteY29" fmla="*/ 12647 h 4377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204800" h="4377740">
                  <a:moveTo>
                    <a:pt x="0" y="0"/>
                  </a:moveTo>
                  <a:lnTo>
                    <a:pt x="12323" y="5280"/>
                  </a:lnTo>
                  <a:cubicBezTo>
                    <a:pt x="95671" y="40988"/>
                    <a:pt x="429065" y="183819"/>
                    <a:pt x="1762640" y="755145"/>
                  </a:cubicBezTo>
                  <a:cubicBezTo>
                    <a:pt x="1899886" y="813155"/>
                    <a:pt x="2038657" y="880325"/>
                    <a:pt x="2185053" y="952075"/>
                  </a:cubicBezTo>
                  <a:cubicBezTo>
                    <a:pt x="2551042" y="1127633"/>
                    <a:pt x="2929232" y="1310823"/>
                    <a:pt x="3302846" y="1368834"/>
                  </a:cubicBezTo>
                  <a:cubicBezTo>
                    <a:pt x="3784732" y="1443636"/>
                    <a:pt x="4278818" y="1289451"/>
                    <a:pt x="4754605" y="1139845"/>
                  </a:cubicBezTo>
                  <a:cubicBezTo>
                    <a:pt x="4855252" y="1109313"/>
                    <a:pt x="4949799" y="1078782"/>
                    <a:pt x="5045872" y="1051303"/>
                  </a:cubicBezTo>
                  <a:cubicBezTo>
                    <a:pt x="5045872" y="1051303"/>
                    <a:pt x="5045872" y="1051303"/>
                    <a:pt x="5103820" y="1034511"/>
                  </a:cubicBezTo>
                  <a:cubicBezTo>
                    <a:pt x="5602481" y="887958"/>
                    <a:pt x="6169765" y="723087"/>
                    <a:pt x="6657751" y="930703"/>
                  </a:cubicBezTo>
                  <a:cubicBezTo>
                    <a:pt x="7173186" y="1149005"/>
                    <a:pt x="7487327" y="1700103"/>
                    <a:pt x="7763344" y="2187085"/>
                  </a:cubicBezTo>
                  <a:cubicBezTo>
                    <a:pt x="7784694" y="2225250"/>
                    <a:pt x="7806043" y="2263415"/>
                    <a:pt x="7827393" y="2300053"/>
                  </a:cubicBezTo>
                  <a:cubicBezTo>
                    <a:pt x="7871616" y="2376382"/>
                    <a:pt x="7914315" y="2454238"/>
                    <a:pt x="7960064" y="2535147"/>
                  </a:cubicBezTo>
                  <a:cubicBezTo>
                    <a:pt x="8223881" y="3012970"/>
                    <a:pt x="8498373" y="3506058"/>
                    <a:pt x="8937561" y="3800690"/>
                  </a:cubicBezTo>
                  <a:cubicBezTo>
                    <a:pt x="9250177" y="4011359"/>
                    <a:pt x="9632941" y="4156385"/>
                    <a:pt x="10005031" y="4296831"/>
                  </a:cubicBezTo>
                  <a:cubicBezTo>
                    <a:pt x="10072129" y="4322783"/>
                    <a:pt x="10139227" y="4347208"/>
                    <a:pt x="10204800" y="4373160"/>
                  </a:cubicBezTo>
                  <a:cubicBezTo>
                    <a:pt x="10204800" y="4373160"/>
                    <a:pt x="10204800" y="4373160"/>
                    <a:pt x="10181926" y="4377740"/>
                  </a:cubicBezTo>
                  <a:cubicBezTo>
                    <a:pt x="10122452" y="4354841"/>
                    <a:pt x="10061454" y="4331943"/>
                    <a:pt x="10000456" y="4307517"/>
                  </a:cubicBezTo>
                  <a:cubicBezTo>
                    <a:pt x="9628366" y="4167071"/>
                    <a:pt x="9244077" y="4022045"/>
                    <a:pt x="8931461" y="3809849"/>
                  </a:cubicBezTo>
                  <a:cubicBezTo>
                    <a:pt x="8489224" y="3513691"/>
                    <a:pt x="8214732" y="3019076"/>
                    <a:pt x="7949389" y="2541254"/>
                  </a:cubicBezTo>
                  <a:cubicBezTo>
                    <a:pt x="7903641" y="2460345"/>
                    <a:pt x="7860942" y="2382489"/>
                    <a:pt x="7816718" y="2306159"/>
                  </a:cubicBezTo>
                  <a:cubicBezTo>
                    <a:pt x="7795369" y="2269521"/>
                    <a:pt x="7774019" y="2231356"/>
                    <a:pt x="7752670" y="2193192"/>
                  </a:cubicBezTo>
                  <a:cubicBezTo>
                    <a:pt x="7478178" y="1707736"/>
                    <a:pt x="7165561" y="1158164"/>
                    <a:pt x="6653176" y="941389"/>
                  </a:cubicBezTo>
                  <a:cubicBezTo>
                    <a:pt x="6168240" y="735299"/>
                    <a:pt x="5604006" y="900171"/>
                    <a:pt x="5106870" y="1045197"/>
                  </a:cubicBezTo>
                  <a:cubicBezTo>
                    <a:pt x="5106870" y="1045197"/>
                    <a:pt x="5106870" y="1045197"/>
                    <a:pt x="5048921" y="1063516"/>
                  </a:cubicBezTo>
                  <a:cubicBezTo>
                    <a:pt x="4954374" y="1090995"/>
                    <a:pt x="4858302" y="1120000"/>
                    <a:pt x="4759180" y="1152058"/>
                  </a:cubicBezTo>
                  <a:cubicBezTo>
                    <a:pt x="4280343" y="1301664"/>
                    <a:pt x="3786257" y="1455849"/>
                    <a:pt x="3299796" y="1381046"/>
                  </a:cubicBezTo>
                  <a:cubicBezTo>
                    <a:pt x="2926182" y="1323036"/>
                    <a:pt x="2546468" y="1139845"/>
                    <a:pt x="2180478" y="962761"/>
                  </a:cubicBezTo>
                  <a:cubicBezTo>
                    <a:pt x="2032557" y="891011"/>
                    <a:pt x="1895311" y="823841"/>
                    <a:pt x="1758065" y="765831"/>
                  </a:cubicBezTo>
                  <a:cubicBezTo>
                    <a:pt x="1758065" y="765831"/>
                    <a:pt x="1758065" y="765831"/>
                    <a:pt x="292956" y="138154"/>
                  </a:cubicBezTo>
                  <a:lnTo>
                    <a:pt x="0" y="12647"/>
                  </a:lnTo>
                  <a:close/>
                </a:path>
              </a:pathLst>
            </a:custGeom>
            <a:solidFill>
              <a:srgbClr val="C8C9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37" name="Freeform 26"/>
            <p:cNvSpPr>
              <a:spLocks/>
            </p:cNvSpPr>
            <p:nvPr userDrawn="1"/>
          </p:nvSpPr>
          <p:spPr bwMode="auto">
            <a:xfrm>
              <a:off x="366392" y="0"/>
              <a:ext cx="10178543" cy="4345283"/>
            </a:xfrm>
            <a:custGeom>
              <a:avLst/>
              <a:gdLst>
                <a:gd name="T0" fmla="*/ 6673 w 6676"/>
                <a:gd name="T1" fmla="*/ 2843 h 2847"/>
                <a:gd name="T2" fmla="*/ 6368 w 6676"/>
                <a:gd name="T3" fmla="*/ 2722 h 2847"/>
                <a:gd name="T4" fmla="*/ 5668 w 6676"/>
                <a:gd name="T5" fmla="*/ 2398 h 2847"/>
                <a:gd name="T6" fmla="*/ 5018 w 6676"/>
                <a:gd name="T7" fmla="*/ 1599 h 2847"/>
                <a:gd name="T8" fmla="*/ 4934 w 6676"/>
                <a:gd name="T9" fmla="*/ 1458 h 2847"/>
                <a:gd name="T10" fmla="*/ 4897 w 6676"/>
                <a:gd name="T11" fmla="*/ 1398 h 2847"/>
                <a:gd name="T12" fmla="*/ 4161 w 6676"/>
                <a:gd name="T13" fmla="*/ 597 h 2847"/>
                <a:gd name="T14" fmla="*/ 3146 w 6676"/>
                <a:gd name="T15" fmla="*/ 634 h 2847"/>
                <a:gd name="T16" fmla="*/ 3109 w 6676"/>
                <a:gd name="T17" fmla="*/ 643 h 2847"/>
                <a:gd name="T18" fmla="*/ 2921 w 6676"/>
                <a:gd name="T19" fmla="*/ 692 h 2847"/>
                <a:gd name="T20" fmla="*/ 1972 w 6676"/>
                <a:gd name="T21" fmla="*/ 806 h 2847"/>
                <a:gd name="T22" fmla="*/ 1241 w 6676"/>
                <a:gd name="T23" fmla="*/ 531 h 2847"/>
                <a:gd name="T24" fmla="*/ 963 w 6676"/>
                <a:gd name="T25" fmla="*/ 403 h 2847"/>
                <a:gd name="T26" fmla="*/ 21 w 6676"/>
                <a:gd name="T27" fmla="*/ 0 h 2847"/>
                <a:gd name="T28" fmla="*/ 0 w 6676"/>
                <a:gd name="T29" fmla="*/ 0 h 2847"/>
                <a:gd name="T30" fmla="*/ 960 w 6676"/>
                <a:gd name="T31" fmla="*/ 410 h 2847"/>
                <a:gd name="T32" fmla="*/ 1238 w 6676"/>
                <a:gd name="T33" fmla="*/ 539 h 2847"/>
                <a:gd name="T34" fmla="*/ 1971 w 6676"/>
                <a:gd name="T35" fmla="*/ 814 h 2847"/>
                <a:gd name="T36" fmla="*/ 2923 w 6676"/>
                <a:gd name="T37" fmla="*/ 699 h 2847"/>
                <a:gd name="T38" fmla="*/ 3111 w 6676"/>
                <a:gd name="T39" fmla="*/ 651 h 2847"/>
                <a:gd name="T40" fmla="*/ 3148 w 6676"/>
                <a:gd name="T41" fmla="*/ 642 h 2847"/>
                <a:gd name="T42" fmla="*/ 4158 w 6676"/>
                <a:gd name="T43" fmla="*/ 604 h 2847"/>
                <a:gd name="T44" fmla="*/ 4890 w 6676"/>
                <a:gd name="T45" fmla="*/ 1402 h 2847"/>
                <a:gd name="T46" fmla="*/ 4927 w 6676"/>
                <a:gd name="T47" fmla="*/ 1463 h 2847"/>
                <a:gd name="T48" fmla="*/ 5011 w 6676"/>
                <a:gd name="T49" fmla="*/ 1603 h 2847"/>
                <a:gd name="T50" fmla="*/ 5663 w 6676"/>
                <a:gd name="T51" fmla="*/ 2405 h 2847"/>
                <a:gd name="T52" fmla="*/ 6365 w 6676"/>
                <a:gd name="T53" fmla="*/ 2730 h 2847"/>
                <a:gd name="T54" fmla="*/ 6661 w 6676"/>
                <a:gd name="T55" fmla="*/ 2847 h 2847"/>
                <a:gd name="T56" fmla="*/ 6676 w 6676"/>
                <a:gd name="T57" fmla="*/ 2845 h 2847"/>
                <a:gd name="T58" fmla="*/ 6673 w 6676"/>
                <a:gd name="T59" fmla="*/ 2843 h 28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676" h="2847">
                  <a:moveTo>
                    <a:pt x="6673" y="2843"/>
                  </a:moveTo>
                  <a:cubicBezTo>
                    <a:pt x="6575" y="2801"/>
                    <a:pt x="6474" y="2763"/>
                    <a:pt x="6368" y="2722"/>
                  </a:cubicBezTo>
                  <a:cubicBezTo>
                    <a:pt x="6125" y="2630"/>
                    <a:pt x="5875" y="2535"/>
                    <a:pt x="5668" y="2398"/>
                  </a:cubicBezTo>
                  <a:cubicBezTo>
                    <a:pt x="5381" y="2210"/>
                    <a:pt x="5196" y="1899"/>
                    <a:pt x="5018" y="1599"/>
                  </a:cubicBezTo>
                  <a:cubicBezTo>
                    <a:pt x="4990" y="1552"/>
                    <a:pt x="4962" y="1504"/>
                    <a:pt x="4934" y="1458"/>
                  </a:cubicBezTo>
                  <a:cubicBezTo>
                    <a:pt x="4921" y="1438"/>
                    <a:pt x="4909" y="1418"/>
                    <a:pt x="4897" y="1398"/>
                  </a:cubicBezTo>
                  <a:cubicBezTo>
                    <a:pt x="4710" y="1089"/>
                    <a:pt x="4498" y="739"/>
                    <a:pt x="4161" y="597"/>
                  </a:cubicBezTo>
                  <a:cubicBezTo>
                    <a:pt x="3844" y="462"/>
                    <a:pt x="3473" y="553"/>
                    <a:pt x="3146" y="634"/>
                  </a:cubicBezTo>
                  <a:cubicBezTo>
                    <a:pt x="3109" y="643"/>
                    <a:pt x="3109" y="643"/>
                    <a:pt x="3109" y="643"/>
                  </a:cubicBezTo>
                  <a:cubicBezTo>
                    <a:pt x="3047" y="658"/>
                    <a:pt x="2983" y="675"/>
                    <a:pt x="2921" y="692"/>
                  </a:cubicBezTo>
                  <a:cubicBezTo>
                    <a:pt x="2608" y="774"/>
                    <a:pt x="2285" y="859"/>
                    <a:pt x="1972" y="806"/>
                  </a:cubicBezTo>
                  <a:cubicBezTo>
                    <a:pt x="1727" y="765"/>
                    <a:pt x="1480" y="646"/>
                    <a:pt x="1241" y="531"/>
                  </a:cubicBezTo>
                  <a:cubicBezTo>
                    <a:pt x="1145" y="485"/>
                    <a:pt x="1054" y="441"/>
                    <a:pt x="963" y="403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60" y="410"/>
                    <a:pt x="960" y="410"/>
                    <a:pt x="960" y="410"/>
                  </a:cubicBezTo>
                  <a:cubicBezTo>
                    <a:pt x="1050" y="449"/>
                    <a:pt x="1141" y="492"/>
                    <a:pt x="1238" y="539"/>
                  </a:cubicBezTo>
                  <a:cubicBezTo>
                    <a:pt x="1477" y="654"/>
                    <a:pt x="1725" y="772"/>
                    <a:pt x="1971" y="814"/>
                  </a:cubicBezTo>
                  <a:cubicBezTo>
                    <a:pt x="2286" y="868"/>
                    <a:pt x="2610" y="782"/>
                    <a:pt x="2923" y="699"/>
                  </a:cubicBezTo>
                  <a:cubicBezTo>
                    <a:pt x="2985" y="683"/>
                    <a:pt x="3049" y="666"/>
                    <a:pt x="3111" y="651"/>
                  </a:cubicBezTo>
                  <a:cubicBezTo>
                    <a:pt x="3148" y="642"/>
                    <a:pt x="3148" y="642"/>
                    <a:pt x="3148" y="642"/>
                  </a:cubicBezTo>
                  <a:cubicBezTo>
                    <a:pt x="3474" y="561"/>
                    <a:pt x="3843" y="470"/>
                    <a:pt x="4158" y="604"/>
                  </a:cubicBezTo>
                  <a:cubicBezTo>
                    <a:pt x="4492" y="746"/>
                    <a:pt x="4703" y="1094"/>
                    <a:pt x="4890" y="1402"/>
                  </a:cubicBezTo>
                  <a:cubicBezTo>
                    <a:pt x="4902" y="1422"/>
                    <a:pt x="4915" y="1443"/>
                    <a:pt x="4927" y="1463"/>
                  </a:cubicBezTo>
                  <a:cubicBezTo>
                    <a:pt x="4955" y="1508"/>
                    <a:pt x="4983" y="1556"/>
                    <a:pt x="5011" y="1603"/>
                  </a:cubicBezTo>
                  <a:cubicBezTo>
                    <a:pt x="5190" y="1904"/>
                    <a:pt x="5375" y="2216"/>
                    <a:pt x="5663" y="2405"/>
                  </a:cubicBezTo>
                  <a:cubicBezTo>
                    <a:pt x="5871" y="2542"/>
                    <a:pt x="6122" y="2637"/>
                    <a:pt x="6365" y="2730"/>
                  </a:cubicBezTo>
                  <a:cubicBezTo>
                    <a:pt x="6468" y="2769"/>
                    <a:pt x="6566" y="2807"/>
                    <a:pt x="6661" y="2847"/>
                  </a:cubicBezTo>
                  <a:cubicBezTo>
                    <a:pt x="6676" y="2845"/>
                    <a:pt x="6676" y="2845"/>
                    <a:pt x="6676" y="2845"/>
                  </a:cubicBezTo>
                  <a:lnTo>
                    <a:pt x="6673" y="2843"/>
                  </a:lnTo>
                  <a:close/>
                </a:path>
              </a:pathLst>
            </a:custGeom>
            <a:solidFill>
              <a:srgbClr val="C7C9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8" name="Freeform 27"/>
            <p:cNvSpPr>
              <a:spLocks/>
            </p:cNvSpPr>
            <p:nvPr userDrawn="1"/>
          </p:nvSpPr>
          <p:spPr bwMode="auto">
            <a:xfrm>
              <a:off x="834592" y="0"/>
              <a:ext cx="10042252" cy="4285956"/>
            </a:xfrm>
            <a:custGeom>
              <a:avLst/>
              <a:gdLst>
                <a:gd name="T0" fmla="*/ 6413 w 6586"/>
                <a:gd name="T1" fmla="*/ 2732 h 2809"/>
                <a:gd name="T2" fmla="*/ 6108 w 6586"/>
                <a:gd name="T3" fmla="*/ 2611 h 2809"/>
                <a:gd name="T4" fmla="*/ 5408 w 6586"/>
                <a:gd name="T5" fmla="*/ 2288 h 2809"/>
                <a:gd name="T6" fmla="*/ 4731 w 6586"/>
                <a:gd name="T7" fmla="*/ 1470 h 2809"/>
                <a:gd name="T8" fmla="*/ 3894 w 6586"/>
                <a:gd name="T9" fmla="*/ 572 h 2809"/>
                <a:gd name="T10" fmla="*/ 2695 w 6586"/>
                <a:gd name="T11" fmla="*/ 601 h 2809"/>
                <a:gd name="T12" fmla="*/ 1712 w 6586"/>
                <a:gd name="T13" fmla="*/ 697 h 2809"/>
                <a:gd name="T14" fmla="*/ 983 w 6586"/>
                <a:gd name="T15" fmla="*/ 420 h 2809"/>
                <a:gd name="T16" fmla="*/ 704 w 6586"/>
                <a:gd name="T17" fmla="*/ 292 h 2809"/>
                <a:gd name="T18" fmla="*/ 21 w 6586"/>
                <a:gd name="T19" fmla="*/ 0 h 2809"/>
                <a:gd name="T20" fmla="*/ 0 w 6586"/>
                <a:gd name="T21" fmla="*/ 0 h 2809"/>
                <a:gd name="T22" fmla="*/ 700 w 6586"/>
                <a:gd name="T23" fmla="*/ 299 h 2809"/>
                <a:gd name="T24" fmla="*/ 979 w 6586"/>
                <a:gd name="T25" fmla="*/ 428 h 2809"/>
                <a:gd name="T26" fmla="*/ 1711 w 6586"/>
                <a:gd name="T27" fmla="*/ 705 h 2809"/>
                <a:gd name="T28" fmla="*/ 2696 w 6586"/>
                <a:gd name="T29" fmla="*/ 609 h 2809"/>
                <a:gd name="T30" fmla="*/ 3891 w 6586"/>
                <a:gd name="T31" fmla="*/ 579 h 2809"/>
                <a:gd name="T32" fmla="*/ 4724 w 6586"/>
                <a:gd name="T33" fmla="*/ 1475 h 2809"/>
                <a:gd name="T34" fmla="*/ 5403 w 6586"/>
                <a:gd name="T35" fmla="*/ 2295 h 2809"/>
                <a:gd name="T36" fmla="*/ 6105 w 6586"/>
                <a:gd name="T37" fmla="*/ 2618 h 2809"/>
                <a:gd name="T38" fmla="*/ 6410 w 6586"/>
                <a:gd name="T39" fmla="*/ 2740 h 2809"/>
                <a:gd name="T40" fmla="*/ 6571 w 6586"/>
                <a:gd name="T41" fmla="*/ 2809 h 2809"/>
                <a:gd name="T42" fmla="*/ 6586 w 6586"/>
                <a:gd name="T43" fmla="*/ 2806 h 2809"/>
                <a:gd name="T44" fmla="*/ 6413 w 6586"/>
                <a:gd name="T45" fmla="*/ 2732 h 2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586" h="2809">
                  <a:moveTo>
                    <a:pt x="6413" y="2732"/>
                  </a:moveTo>
                  <a:cubicBezTo>
                    <a:pt x="6315" y="2690"/>
                    <a:pt x="6209" y="2650"/>
                    <a:pt x="6108" y="2611"/>
                  </a:cubicBezTo>
                  <a:cubicBezTo>
                    <a:pt x="5867" y="2518"/>
                    <a:pt x="5617" y="2423"/>
                    <a:pt x="5408" y="2288"/>
                  </a:cubicBezTo>
                  <a:cubicBezTo>
                    <a:pt x="5110" y="2097"/>
                    <a:pt x="4917" y="1778"/>
                    <a:pt x="4731" y="1470"/>
                  </a:cubicBezTo>
                  <a:cubicBezTo>
                    <a:pt x="4513" y="1111"/>
                    <a:pt x="4288" y="739"/>
                    <a:pt x="3894" y="572"/>
                  </a:cubicBezTo>
                  <a:cubicBezTo>
                    <a:pt x="3512" y="409"/>
                    <a:pt x="3096" y="507"/>
                    <a:pt x="2695" y="601"/>
                  </a:cubicBezTo>
                  <a:cubicBezTo>
                    <a:pt x="2368" y="678"/>
                    <a:pt x="2031" y="757"/>
                    <a:pt x="1712" y="697"/>
                  </a:cubicBezTo>
                  <a:cubicBezTo>
                    <a:pt x="1467" y="651"/>
                    <a:pt x="1221" y="534"/>
                    <a:pt x="983" y="420"/>
                  </a:cubicBezTo>
                  <a:cubicBezTo>
                    <a:pt x="886" y="374"/>
                    <a:pt x="795" y="331"/>
                    <a:pt x="704" y="292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00" y="299"/>
                    <a:pt x="700" y="299"/>
                    <a:pt x="700" y="299"/>
                  </a:cubicBezTo>
                  <a:cubicBezTo>
                    <a:pt x="792" y="338"/>
                    <a:pt x="883" y="382"/>
                    <a:pt x="979" y="428"/>
                  </a:cubicBezTo>
                  <a:cubicBezTo>
                    <a:pt x="1218" y="541"/>
                    <a:pt x="1464" y="659"/>
                    <a:pt x="1711" y="705"/>
                  </a:cubicBezTo>
                  <a:cubicBezTo>
                    <a:pt x="2031" y="765"/>
                    <a:pt x="2370" y="686"/>
                    <a:pt x="2696" y="609"/>
                  </a:cubicBezTo>
                  <a:cubicBezTo>
                    <a:pt x="3097" y="515"/>
                    <a:pt x="3511" y="418"/>
                    <a:pt x="3891" y="579"/>
                  </a:cubicBezTo>
                  <a:cubicBezTo>
                    <a:pt x="4282" y="745"/>
                    <a:pt x="4507" y="1116"/>
                    <a:pt x="4724" y="1475"/>
                  </a:cubicBezTo>
                  <a:cubicBezTo>
                    <a:pt x="4910" y="1783"/>
                    <a:pt x="5104" y="2103"/>
                    <a:pt x="5403" y="2295"/>
                  </a:cubicBezTo>
                  <a:cubicBezTo>
                    <a:pt x="5613" y="2430"/>
                    <a:pt x="5863" y="2526"/>
                    <a:pt x="6105" y="2618"/>
                  </a:cubicBezTo>
                  <a:cubicBezTo>
                    <a:pt x="6206" y="2658"/>
                    <a:pt x="6312" y="2698"/>
                    <a:pt x="6410" y="2740"/>
                  </a:cubicBezTo>
                  <a:cubicBezTo>
                    <a:pt x="6571" y="2809"/>
                    <a:pt x="6571" y="2809"/>
                    <a:pt x="6571" y="2809"/>
                  </a:cubicBezTo>
                  <a:cubicBezTo>
                    <a:pt x="6586" y="2806"/>
                    <a:pt x="6586" y="2806"/>
                    <a:pt x="6586" y="2806"/>
                  </a:cubicBezTo>
                  <a:lnTo>
                    <a:pt x="6413" y="2732"/>
                  </a:lnTo>
                  <a:close/>
                </a:path>
              </a:pathLst>
            </a:custGeom>
            <a:solidFill>
              <a:srgbClr val="C7C8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9" name="Freeform 28"/>
            <p:cNvSpPr>
              <a:spLocks/>
            </p:cNvSpPr>
            <p:nvPr userDrawn="1"/>
          </p:nvSpPr>
          <p:spPr bwMode="auto">
            <a:xfrm>
              <a:off x="1301189" y="0"/>
              <a:ext cx="9905961" cy="4228233"/>
            </a:xfrm>
            <a:custGeom>
              <a:avLst/>
              <a:gdLst>
                <a:gd name="T0" fmla="*/ 6154 w 6497"/>
                <a:gd name="T1" fmla="*/ 2621 h 2771"/>
                <a:gd name="T2" fmla="*/ 5848 w 6497"/>
                <a:gd name="T3" fmla="*/ 2499 h 2771"/>
                <a:gd name="T4" fmla="*/ 5149 w 6497"/>
                <a:gd name="T5" fmla="*/ 2178 h 2771"/>
                <a:gd name="T6" fmla="*/ 4468 w 6497"/>
                <a:gd name="T7" fmla="*/ 1404 h 2771"/>
                <a:gd name="T8" fmla="*/ 3633 w 6497"/>
                <a:gd name="T9" fmla="*/ 552 h 2771"/>
                <a:gd name="T10" fmla="*/ 2435 w 6497"/>
                <a:gd name="T11" fmla="*/ 536 h 2771"/>
                <a:gd name="T12" fmla="*/ 1454 w 6497"/>
                <a:gd name="T13" fmla="*/ 588 h 2771"/>
                <a:gd name="T14" fmla="*/ 726 w 6497"/>
                <a:gd name="T15" fmla="*/ 309 h 2771"/>
                <a:gd name="T16" fmla="*/ 445 w 6497"/>
                <a:gd name="T17" fmla="*/ 181 h 2771"/>
                <a:gd name="T18" fmla="*/ 21 w 6497"/>
                <a:gd name="T19" fmla="*/ 0 h 2771"/>
                <a:gd name="T20" fmla="*/ 0 w 6497"/>
                <a:gd name="T21" fmla="*/ 0 h 2771"/>
                <a:gd name="T22" fmla="*/ 442 w 6497"/>
                <a:gd name="T23" fmla="*/ 189 h 2771"/>
                <a:gd name="T24" fmla="*/ 722 w 6497"/>
                <a:gd name="T25" fmla="*/ 317 h 2771"/>
                <a:gd name="T26" fmla="*/ 1452 w 6497"/>
                <a:gd name="T27" fmla="*/ 596 h 2771"/>
                <a:gd name="T28" fmla="*/ 2436 w 6497"/>
                <a:gd name="T29" fmla="*/ 544 h 2771"/>
                <a:gd name="T30" fmla="*/ 3630 w 6497"/>
                <a:gd name="T31" fmla="*/ 560 h 2771"/>
                <a:gd name="T32" fmla="*/ 4461 w 6497"/>
                <a:gd name="T33" fmla="*/ 1409 h 2771"/>
                <a:gd name="T34" fmla="*/ 5145 w 6497"/>
                <a:gd name="T35" fmla="*/ 2186 h 2771"/>
                <a:gd name="T36" fmla="*/ 5845 w 6497"/>
                <a:gd name="T37" fmla="*/ 2507 h 2771"/>
                <a:gd name="T38" fmla="*/ 6151 w 6497"/>
                <a:gd name="T39" fmla="*/ 2629 h 2771"/>
                <a:gd name="T40" fmla="*/ 6482 w 6497"/>
                <a:gd name="T41" fmla="*/ 2771 h 2771"/>
                <a:gd name="T42" fmla="*/ 6497 w 6497"/>
                <a:gd name="T43" fmla="*/ 2768 h 2771"/>
                <a:gd name="T44" fmla="*/ 6154 w 6497"/>
                <a:gd name="T45" fmla="*/ 2621 h 27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497" h="2771">
                  <a:moveTo>
                    <a:pt x="6154" y="2621"/>
                  </a:moveTo>
                  <a:cubicBezTo>
                    <a:pt x="6056" y="2579"/>
                    <a:pt x="5950" y="2538"/>
                    <a:pt x="5848" y="2499"/>
                  </a:cubicBezTo>
                  <a:cubicBezTo>
                    <a:pt x="5609" y="2406"/>
                    <a:pt x="5361" y="2311"/>
                    <a:pt x="5149" y="2178"/>
                  </a:cubicBezTo>
                  <a:cubicBezTo>
                    <a:pt x="4856" y="1995"/>
                    <a:pt x="4659" y="1695"/>
                    <a:pt x="4468" y="1404"/>
                  </a:cubicBezTo>
                  <a:cubicBezTo>
                    <a:pt x="4245" y="1065"/>
                    <a:pt x="4016" y="715"/>
                    <a:pt x="3633" y="552"/>
                  </a:cubicBezTo>
                  <a:cubicBezTo>
                    <a:pt x="3253" y="391"/>
                    <a:pt x="2837" y="465"/>
                    <a:pt x="2435" y="536"/>
                  </a:cubicBezTo>
                  <a:cubicBezTo>
                    <a:pt x="2109" y="594"/>
                    <a:pt x="1771" y="654"/>
                    <a:pt x="1454" y="588"/>
                  </a:cubicBezTo>
                  <a:cubicBezTo>
                    <a:pt x="1208" y="537"/>
                    <a:pt x="963" y="421"/>
                    <a:pt x="726" y="309"/>
                  </a:cubicBezTo>
                  <a:cubicBezTo>
                    <a:pt x="629" y="264"/>
                    <a:pt x="537" y="220"/>
                    <a:pt x="445" y="181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42" y="189"/>
                    <a:pt x="442" y="189"/>
                    <a:pt x="442" y="189"/>
                  </a:cubicBezTo>
                  <a:cubicBezTo>
                    <a:pt x="534" y="228"/>
                    <a:pt x="625" y="271"/>
                    <a:pt x="722" y="317"/>
                  </a:cubicBezTo>
                  <a:cubicBezTo>
                    <a:pt x="960" y="429"/>
                    <a:pt x="1205" y="545"/>
                    <a:pt x="1452" y="596"/>
                  </a:cubicBezTo>
                  <a:cubicBezTo>
                    <a:pt x="1771" y="662"/>
                    <a:pt x="2109" y="602"/>
                    <a:pt x="2436" y="544"/>
                  </a:cubicBezTo>
                  <a:cubicBezTo>
                    <a:pt x="2837" y="473"/>
                    <a:pt x="3252" y="399"/>
                    <a:pt x="3630" y="560"/>
                  </a:cubicBezTo>
                  <a:cubicBezTo>
                    <a:pt x="4010" y="722"/>
                    <a:pt x="4239" y="1071"/>
                    <a:pt x="4461" y="1409"/>
                  </a:cubicBezTo>
                  <a:cubicBezTo>
                    <a:pt x="4652" y="1700"/>
                    <a:pt x="4850" y="2002"/>
                    <a:pt x="5145" y="2186"/>
                  </a:cubicBezTo>
                  <a:cubicBezTo>
                    <a:pt x="5357" y="2318"/>
                    <a:pt x="5605" y="2414"/>
                    <a:pt x="5845" y="2507"/>
                  </a:cubicBezTo>
                  <a:cubicBezTo>
                    <a:pt x="5947" y="2546"/>
                    <a:pt x="6052" y="2587"/>
                    <a:pt x="6151" y="2629"/>
                  </a:cubicBezTo>
                  <a:cubicBezTo>
                    <a:pt x="6482" y="2771"/>
                    <a:pt x="6482" y="2771"/>
                    <a:pt x="6482" y="2771"/>
                  </a:cubicBezTo>
                  <a:cubicBezTo>
                    <a:pt x="6497" y="2768"/>
                    <a:pt x="6497" y="2768"/>
                    <a:pt x="6497" y="2768"/>
                  </a:cubicBezTo>
                  <a:lnTo>
                    <a:pt x="6154" y="2621"/>
                  </a:lnTo>
                  <a:close/>
                </a:path>
              </a:pathLst>
            </a:custGeom>
            <a:solidFill>
              <a:srgbClr val="C6C8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0" name="Rectangle 29"/>
            <p:cNvSpPr>
              <a:spLocks noChangeArrowheads="1"/>
            </p:cNvSpPr>
            <p:nvPr userDrawn="1"/>
          </p:nvSpPr>
          <p:spPr bwMode="auto">
            <a:xfrm>
              <a:off x="12295875" y="4489591"/>
              <a:ext cx="1604" cy="14431"/>
            </a:xfrm>
            <a:prstGeom prst="rect">
              <a:avLst/>
            </a:prstGeom>
            <a:solidFill>
              <a:srgbClr val="C6C7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1" name="Freeform 30"/>
            <p:cNvSpPr>
              <a:spLocks/>
            </p:cNvSpPr>
            <p:nvPr userDrawn="1"/>
          </p:nvSpPr>
          <p:spPr bwMode="auto">
            <a:xfrm>
              <a:off x="1767786" y="0"/>
              <a:ext cx="9769670" cy="4168906"/>
            </a:xfrm>
            <a:custGeom>
              <a:avLst/>
              <a:gdLst>
                <a:gd name="T0" fmla="*/ 5896 w 6408"/>
                <a:gd name="T1" fmla="*/ 2511 h 2732"/>
                <a:gd name="T2" fmla="*/ 5589 w 6408"/>
                <a:gd name="T3" fmla="*/ 2387 h 2732"/>
                <a:gd name="T4" fmla="*/ 4891 w 6408"/>
                <a:gd name="T5" fmla="*/ 2069 h 2732"/>
                <a:gd name="T6" fmla="*/ 4206 w 6408"/>
                <a:gd name="T7" fmla="*/ 1340 h 2732"/>
                <a:gd name="T8" fmla="*/ 3376 w 6408"/>
                <a:gd name="T9" fmla="*/ 538 h 2732"/>
                <a:gd name="T10" fmla="*/ 2177 w 6408"/>
                <a:gd name="T11" fmla="*/ 474 h 2732"/>
                <a:gd name="T12" fmla="*/ 1195 w 6408"/>
                <a:gd name="T13" fmla="*/ 480 h 2732"/>
                <a:gd name="T14" fmla="*/ 469 w 6408"/>
                <a:gd name="T15" fmla="*/ 199 h 2732"/>
                <a:gd name="T16" fmla="*/ 186 w 6408"/>
                <a:gd name="T17" fmla="*/ 70 h 2732"/>
                <a:gd name="T18" fmla="*/ 22 w 6408"/>
                <a:gd name="T19" fmla="*/ 0 h 2732"/>
                <a:gd name="T20" fmla="*/ 0 w 6408"/>
                <a:gd name="T21" fmla="*/ 0 h 2732"/>
                <a:gd name="T22" fmla="*/ 183 w 6408"/>
                <a:gd name="T23" fmla="*/ 78 h 2732"/>
                <a:gd name="T24" fmla="*/ 465 w 6408"/>
                <a:gd name="T25" fmla="*/ 206 h 2732"/>
                <a:gd name="T26" fmla="*/ 1194 w 6408"/>
                <a:gd name="T27" fmla="*/ 488 h 2732"/>
                <a:gd name="T28" fmla="*/ 2178 w 6408"/>
                <a:gd name="T29" fmla="*/ 482 h 2732"/>
                <a:gd name="T30" fmla="*/ 3372 w 6408"/>
                <a:gd name="T31" fmla="*/ 546 h 2732"/>
                <a:gd name="T32" fmla="*/ 4199 w 6408"/>
                <a:gd name="T33" fmla="*/ 1345 h 2732"/>
                <a:gd name="T34" fmla="*/ 4886 w 6408"/>
                <a:gd name="T35" fmla="*/ 2076 h 2732"/>
                <a:gd name="T36" fmla="*/ 5586 w 6408"/>
                <a:gd name="T37" fmla="*/ 2395 h 2732"/>
                <a:gd name="T38" fmla="*/ 5892 w 6408"/>
                <a:gd name="T39" fmla="*/ 2518 h 2732"/>
                <a:gd name="T40" fmla="*/ 6393 w 6408"/>
                <a:gd name="T41" fmla="*/ 2732 h 2732"/>
                <a:gd name="T42" fmla="*/ 6408 w 6408"/>
                <a:gd name="T43" fmla="*/ 2730 h 2732"/>
                <a:gd name="T44" fmla="*/ 5896 w 6408"/>
                <a:gd name="T45" fmla="*/ 2511 h 27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408" h="2732">
                  <a:moveTo>
                    <a:pt x="5896" y="2511"/>
                  </a:moveTo>
                  <a:cubicBezTo>
                    <a:pt x="5796" y="2468"/>
                    <a:pt x="5691" y="2427"/>
                    <a:pt x="5589" y="2387"/>
                  </a:cubicBezTo>
                  <a:cubicBezTo>
                    <a:pt x="5351" y="2294"/>
                    <a:pt x="5105" y="2198"/>
                    <a:pt x="4891" y="2069"/>
                  </a:cubicBezTo>
                  <a:cubicBezTo>
                    <a:pt x="4603" y="1895"/>
                    <a:pt x="4401" y="1613"/>
                    <a:pt x="4206" y="1340"/>
                  </a:cubicBezTo>
                  <a:cubicBezTo>
                    <a:pt x="3980" y="1023"/>
                    <a:pt x="3746" y="695"/>
                    <a:pt x="3376" y="538"/>
                  </a:cubicBezTo>
                  <a:cubicBezTo>
                    <a:pt x="2997" y="377"/>
                    <a:pt x="2580" y="426"/>
                    <a:pt x="2177" y="474"/>
                  </a:cubicBezTo>
                  <a:cubicBezTo>
                    <a:pt x="1850" y="512"/>
                    <a:pt x="1512" y="552"/>
                    <a:pt x="1195" y="480"/>
                  </a:cubicBezTo>
                  <a:cubicBezTo>
                    <a:pt x="949" y="423"/>
                    <a:pt x="705" y="309"/>
                    <a:pt x="469" y="199"/>
                  </a:cubicBezTo>
                  <a:cubicBezTo>
                    <a:pt x="376" y="155"/>
                    <a:pt x="280" y="110"/>
                    <a:pt x="186" y="7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83" y="78"/>
                    <a:pt x="183" y="78"/>
                    <a:pt x="183" y="78"/>
                  </a:cubicBezTo>
                  <a:cubicBezTo>
                    <a:pt x="276" y="118"/>
                    <a:pt x="372" y="163"/>
                    <a:pt x="465" y="206"/>
                  </a:cubicBezTo>
                  <a:cubicBezTo>
                    <a:pt x="702" y="317"/>
                    <a:pt x="946" y="432"/>
                    <a:pt x="1194" y="488"/>
                  </a:cubicBezTo>
                  <a:cubicBezTo>
                    <a:pt x="1512" y="561"/>
                    <a:pt x="1851" y="521"/>
                    <a:pt x="2178" y="482"/>
                  </a:cubicBezTo>
                  <a:cubicBezTo>
                    <a:pt x="2580" y="434"/>
                    <a:pt x="2996" y="385"/>
                    <a:pt x="3372" y="546"/>
                  </a:cubicBezTo>
                  <a:cubicBezTo>
                    <a:pt x="3740" y="702"/>
                    <a:pt x="3974" y="1029"/>
                    <a:pt x="4199" y="1345"/>
                  </a:cubicBezTo>
                  <a:cubicBezTo>
                    <a:pt x="4395" y="1618"/>
                    <a:pt x="4597" y="1901"/>
                    <a:pt x="4886" y="2076"/>
                  </a:cubicBezTo>
                  <a:cubicBezTo>
                    <a:pt x="5101" y="2206"/>
                    <a:pt x="5347" y="2302"/>
                    <a:pt x="5586" y="2395"/>
                  </a:cubicBezTo>
                  <a:cubicBezTo>
                    <a:pt x="5688" y="2435"/>
                    <a:pt x="5793" y="2476"/>
                    <a:pt x="5892" y="2518"/>
                  </a:cubicBezTo>
                  <a:cubicBezTo>
                    <a:pt x="6393" y="2732"/>
                    <a:pt x="6393" y="2732"/>
                    <a:pt x="6393" y="2732"/>
                  </a:cubicBezTo>
                  <a:cubicBezTo>
                    <a:pt x="6408" y="2730"/>
                    <a:pt x="6408" y="2730"/>
                    <a:pt x="6408" y="2730"/>
                  </a:cubicBezTo>
                  <a:lnTo>
                    <a:pt x="5896" y="2511"/>
                  </a:lnTo>
                  <a:close/>
                </a:path>
              </a:pathLst>
            </a:custGeom>
            <a:solidFill>
              <a:srgbClr val="C6C7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2" name="Freeform 31"/>
            <p:cNvSpPr>
              <a:spLocks/>
            </p:cNvSpPr>
            <p:nvPr userDrawn="1"/>
          </p:nvSpPr>
          <p:spPr bwMode="auto">
            <a:xfrm>
              <a:off x="12295875" y="4293973"/>
              <a:ext cx="0" cy="9621"/>
            </a:xfrm>
            <a:custGeom>
              <a:avLst/>
              <a:gdLst>
                <a:gd name="T0" fmla="*/ 6 h 6"/>
                <a:gd name="T1" fmla="*/ 0 h 6"/>
                <a:gd name="T2" fmla="*/ 6 h 6"/>
                <a:gd name="T3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C5C7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3" name="Freeform 32"/>
            <p:cNvSpPr>
              <a:spLocks/>
            </p:cNvSpPr>
            <p:nvPr userDrawn="1"/>
          </p:nvSpPr>
          <p:spPr bwMode="auto">
            <a:xfrm>
              <a:off x="2232779" y="0"/>
              <a:ext cx="9636585" cy="4111183"/>
            </a:xfrm>
            <a:custGeom>
              <a:avLst/>
              <a:gdLst>
                <a:gd name="T0" fmla="*/ 5638 w 6320"/>
                <a:gd name="T1" fmla="*/ 2400 h 2694"/>
                <a:gd name="T2" fmla="*/ 5330 w 6320"/>
                <a:gd name="T3" fmla="*/ 2275 h 2694"/>
                <a:gd name="T4" fmla="*/ 4634 w 6320"/>
                <a:gd name="T5" fmla="*/ 1960 h 2694"/>
                <a:gd name="T6" fmla="*/ 3947 w 6320"/>
                <a:gd name="T7" fmla="*/ 1278 h 2694"/>
                <a:gd name="T8" fmla="*/ 3122 w 6320"/>
                <a:gd name="T9" fmla="*/ 527 h 2694"/>
                <a:gd name="T10" fmla="*/ 1923 w 6320"/>
                <a:gd name="T11" fmla="*/ 413 h 2694"/>
                <a:gd name="T12" fmla="*/ 939 w 6320"/>
                <a:gd name="T13" fmla="*/ 372 h 2694"/>
                <a:gd name="T14" fmla="*/ 214 w 6320"/>
                <a:gd name="T15" fmla="*/ 88 h 2694"/>
                <a:gd name="T16" fmla="*/ 21 w 6320"/>
                <a:gd name="T17" fmla="*/ 0 h 2694"/>
                <a:gd name="T18" fmla="*/ 0 w 6320"/>
                <a:gd name="T19" fmla="*/ 0 h 2694"/>
                <a:gd name="T20" fmla="*/ 210 w 6320"/>
                <a:gd name="T21" fmla="*/ 96 h 2694"/>
                <a:gd name="T22" fmla="*/ 936 w 6320"/>
                <a:gd name="T23" fmla="*/ 380 h 2694"/>
                <a:gd name="T24" fmla="*/ 1923 w 6320"/>
                <a:gd name="T25" fmla="*/ 422 h 2694"/>
                <a:gd name="T26" fmla="*/ 3119 w 6320"/>
                <a:gd name="T27" fmla="*/ 535 h 2694"/>
                <a:gd name="T28" fmla="*/ 3940 w 6320"/>
                <a:gd name="T29" fmla="*/ 1283 h 2694"/>
                <a:gd name="T30" fmla="*/ 4629 w 6320"/>
                <a:gd name="T31" fmla="*/ 1967 h 2694"/>
                <a:gd name="T32" fmla="*/ 5327 w 6320"/>
                <a:gd name="T33" fmla="*/ 2283 h 2694"/>
                <a:gd name="T34" fmla="*/ 5635 w 6320"/>
                <a:gd name="T35" fmla="*/ 2408 h 2694"/>
                <a:gd name="T36" fmla="*/ 6305 w 6320"/>
                <a:gd name="T37" fmla="*/ 2694 h 2694"/>
                <a:gd name="T38" fmla="*/ 6320 w 6320"/>
                <a:gd name="T39" fmla="*/ 2691 h 2694"/>
                <a:gd name="T40" fmla="*/ 5638 w 6320"/>
                <a:gd name="T41" fmla="*/ 2400 h 2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320" h="2694">
                  <a:moveTo>
                    <a:pt x="5638" y="2400"/>
                  </a:moveTo>
                  <a:cubicBezTo>
                    <a:pt x="5538" y="2357"/>
                    <a:pt x="5432" y="2315"/>
                    <a:pt x="5330" y="2275"/>
                  </a:cubicBezTo>
                  <a:cubicBezTo>
                    <a:pt x="5094" y="2182"/>
                    <a:pt x="4849" y="2086"/>
                    <a:pt x="4634" y="1960"/>
                  </a:cubicBezTo>
                  <a:cubicBezTo>
                    <a:pt x="4352" y="1795"/>
                    <a:pt x="4146" y="1532"/>
                    <a:pt x="3947" y="1278"/>
                  </a:cubicBezTo>
                  <a:cubicBezTo>
                    <a:pt x="3717" y="983"/>
                    <a:pt x="3479" y="679"/>
                    <a:pt x="3122" y="527"/>
                  </a:cubicBezTo>
                  <a:cubicBezTo>
                    <a:pt x="2744" y="366"/>
                    <a:pt x="2326" y="390"/>
                    <a:pt x="1923" y="413"/>
                  </a:cubicBezTo>
                  <a:cubicBezTo>
                    <a:pt x="1595" y="432"/>
                    <a:pt x="1255" y="452"/>
                    <a:pt x="939" y="372"/>
                  </a:cubicBezTo>
                  <a:cubicBezTo>
                    <a:pt x="692" y="310"/>
                    <a:pt x="449" y="197"/>
                    <a:pt x="214" y="88"/>
                  </a:cubicBezTo>
                  <a:cubicBezTo>
                    <a:pt x="150" y="58"/>
                    <a:pt x="86" y="29"/>
                    <a:pt x="2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0" y="31"/>
                    <a:pt x="141" y="64"/>
                    <a:pt x="210" y="96"/>
                  </a:cubicBezTo>
                  <a:cubicBezTo>
                    <a:pt x="445" y="205"/>
                    <a:pt x="689" y="318"/>
                    <a:pt x="936" y="380"/>
                  </a:cubicBezTo>
                  <a:cubicBezTo>
                    <a:pt x="1254" y="460"/>
                    <a:pt x="1594" y="441"/>
                    <a:pt x="1923" y="422"/>
                  </a:cubicBezTo>
                  <a:cubicBezTo>
                    <a:pt x="2326" y="399"/>
                    <a:pt x="2743" y="374"/>
                    <a:pt x="3119" y="535"/>
                  </a:cubicBezTo>
                  <a:cubicBezTo>
                    <a:pt x="3473" y="686"/>
                    <a:pt x="3710" y="990"/>
                    <a:pt x="3940" y="1283"/>
                  </a:cubicBezTo>
                  <a:cubicBezTo>
                    <a:pt x="4140" y="1538"/>
                    <a:pt x="4346" y="1801"/>
                    <a:pt x="4629" y="1967"/>
                  </a:cubicBezTo>
                  <a:cubicBezTo>
                    <a:pt x="4846" y="2094"/>
                    <a:pt x="5090" y="2190"/>
                    <a:pt x="5327" y="2283"/>
                  </a:cubicBezTo>
                  <a:cubicBezTo>
                    <a:pt x="5429" y="2323"/>
                    <a:pt x="5535" y="2365"/>
                    <a:pt x="5635" y="2408"/>
                  </a:cubicBezTo>
                  <a:cubicBezTo>
                    <a:pt x="6305" y="2694"/>
                    <a:pt x="6305" y="2694"/>
                    <a:pt x="6305" y="2694"/>
                  </a:cubicBezTo>
                  <a:cubicBezTo>
                    <a:pt x="6320" y="2691"/>
                    <a:pt x="6320" y="2691"/>
                    <a:pt x="6320" y="2691"/>
                  </a:cubicBezTo>
                  <a:lnTo>
                    <a:pt x="5638" y="2400"/>
                  </a:lnTo>
                  <a:close/>
                </a:path>
              </a:pathLst>
            </a:custGeom>
            <a:solidFill>
              <a:srgbClr val="C5C7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4" name="Freeform 33"/>
            <p:cNvSpPr>
              <a:spLocks/>
            </p:cNvSpPr>
            <p:nvPr userDrawn="1"/>
          </p:nvSpPr>
          <p:spPr bwMode="auto">
            <a:xfrm>
              <a:off x="2676927" y="0"/>
              <a:ext cx="9524346" cy="4053460"/>
            </a:xfrm>
            <a:custGeom>
              <a:avLst/>
              <a:gdLst>
                <a:gd name="T0" fmla="*/ 5394 w 6246"/>
                <a:gd name="T1" fmla="*/ 2289 h 2656"/>
                <a:gd name="T2" fmla="*/ 5084 w 6246"/>
                <a:gd name="T3" fmla="*/ 2163 h 2656"/>
                <a:gd name="T4" fmla="*/ 4389 w 6246"/>
                <a:gd name="T5" fmla="*/ 1851 h 2656"/>
                <a:gd name="T6" fmla="*/ 3702 w 6246"/>
                <a:gd name="T7" fmla="*/ 1217 h 2656"/>
                <a:gd name="T8" fmla="*/ 2884 w 6246"/>
                <a:gd name="T9" fmla="*/ 519 h 2656"/>
                <a:gd name="T10" fmla="*/ 1682 w 6246"/>
                <a:gd name="T11" fmla="*/ 354 h 2656"/>
                <a:gd name="T12" fmla="*/ 695 w 6246"/>
                <a:gd name="T13" fmla="*/ 264 h 2656"/>
                <a:gd name="T14" fmla="*/ 21 w 6246"/>
                <a:gd name="T15" fmla="*/ 0 h 2656"/>
                <a:gd name="T16" fmla="*/ 0 w 6246"/>
                <a:gd name="T17" fmla="*/ 0 h 2656"/>
                <a:gd name="T18" fmla="*/ 692 w 6246"/>
                <a:gd name="T19" fmla="*/ 273 h 2656"/>
                <a:gd name="T20" fmla="*/ 1682 w 6246"/>
                <a:gd name="T21" fmla="*/ 363 h 2656"/>
                <a:gd name="T22" fmla="*/ 2880 w 6246"/>
                <a:gd name="T23" fmla="*/ 527 h 2656"/>
                <a:gd name="T24" fmla="*/ 3696 w 6246"/>
                <a:gd name="T25" fmla="*/ 1223 h 2656"/>
                <a:gd name="T26" fmla="*/ 4385 w 6246"/>
                <a:gd name="T27" fmla="*/ 1858 h 2656"/>
                <a:gd name="T28" fmla="*/ 5081 w 6246"/>
                <a:gd name="T29" fmla="*/ 2171 h 2656"/>
                <a:gd name="T30" fmla="*/ 5390 w 6246"/>
                <a:gd name="T31" fmla="*/ 2297 h 2656"/>
                <a:gd name="T32" fmla="*/ 6230 w 6246"/>
                <a:gd name="T33" fmla="*/ 2656 h 2656"/>
                <a:gd name="T34" fmla="*/ 6246 w 6246"/>
                <a:gd name="T35" fmla="*/ 2653 h 2656"/>
                <a:gd name="T36" fmla="*/ 5394 w 6246"/>
                <a:gd name="T37" fmla="*/ 2289 h 2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246" h="2656">
                  <a:moveTo>
                    <a:pt x="5394" y="2289"/>
                  </a:moveTo>
                  <a:cubicBezTo>
                    <a:pt x="5292" y="2246"/>
                    <a:pt x="5186" y="2204"/>
                    <a:pt x="5084" y="2163"/>
                  </a:cubicBezTo>
                  <a:cubicBezTo>
                    <a:pt x="4849" y="2070"/>
                    <a:pt x="4607" y="1974"/>
                    <a:pt x="4389" y="1851"/>
                  </a:cubicBezTo>
                  <a:cubicBezTo>
                    <a:pt x="4115" y="1695"/>
                    <a:pt x="3905" y="1452"/>
                    <a:pt x="3702" y="1217"/>
                  </a:cubicBezTo>
                  <a:cubicBezTo>
                    <a:pt x="3468" y="946"/>
                    <a:pt x="3226" y="666"/>
                    <a:pt x="2884" y="519"/>
                  </a:cubicBezTo>
                  <a:cubicBezTo>
                    <a:pt x="2505" y="357"/>
                    <a:pt x="2087" y="355"/>
                    <a:pt x="1682" y="354"/>
                  </a:cubicBezTo>
                  <a:cubicBezTo>
                    <a:pt x="1353" y="353"/>
                    <a:pt x="1012" y="352"/>
                    <a:pt x="695" y="264"/>
                  </a:cubicBezTo>
                  <a:cubicBezTo>
                    <a:pt x="466" y="201"/>
                    <a:pt x="240" y="100"/>
                    <a:pt x="2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25" y="103"/>
                    <a:pt x="457" y="208"/>
                    <a:pt x="692" y="273"/>
                  </a:cubicBezTo>
                  <a:cubicBezTo>
                    <a:pt x="1011" y="361"/>
                    <a:pt x="1352" y="362"/>
                    <a:pt x="1682" y="363"/>
                  </a:cubicBezTo>
                  <a:cubicBezTo>
                    <a:pt x="2086" y="364"/>
                    <a:pt x="2503" y="366"/>
                    <a:pt x="2880" y="527"/>
                  </a:cubicBezTo>
                  <a:cubicBezTo>
                    <a:pt x="3221" y="673"/>
                    <a:pt x="3462" y="952"/>
                    <a:pt x="3696" y="1223"/>
                  </a:cubicBezTo>
                  <a:cubicBezTo>
                    <a:pt x="3899" y="1458"/>
                    <a:pt x="4109" y="1702"/>
                    <a:pt x="4385" y="1858"/>
                  </a:cubicBezTo>
                  <a:cubicBezTo>
                    <a:pt x="4603" y="1982"/>
                    <a:pt x="4846" y="2078"/>
                    <a:pt x="5081" y="2171"/>
                  </a:cubicBezTo>
                  <a:cubicBezTo>
                    <a:pt x="5183" y="2212"/>
                    <a:pt x="5289" y="2254"/>
                    <a:pt x="5390" y="2297"/>
                  </a:cubicBezTo>
                  <a:cubicBezTo>
                    <a:pt x="6230" y="2656"/>
                    <a:pt x="6230" y="2656"/>
                    <a:pt x="6230" y="2656"/>
                  </a:cubicBezTo>
                  <a:cubicBezTo>
                    <a:pt x="6246" y="2653"/>
                    <a:pt x="6246" y="2653"/>
                    <a:pt x="6246" y="2653"/>
                  </a:cubicBezTo>
                  <a:lnTo>
                    <a:pt x="5394" y="2289"/>
                  </a:lnTo>
                  <a:close/>
                </a:path>
              </a:pathLst>
            </a:custGeom>
            <a:solidFill>
              <a:srgbClr val="C5C6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20" name="Freeform: Shape 119"/>
            <p:cNvSpPr>
              <a:spLocks/>
            </p:cNvSpPr>
            <p:nvPr userDrawn="1"/>
          </p:nvSpPr>
          <p:spPr bwMode="auto">
            <a:xfrm>
              <a:off x="3133904" y="0"/>
              <a:ext cx="9059296" cy="3860342"/>
            </a:xfrm>
            <a:custGeom>
              <a:avLst/>
              <a:gdLst>
                <a:gd name="connsiteX0" fmla="*/ 0 w 9059296"/>
                <a:gd name="connsiteY0" fmla="*/ 0 h 3860342"/>
                <a:gd name="connsiteX1" fmla="*/ 35068 w 9059296"/>
                <a:gd name="connsiteY1" fmla="*/ 0 h 3860342"/>
                <a:gd name="connsiteX2" fmla="*/ 676971 w 9059296"/>
                <a:gd name="connsiteY2" fmla="*/ 238014 h 3860342"/>
                <a:gd name="connsiteX3" fmla="*/ 2189481 w 9059296"/>
                <a:gd name="connsiteY3" fmla="*/ 451616 h 3860342"/>
                <a:gd name="connsiteX4" fmla="*/ 4025230 w 9059296"/>
                <a:gd name="connsiteY4" fmla="*/ 781173 h 3860342"/>
                <a:gd name="connsiteX5" fmla="*/ 5260243 w 9059296"/>
                <a:gd name="connsiteY5" fmla="*/ 1763743 h 3860342"/>
                <a:gd name="connsiteX6" fmla="*/ 6309242 w 9059296"/>
                <a:gd name="connsiteY6" fmla="*/ 2657820 h 3860342"/>
                <a:gd name="connsiteX7" fmla="*/ 7365865 w 9059296"/>
                <a:gd name="connsiteY7" fmla="*/ 3129271 h 3860342"/>
                <a:gd name="connsiteX8" fmla="*/ 7840049 w 9059296"/>
                <a:gd name="connsiteY8" fmla="*/ 3323038 h 3860342"/>
                <a:gd name="connsiteX9" fmla="*/ 8929279 w 9059296"/>
                <a:gd name="connsiteY9" fmla="*/ 3789445 h 3860342"/>
                <a:gd name="connsiteX10" fmla="*/ 9059296 w 9059296"/>
                <a:gd name="connsiteY10" fmla="*/ 3845119 h 3860342"/>
                <a:gd name="connsiteX11" fmla="*/ 9059296 w 9059296"/>
                <a:gd name="connsiteY11" fmla="*/ 3860342 h 3860342"/>
                <a:gd name="connsiteX12" fmla="*/ 8995968 w 9059296"/>
                <a:gd name="connsiteY12" fmla="*/ 3833204 h 3860342"/>
                <a:gd name="connsiteX13" fmla="*/ 7833950 w 9059296"/>
                <a:gd name="connsiteY13" fmla="*/ 3335244 h 3860342"/>
                <a:gd name="connsiteX14" fmla="*/ 7361290 w 9059296"/>
                <a:gd name="connsiteY14" fmla="*/ 3141477 h 3860342"/>
                <a:gd name="connsiteX15" fmla="*/ 6303144 w 9059296"/>
                <a:gd name="connsiteY15" fmla="*/ 2670026 h 3860342"/>
                <a:gd name="connsiteX16" fmla="*/ 5249570 w 9059296"/>
                <a:gd name="connsiteY16" fmla="*/ 1774423 h 3860342"/>
                <a:gd name="connsiteX17" fmla="*/ 4019131 w 9059296"/>
                <a:gd name="connsiteY17" fmla="*/ 794905 h 3860342"/>
                <a:gd name="connsiteX18" fmla="*/ 2187956 w 9059296"/>
                <a:gd name="connsiteY18" fmla="*/ 465347 h 3860342"/>
                <a:gd name="connsiteX19" fmla="*/ 673921 w 9059296"/>
                <a:gd name="connsiteY19" fmla="*/ 251745 h 3860342"/>
                <a:gd name="connsiteX20" fmla="*/ 0 w 9059296"/>
                <a:gd name="connsiteY20" fmla="*/ 0 h 3860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059296" h="3860342">
                  <a:moveTo>
                    <a:pt x="0" y="0"/>
                  </a:moveTo>
                  <a:cubicBezTo>
                    <a:pt x="0" y="0"/>
                    <a:pt x="0" y="0"/>
                    <a:pt x="35068" y="0"/>
                  </a:cubicBezTo>
                  <a:cubicBezTo>
                    <a:pt x="247003" y="90018"/>
                    <a:pt x="460462" y="173933"/>
                    <a:pt x="676971" y="238014"/>
                  </a:cubicBezTo>
                  <a:cubicBezTo>
                    <a:pt x="1163352" y="384484"/>
                    <a:pt x="1684803" y="419576"/>
                    <a:pt x="2189481" y="451616"/>
                  </a:cubicBezTo>
                  <a:cubicBezTo>
                    <a:pt x="2806988" y="491285"/>
                    <a:pt x="3444316" y="532480"/>
                    <a:pt x="4025230" y="781173"/>
                  </a:cubicBezTo>
                  <a:cubicBezTo>
                    <a:pt x="4525334" y="996301"/>
                    <a:pt x="4898887" y="1386888"/>
                    <a:pt x="5260243" y="1763743"/>
                  </a:cubicBezTo>
                  <a:cubicBezTo>
                    <a:pt x="5575858" y="2093301"/>
                    <a:pt x="5900620" y="2433538"/>
                    <a:pt x="6309242" y="2657820"/>
                  </a:cubicBezTo>
                  <a:cubicBezTo>
                    <a:pt x="6644678" y="2839382"/>
                    <a:pt x="7010608" y="2987378"/>
                    <a:pt x="7365865" y="3129271"/>
                  </a:cubicBezTo>
                  <a:cubicBezTo>
                    <a:pt x="7522910" y="3191826"/>
                    <a:pt x="7684529" y="3255906"/>
                    <a:pt x="7840049" y="3323038"/>
                  </a:cubicBezTo>
                  <a:cubicBezTo>
                    <a:pt x="7840049" y="3323038"/>
                    <a:pt x="7840049" y="3323038"/>
                    <a:pt x="8929279" y="3789445"/>
                  </a:cubicBezTo>
                  <a:lnTo>
                    <a:pt x="9059296" y="3845119"/>
                  </a:lnTo>
                  <a:lnTo>
                    <a:pt x="9059296" y="3860342"/>
                  </a:lnTo>
                  <a:lnTo>
                    <a:pt x="8995968" y="3833204"/>
                  </a:lnTo>
                  <a:cubicBezTo>
                    <a:pt x="8829966" y="3762067"/>
                    <a:pt x="8497961" y="3619793"/>
                    <a:pt x="7833950" y="3335244"/>
                  </a:cubicBezTo>
                  <a:cubicBezTo>
                    <a:pt x="7678430" y="3269638"/>
                    <a:pt x="7516811" y="3204031"/>
                    <a:pt x="7361290" y="3141477"/>
                  </a:cubicBezTo>
                  <a:cubicBezTo>
                    <a:pt x="7006034" y="2999584"/>
                    <a:pt x="6638579" y="2853114"/>
                    <a:pt x="6303144" y="2670026"/>
                  </a:cubicBezTo>
                  <a:cubicBezTo>
                    <a:pt x="5892997" y="2445744"/>
                    <a:pt x="5565184" y="2103981"/>
                    <a:pt x="5249570" y="1774423"/>
                  </a:cubicBezTo>
                  <a:cubicBezTo>
                    <a:pt x="4889739" y="1397568"/>
                    <a:pt x="4516186" y="1008507"/>
                    <a:pt x="4019131" y="794905"/>
                  </a:cubicBezTo>
                  <a:cubicBezTo>
                    <a:pt x="3441266" y="546211"/>
                    <a:pt x="2803938" y="505016"/>
                    <a:pt x="2187956" y="465347"/>
                  </a:cubicBezTo>
                  <a:cubicBezTo>
                    <a:pt x="1683278" y="433307"/>
                    <a:pt x="1161828" y="398215"/>
                    <a:pt x="673921" y="251745"/>
                  </a:cubicBezTo>
                  <a:cubicBezTo>
                    <a:pt x="446740" y="183088"/>
                    <a:pt x="221083" y="94595"/>
                    <a:pt x="0" y="0"/>
                  </a:cubicBezTo>
                  <a:close/>
                </a:path>
              </a:pathLst>
            </a:custGeom>
            <a:solidFill>
              <a:srgbClr val="C4C6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16" name="Freeform: Shape 115"/>
            <p:cNvSpPr>
              <a:spLocks/>
            </p:cNvSpPr>
            <p:nvPr userDrawn="1"/>
          </p:nvSpPr>
          <p:spPr bwMode="auto">
            <a:xfrm>
              <a:off x="3630966" y="1"/>
              <a:ext cx="8562234" cy="3661559"/>
            </a:xfrm>
            <a:custGeom>
              <a:avLst/>
              <a:gdLst>
                <a:gd name="connsiteX0" fmla="*/ 0 w 8562234"/>
                <a:gd name="connsiteY0" fmla="*/ 0 h 3661559"/>
                <a:gd name="connsiteX1" fmla="*/ 39643 w 8562234"/>
                <a:gd name="connsiteY1" fmla="*/ 0 h 3661559"/>
                <a:gd name="connsiteX2" fmla="*/ 254626 w 8562234"/>
                <a:gd name="connsiteY2" fmla="*/ 74782 h 3661559"/>
                <a:gd name="connsiteX3" fmla="*/ 1773234 w 8562234"/>
                <a:gd name="connsiteY3" fmla="*/ 363226 h 3661559"/>
                <a:gd name="connsiteX4" fmla="*/ 3612031 w 8562234"/>
                <a:gd name="connsiteY4" fmla="*/ 772237 h 3661559"/>
                <a:gd name="connsiteX5" fmla="*/ 4834846 w 8562234"/>
                <a:gd name="connsiteY5" fmla="*/ 1672671 h 3661559"/>
                <a:gd name="connsiteX6" fmla="*/ 5886894 w 8562234"/>
                <a:gd name="connsiteY6" fmla="*/ 2492219 h 3661559"/>
                <a:gd name="connsiteX7" fmla="*/ 6937417 w 8562234"/>
                <a:gd name="connsiteY7" fmla="*/ 2957698 h 3661559"/>
                <a:gd name="connsiteX8" fmla="*/ 7414650 w 8562234"/>
                <a:gd name="connsiteY8" fmla="*/ 3154572 h 3661559"/>
                <a:gd name="connsiteX9" fmla="*/ 8444833 w 8562234"/>
                <a:gd name="connsiteY9" fmla="*/ 3595961 h 3661559"/>
                <a:gd name="connsiteX10" fmla="*/ 8562234 w 8562234"/>
                <a:gd name="connsiteY10" fmla="*/ 3646262 h 3661559"/>
                <a:gd name="connsiteX11" fmla="*/ 8562234 w 8562234"/>
                <a:gd name="connsiteY11" fmla="*/ 3661559 h 3661559"/>
                <a:gd name="connsiteX12" fmla="*/ 8508056 w 8562234"/>
                <a:gd name="connsiteY12" fmla="*/ 3638365 h 3661559"/>
                <a:gd name="connsiteX13" fmla="*/ 7410076 w 8562234"/>
                <a:gd name="connsiteY13" fmla="*/ 3168308 h 3661559"/>
                <a:gd name="connsiteX14" fmla="*/ 6932843 w 8562234"/>
                <a:gd name="connsiteY14" fmla="*/ 2971433 h 3661559"/>
                <a:gd name="connsiteX15" fmla="*/ 5879270 w 8562234"/>
                <a:gd name="connsiteY15" fmla="*/ 2504428 h 3661559"/>
                <a:gd name="connsiteX16" fmla="*/ 4825698 w 8562234"/>
                <a:gd name="connsiteY16" fmla="*/ 1683354 h 3661559"/>
                <a:gd name="connsiteX17" fmla="*/ 3605932 w 8562234"/>
                <a:gd name="connsiteY17" fmla="*/ 785972 h 3661559"/>
                <a:gd name="connsiteX18" fmla="*/ 1771710 w 8562234"/>
                <a:gd name="connsiteY18" fmla="*/ 378488 h 3661559"/>
                <a:gd name="connsiteX19" fmla="*/ 250052 w 8562234"/>
                <a:gd name="connsiteY19" fmla="*/ 88517 h 3661559"/>
                <a:gd name="connsiteX20" fmla="*/ 0 w 8562234"/>
                <a:gd name="connsiteY20" fmla="*/ 0 h 3661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8562234" h="3661559">
                  <a:moveTo>
                    <a:pt x="0" y="0"/>
                  </a:moveTo>
                  <a:cubicBezTo>
                    <a:pt x="0" y="0"/>
                    <a:pt x="0" y="0"/>
                    <a:pt x="39643" y="0"/>
                  </a:cubicBezTo>
                  <a:cubicBezTo>
                    <a:pt x="111304" y="25945"/>
                    <a:pt x="182965" y="51890"/>
                    <a:pt x="254626" y="74782"/>
                  </a:cubicBezTo>
                  <a:cubicBezTo>
                    <a:pt x="744057" y="233503"/>
                    <a:pt x="1267032" y="300654"/>
                    <a:pt x="1773234" y="363226"/>
                  </a:cubicBezTo>
                  <a:cubicBezTo>
                    <a:pt x="2390741" y="441060"/>
                    <a:pt x="3028068" y="521947"/>
                    <a:pt x="3612031" y="772237"/>
                  </a:cubicBezTo>
                  <a:cubicBezTo>
                    <a:pt x="4090789" y="978269"/>
                    <a:pt x="4468917" y="1330812"/>
                    <a:pt x="4834846" y="1672671"/>
                  </a:cubicBezTo>
                  <a:cubicBezTo>
                    <a:pt x="5155034" y="1973325"/>
                    <a:pt x="5487420" y="2283135"/>
                    <a:pt x="5886894" y="2492219"/>
                  </a:cubicBezTo>
                  <a:cubicBezTo>
                    <a:pt x="6222330" y="2669254"/>
                    <a:pt x="6586734" y="2815765"/>
                    <a:pt x="6937417" y="2957698"/>
                  </a:cubicBezTo>
                  <a:cubicBezTo>
                    <a:pt x="7095986" y="3021797"/>
                    <a:pt x="7257606" y="3087421"/>
                    <a:pt x="7414650" y="3154572"/>
                  </a:cubicBezTo>
                  <a:cubicBezTo>
                    <a:pt x="7414650" y="3154572"/>
                    <a:pt x="7414650" y="3154572"/>
                    <a:pt x="8444833" y="3595961"/>
                  </a:cubicBezTo>
                  <a:lnTo>
                    <a:pt x="8562234" y="3646262"/>
                  </a:lnTo>
                  <a:lnTo>
                    <a:pt x="8562234" y="3661559"/>
                  </a:lnTo>
                  <a:lnTo>
                    <a:pt x="8508056" y="3638365"/>
                  </a:lnTo>
                  <a:cubicBezTo>
                    <a:pt x="8351202" y="3571214"/>
                    <a:pt x="8037493" y="3436912"/>
                    <a:pt x="7410076" y="3168308"/>
                  </a:cubicBezTo>
                  <a:cubicBezTo>
                    <a:pt x="7253032" y="3099631"/>
                    <a:pt x="7089888" y="3034006"/>
                    <a:pt x="6932843" y="2971433"/>
                  </a:cubicBezTo>
                  <a:cubicBezTo>
                    <a:pt x="6580636" y="2827974"/>
                    <a:pt x="6216230" y="2681463"/>
                    <a:pt x="5879270" y="2504428"/>
                  </a:cubicBezTo>
                  <a:cubicBezTo>
                    <a:pt x="5479797" y="2293818"/>
                    <a:pt x="5147411" y="1984008"/>
                    <a:pt x="4825698" y="1683354"/>
                  </a:cubicBezTo>
                  <a:cubicBezTo>
                    <a:pt x="4459768" y="1343021"/>
                    <a:pt x="4081641" y="990478"/>
                    <a:pt x="3605932" y="785972"/>
                  </a:cubicBezTo>
                  <a:cubicBezTo>
                    <a:pt x="3025019" y="535682"/>
                    <a:pt x="2387691" y="456322"/>
                    <a:pt x="1771710" y="378488"/>
                  </a:cubicBezTo>
                  <a:cubicBezTo>
                    <a:pt x="1265507" y="314389"/>
                    <a:pt x="741008" y="247238"/>
                    <a:pt x="250052" y="88517"/>
                  </a:cubicBezTo>
                  <a:cubicBezTo>
                    <a:pt x="166193" y="61046"/>
                    <a:pt x="82335" y="30523"/>
                    <a:pt x="0" y="0"/>
                  </a:cubicBezTo>
                  <a:close/>
                </a:path>
              </a:pathLst>
            </a:custGeom>
            <a:solidFill>
              <a:srgbClr val="C4C5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18" name="Freeform: Shape 117"/>
            <p:cNvSpPr>
              <a:spLocks/>
            </p:cNvSpPr>
            <p:nvPr userDrawn="1"/>
          </p:nvSpPr>
          <p:spPr bwMode="auto">
            <a:xfrm>
              <a:off x="4188958" y="1"/>
              <a:ext cx="8004242" cy="3467965"/>
            </a:xfrm>
            <a:custGeom>
              <a:avLst/>
              <a:gdLst>
                <a:gd name="connsiteX0" fmla="*/ 0 w 8004242"/>
                <a:gd name="connsiteY0" fmla="*/ 0 h 3467965"/>
                <a:gd name="connsiteX1" fmla="*/ 50316 w 8004242"/>
                <a:gd name="connsiteY1" fmla="*/ 0 h 3467965"/>
                <a:gd name="connsiteX2" fmla="*/ 1299059 w 8004242"/>
                <a:gd name="connsiteY2" fmla="*/ 276214 h 3467965"/>
                <a:gd name="connsiteX3" fmla="*/ 3136342 w 8004242"/>
                <a:gd name="connsiteY3" fmla="*/ 761495 h 3467965"/>
                <a:gd name="connsiteX4" fmla="*/ 4346967 w 8004242"/>
                <a:gd name="connsiteY4" fmla="*/ 1579454 h 3467965"/>
                <a:gd name="connsiteX5" fmla="*/ 5402071 w 8004242"/>
                <a:gd name="connsiteY5" fmla="*/ 2325689 h 3467965"/>
                <a:gd name="connsiteX6" fmla="*/ 7582416 w 8004242"/>
                <a:gd name="connsiteY6" fmla="*/ 3279466 h 3467965"/>
                <a:gd name="connsiteX7" fmla="*/ 8004242 w 8004242"/>
                <a:gd name="connsiteY7" fmla="*/ 3452516 h 3467965"/>
                <a:gd name="connsiteX8" fmla="*/ 8004242 w 8004242"/>
                <a:gd name="connsiteY8" fmla="*/ 3467965 h 3467965"/>
                <a:gd name="connsiteX9" fmla="*/ 7576316 w 8004242"/>
                <a:gd name="connsiteY9" fmla="*/ 3293200 h 3467965"/>
                <a:gd name="connsiteX10" fmla="*/ 5394447 w 8004242"/>
                <a:gd name="connsiteY10" fmla="*/ 2337897 h 3467965"/>
                <a:gd name="connsiteX11" fmla="*/ 4337818 w 8004242"/>
                <a:gd name="connsiteY11" fmla="*/ 1591663 h 3467965"/>
                <a:gd name="connsiteX12" fmla="*/ 3130243 w 8004242"/>
                <a:gd name="connsiteY12" fmla="*/ 775230 h 3467965"/>
                <a:gd name="connsiteX13" fmla="*/ 1296009 w 8004242"/>
                <a:gd name="connsiteY13" fmla="*/ 289948 h 3467965"/>
                <a:gd name="connsiteX14" fmla="*/ 0 w 8004242"/>
                <a:gd name="connsiteY14" fmla="*/ 0 h 3467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004242" h="3467965">
                  <a:moveTo>
                    <a:pt x="0" y="0"/>
                  </a:moveTo>
                  <a:cubicBezTo>
                    <a:pt x="0" y="0"/>
                    <a:pt x="0" y="0"/>
                    <a:pt x="50316" y="0"/>
                  </a:cubicBezTo>
                  <a:cubicBezTo>
                    <a:pt x="460465" y="119031"/>
                    <a:pt x="885861" y="198386"/>
                    <a:pt x="1299059" y="276214"/>
                  </a:cubicBezTo>
                  <a:cubicBezTo>
                    <a:pt x="1913519" y="390667"/>
                    <a:pt x="2550851" y="509698"/>
                    <a:pt x="3136342" y="761495"/>
                  </a:cubicBezTo>
                  <a:cubicBezTo>
                    <a:pt x="3593757" y="958355"/>
                    <a:pt x="3976461" y="1274246"/>
                    <a:pt x="4346967" y="1579454"/>
                  </a:cubicBezTo>
                  <a:cubicBezTo>
                    <a:pt x="4673256" y="1849564"/>
                    <a:pt x="5011744" y="2130356"/>
                    <a:pt x="5402071" y="2325689"/>
                  </a:cubicBezTo>
                  <a:cubicBezTo>
                    <a:pt x="6104965" y="2679731"/>
                    <a:pt x="6856650" y="2984939"/>
                    <a:pt x="7582416" y="3279466"/>
                  </a:cubicBezTo>
                  <a:lnTo>
                    <a:pt x="8004242" y="3452516"/>
                  </a:lnTo>
                  <a:lnTo>
                    <a:pt x="8004242" y="3467965"/>
                  </a:lnTo>
                  <a:lnTo>
                    <a:pt x="7576316" y="3293200"/>
                  </a:lnTo>
                  <a:cubicBezTo>
                    <a:pt x="6850552" y="2998674"/>
                    <a:pt x="6100391" y="2693465"/>
                    <a:pt x="5394447" y="2337897"/>
                  </a:cubicBezTo>
                  <a:cubicBezTo>
                    <a:pt x="5004120" y="2142564"/>
                    <a:pt x="4665632" y="1861772"/>
                    <a:pt x="4337818" y="1591663"/>
                  </a:cubicBezTo>
                  <a:cubicBezTo>
                    <a:pt x="3968837" y="1286454"/>
                    <a:pt x="3586133" y="970563"/>
                    <a:pt x="3130243" y="775230"/>
                  </a:cubicBezTo>
                  <a:cubicBezTo>
                    <a:pt x="2546277" y="523433"/>
                    <a:pt x="1910470" y="405927"/>
                    <a:pt x="1296009" y="289948"/>
                  </a:cubicBezTo>
                  <a:cubicBezTo>
                    <a:pt x="867564" y="210594"/>
                    <a:pt x="425396" y="128188"/>
                    <a:pt x="0" y="0"/>
                  </a:cubicBezTo>
                  <a:close/>
                </a:path>
              </a:pathLst>
            </a:custGeom>
            <a:solidFill>
              <a:srgbClr val="C3C5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14" name="Freeform: Shape 113"/>
            <p:cNvSpPr>
              <a:spLocks/>
            </p:cNvSpPr>
            <p:nvPr userDrawn="1"/>
          </p:nvSpPr>
          <p:spPr bwMode="auto">
            <a:xfrm>
              <a:off x="4780622" y="1"/>
              <a:ext cx="7412579" cy="3266743"/>
            </a:xfrm>
            <a:custGeom>
              <a:avLst/>
              <a:gdLst>
                <a:gd name="connsiteX0" fmla="*/ 0 w 7412579"/>
                <a:gd name="connsiteY0" fmla="*/ 0 h 3266743"/>
                <a:gd name="connsiteX1" fmla="*/ 54890 w 7412579"/>
                <a:gd name="connsiteY1" fmla="*/ 0 h 3266743"/>
                <a:gd name="connsiteX2" fmla="*/ 792845 w 7412579"/>
                <a:gd name="connsiteY2" fmla="*/ 189200 h 3266743"/>
                <a:gd name="connsiteX3" fmla="*/ 2625536 w 7412579"/>
                <a:gd name="connsiteY3" fmla="*/ 749170 h 3266743"/>
                <a:gd name="connsiteX4" fmla="*/ 3822427 w 7412579"/>
                <a:gd name="connsiteY4" fmla="*/ 1484608 h 3266743"/>
                <a:gd name="connsiteX5" fmla="*/ 4882095 w 7412579"/>
                <a:gd name="connsiteY5" fmla="*/ 2159014 h 3266743"/>
                <a:gd name="connsiteX6" fmla="*/ 7057843 w 7412579"/>
                <a:gd name="connsiteY6" fmla="*/ 3103487 h 3266743"/>
                <a:gd name="connsiteX7" fmla="*/ 7412579 w 7412579"/>
                <a:gd name="connsiteY7" fmla="*/ 3250217 h 3266743"/>
                <a:gd name="connsiteX8" fmla="*/ 7412579 w 7412579"/>
                <a:gd name="connsiteY8" fmla="*/ 3266743 h 3266743"/>
                <a:gd name="connsiteX9" fmla="*/ 7053269 w 7412579"/>
                <a:gd name="connsiteY9" fmla="*/ 3117219 h 3266743"/>
                <a:gd name="connsiteX10" fmla="*/ 4875995 w 7412579"/>
                <a:gd name="connsiteY10" fmla="*/ 2171220 h 3266743"/>
                <a:gd name="connsiteX11" fmla="*/ 3814803 w 7412579"/>
                <a:gd name="connsiteY11" fmla="*/ 1496814 h 3266743"/>
                <a:gd name="connsiteX12" fmla="*/ 2620962 w 7412579"/>
                <a:gd name="connsiteY12" fmla="*/ 761377 h 3266743"/>
                <a:gd name="connsiteX13" fmla="*/ 789796 w 7412579"/>
                <a:gd name="connsiteY13" fmla="*/ 202932 h 3266743"/>
                <a:gd name="connsiteX14" fmla="*/ 0 w 7412579"/>
                <a:gd name="connsiteY14" fmla="*/ 0 h 3266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412579" h="3266743">
                  <a:moveTo>
                    <a:pt x="0" y="0"/>
                  </a:moveTo>
                  <a:cubicBezTo>
                    <a:pt x="0" y="0"/>
                    <a:pt x="0" y="0"/>
                    <a:pt x="54890" y="0"/>
                  </a:cubicBezTo>
                  <a:cubicBezTo>
                    <a:pt x="301891" y="67135"/>
                    <a:pt x="548893" y="128168"/>
                    <a:pt x="792845" y="189200"/>
                  </a:cubicBezTo>
                  <a:cubicBezTo>
                    <a:pt x="1404250" y="340254"/>
                    <a:pt x="2037001" y="495887"/>
                    <a:pt x="2625536" y="749170"/>
                  </a:cubicBezTo>
                  <a:cubicBezTo>
                    <a:pt x="3063126" y="936844"/>
                    <a:pt x="3448875" y="1214541"/>
                    <a:pt x="3822427" y="1484608"/>
                  </a:cubicBezTo>
                  <a:cubicBezTo>
                    <a:pt x="4156337" y="1725685"/>
                    <a:pt x="4502443" y="1975917"/>
                    <a:pt x="4882095" y="2159014"/>
                  </a:cubicBezTo>
                  <a:cubicBezTo>
                    <a:pt x="5592605" y="2500794"/>
                    <a:pt x="6338185" y="2807480"/>
                    <a:pt x="7057843" y="3103487"/>
                  </a:cubicBezTo>
                  <a:lnTo>
                    <a:pt x="7412579" y="3250217"/>
                  </a:lnTo>
                  <a:lnTo>
                    <a:pt x="7412579" y="3266743"/>
                  </a:lnTo>
                  <a:lnTo>
                    <a:pt x="7053269" y="3117219"/>
                  </a:lnTo>
                  <a:cubicBezTo>
                    <a:pt x="6332085" y="2821213"/>
                    <a:pt x="5586507" y="2513000"/>
                    <a:pt x="4875995" y="2171220"/>
                  </a:cubicBezTo>
                  <a:cubicBezTo>
                    <a:pt x="4494820" y="1988123"/>
                    <a:pt x="4148713" y="1737892"/>
                    <a:pt x="3814803" y="1496814"/>
                  </a:cubicBezTo>
                  <a:cubicBezTo>
                    <a:pt x="3441252" y="1226747"/>
                    <a:pt x="3055502" y="949051"/>
                    <a:pt x="2620962" y="761377"/>
                  </a:cubicBezTo>
                  <a:cubicBezTo>
                    <a:pt x="2030903" y="509619"/>
                    <a:pt x="1399676" y="353987"/>
                    <a:pt x="789796" y="202932"/>
                  </a:cubicBezTo>
                  <a:cubicBezTo>
                    <a:pt x="529072" y="138848"/>
                    <a:pt x="263774" y="73239"/>
                    <a:pt x="0" y="0"/>
                  </a:cubicBezTo>
                  <a:close/>
                </a:path>
              </a:pathLst>
            </a:custGeom>
            <a:solidFill>
              <a:srgbClr val="C3C4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12" name="Freeform: Shape 111"/>
            <p:cNvSpPr>
              <a:spLocks/>
            </p:cNvSpPr>
            <p:nvPr userDrawn="1"/>
          </p:nvSpPr>
          <p:spPr bwMode="auto">
            <a:xfrm>
              <a:off x="5279287" y="1"/>
              <a:ext cx="6913913" cy="3065889"/>
            </a:xfrm>
            <a:custGeom>
              <a:avLst/>
              <a:gdLst>
                <a:gd name="connsiteX0" fmla="*/ 0 w 6913913"/>
                <a:gd name="connsiteY0" fmla="*/ 0 h 3065889"/>
                <a:gd name="connsiteX1" fmla="*/ 50315 w 6913913"/>
                <a:gd name="connsiteY1" fmla="*/ 0 h 3065889"/>
                <a:gd name="connsiteX2" fmla="*/ 385745 w 6913913"/>
                <a:gd name="connsiteY2" fmla="*/ 102261 h 3065889"/>
                <a:gd name="connsiteX3" fmla="*/ 2204691 w 6913913"/>
                <a:gd name="connsiteY3" fmla="*/ 731090 h 3065889"/>
                <a:gd name="connsiteX4" fmla="*/ 3387845 w 6913913"/>
                <a:gd name="connsiteY4" fmla="*/ 1387393 h 3065889"/>
                <a:gd name="connsiteX5" fmla="*/ 4456647 w 6913913"/>
                <a:gd name="connsiteY5" fmla="*/ 1993328 h 3065889"/>
                <a:gd name="connsiteX6" fmla="*/ 6621696 w 6913913"/>
                <a:gd name="connsiteY6" fmla="*/ 2927414 h 3065889"/>
                <a:gd name="connsiteX7" fmla="*/ 6913913 w 6913913"/>
                <a:gd name="connsiteY7" fmla="*/ 3049393 h 3065889"/>
                <a:gd name="connsiteX8" fmla="*/ 6913913 w 6913913"/>
                <a:gd name="connsiteY8" fmla="*/ 3065889 h 3065889"/>
                <a:gd name="connsiteX9" fmla="*/ 6617122 w 6913913"/>
                <a:gd name="connsiteY9" fmla="*/ 2941151 h 3065889"/>
                <a:gd name="connsiteX10" fmla="*/ 4450549 w 6913913"/>
                <a:gd name="connsiteY10" fmla="*/ 2005538 h 3065889"/>
                <a:gd name="connsiteX11" fmla="*/ 3380221 w 6913913"/>
                <a:gd name="connsiteY11" fmla="*/ 1399603 h 3065889"/>
                <a:gd name="connsiteX12" fmla="*/ 2200117 w 6913913"/>
                <a:gd name="connsiteY12" fmla="*/ 744827 h 3065889"/>
                <a:gd name="connsiteX13" fmla="*/ 381171 w 6913913"/>
                <a:gd name="connsiteY13" fmla="*/ 117524 h 3065889"/>
                <a:gd name="connsiteX14" fmla="*/ 0 w 6913913"/>
                <a:gd name="connsiteY14" fmla="*/ 0 h 3065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913913" h="3065889">
                  <a:moveTo>
                    <a:pt x="0" y="0"/>
                  </a:moveTo>
                  <a:cubicBezTo>
                    <a:pt x="0" y="0"/>
                    <a:pt x="0" y="0"/>
                    <a:pt x="50315" y="0"/>
                  </a:cubicBezTo>
                  <a:cubicBezTo>
                    <a:pt x="163141" y="35105"/>
                    <a:pt x="274443" y="68683"/>
                    <a:pt x="385745" y="102261"/>
                  </a:cubicBezTo>
                  <a:cubicBezTo>
                    <a:pt x="989519" y="286942"/>
                    <a:pt x="1614639" y="477727"/>
                    <a:pt x="2204691" y="731090"/>
                  </a:cubicBezTo>
                  <a:cubicBezTo>
                    <a:pt x="2622454" y="911192"/>
                    <a:pt x="3011248" y="1152345"/>
                    <a:pt x="3387845" y="1387393"/>
                  </a:cubicBezTo>
                  <a:cubicBezTo>
                    <a:pt x="3729373" y="1601073"/>
                    <a:pt x="4083100" y="1820858"/>
                    <a:pt x="4456647" y="1993328"/>
                  </a:cubicBezTo>
                  <a:cubicBezTo>
                    <a:pt x="5170199" y="2319953"/>
                    <a:pt x="5908145" y="2629789"/>
                    <a:pt x="6621696" y="2927414"/>
                  </a:cubicBezTo>
                  <a:lnTo>
                    <a:pt x="6913913" y="3049393"/>
                  </a:lnTo>
                  <a:lnTo>
                    <a:pt x="6913913" y="3065889"/>
                  </a:lnTo>
                  <a:lnTo>
                    <a:pt x="6617122" y="2941151"/>
                  </a:lnTo>
                  <a:cubicBezTo>
                    <a:pt x="5902046" y="2641999"/>
                    <a:pt x="5164099" y="2333689"/>
                    <a:pt x="4450549" y="2005538"/>
                  </a:cubicBezTo>
                  <a:cubicBezTo>
                    <a:pt x="4075477" y="1834594"/>
                    <a:pt x="3721750" y="1613283"/>
                    <a:pt x="3380221" y="1399603"/>
                  </a:cubicBezTo>
                  <a:cubicBezTo>
                    <a:pt x="3005149" y="1166082"/>
                    <a:pt x="2616355" y="923402"/>
                    <a:pt x="2200117" y="744827"/>
                  </a:cubicBezTo>
                  <a:cubicBezTo>
                    <a:pt x="1608540" y="491464"/>
                    <a:pt x="984945" y="300678"/>
                    <a:pt x="381171" y="117524"/>
                  </a:cubicBezTo>
                  <a:cubicBezTo>
                    <a:pt x="254622" y="77841"/>
                    <a:pt x="128074" y="39683"/>
                    <a:pt x="0" y="0"/>
                  </a:cubicBezTo>
                  <a:close/>
                </a:path>
              </a:pathLst>
            </a:custGeom>
            <a:solidFill>
              <a:srgbClr val="C2C4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10" name="Freeform: Shape 109"/>
            <p:cNvSpPr>
              <a:spLocks/>
            </p:cNvSpPr>
            <p:nvPr userDrawn="1"/>
          </p:nvSpPr>
          <p:spPr bwMode="auto">
            <a:xfrm>
              <a:off x="5667316" y="1"/>
              <a:ext cx="6525884" cy="2863221"/>
            </a:xfrm>
            <a:custGeom>
              <a:avLst/>
              <a:gdLst>
                <a:gd name="connsiteX0" fmla="*/ 0 w 6525884"/>
                <a:gd name="connsiteY0" fmla="*/ 0 h 2863221"/>
                <a:gd name="connsiteX1" fmla="*/ 44221 w 6525884"/>
                <a:gd name="connsiteY1" fmla="*/ 0 h 2863221"/>
                <a:gd name="connsiteX2" fmla="*/ 109790 w 6525884"/>
                <a:gd name="connsiteY2" fmla="*/ 24416 h 2863221"/>
                <a:gd name="connsiteX3" fmla="*/ 1889300 w 6525884"/>
                <a:gd name="connsiteY3" fmla="*/ 708059 h 2863221"/>
                <a:gd name="connsiteX4" fmla="*/ 3051242 w 6525884"/>
                <a:gd name="connsiteY4" fmla="*/ 1281831 h 2863221"/>
                <a:gd name="connsiteX5" fmla="*/ 4141516 w 6525884"/>
                <a:gd name="connsiteY5" fmla="*/ 1825084 h 2863221"/>
                <a:gd name="connsiteX6" fmla="*/ 6273268 w 6525884"/>
                <a:gd name="connsiteY6" fmla="*/ 2739151 h 2863221"/>
                <a:gd name="connsiteX7" fmla="*/ 6525884 w 6525884"/>
                <a:gd name="connsiteY7" fmla="*/ 2846566 h 2863221"/>
                <a:gd name="connsiteX8" fmla="*/ 6525884 w 6525884"/>
                <a:gd name="connsiteY8" fmla="*/ 2863221 h 2863221"/>
                <a:gd name="connsiteX9" fmla="*/ 6267168 w 6525884"/>
                <a:gd name="connsiteY9" fmla="*/ 2752885 h 2863221"/>
                <a:gd name="connsiteX10" fmla="*/ 4135416 w 6525884"/>
                <a:gd name="connsiteY10" fmla="*/ 1838818 h 2863221"/>
                <a:gd name="connsiteX11" fmla="*/ 3045142 w 6525884"/>
                <a:gd name="connsiteY11" fmla="*/ 1295565 h 2863221"/>
                <a:gd name="connsiteX12" fmla="*/ 1883200 w 6525884"/>
                <a:gd name="connsiteY12" fmla="*/ 721793 h 2863221"/>
                <a:gd name="connsiteX13" fmla="*/ 105215 w 6525884"/>
                <a:gd name="connsiteY13" fmla="*/ 38150 h 2863221"/>
                <a:gd name="connsiteX14" fmla="*/ 0 w 6525884"/>
                <a:gd name="connsiteY14" fmla="*/ 0 h 2863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525884" h="2863221">
                  <a:moveTo>
                    <a:pt x="0" y="0"/>
                  </a:moveTo>
                  <a:cubicBezTo>
                    <a:pt x="0" y="0"/>
                    <a:pt x="0" y="0"/>
                    <a:pt x="44221" y="0"/>
                  </a:cubicBezTo>
                  <a:cubicBezTo>
                    <a:pt x="65569" y="7630"/>
                    <a:pt x="88442" y="15260"/>
                    <a:pt x="109790" y="24416"/>
                  </a:cubicBezTo>
                  <a:cubicBezTo>
                    <a:pt x="698385" y="238054"/>
                    <a:pt x="1305279" y="457797"/>
                    <a:pt x="1889300" y="708059"/>
                  </a:cubicBezTo>
                  <a:cubicBezTo>
                    <a:pt x="2288813" y="878970"/>
                    <a:pt x="2676127" y="1083453"/>
                    <a:pt x="3051242" y="1281831"/>
                  </a:cubicBezTo>
                  <a:cubicBezTo>
                    <a:pt x="3403484" y="1469528"/>
                    <a:pt x="3769450" y="1661803"/>
                    <a:pt x="4141516" y="1825084"/>
                  </a:cubicBezTo>
                  <a:cubicBezTo>
                    <a:pt x="4849050" y="2136385"/>
                    <a:pt x="5573358" y="2443109"/>
                    <a:pt x="6273268" y="2739151"/>
                  </a:cubicBezTo>
                  <a:lnTo>
                    <a:pt x="6525884" y="2846566"/>
                  </a:lnTo>
                  <a:lnTo>
                    <a:pt x="6525884" y="2863221"/>
                  </a:lnTo>
                  <a:lnTo>
                    <a:pt x="6267168" y="2752885"/>
                  </a:lnTo>
                  <a:cubicBezTo>
                    <a:pt x="5567258" y="2456843"/>
                    <a:pt x="4842950" y="2150119"/>
                    <a:pt x="4135416" y="1838818"/>
                  </a:cubicBezTo>
                  <a:cubicBezTo>
                    <a:pt x="3761826" y="1675537"/>
                    <a:pt x="3397385" y="1481736"/>
                    <a:pt x="3045142" y="1295565"/>
                  </a:cubicBezTo>
                  <a:cubicBezTo>
                    <a:pt x="2670027" y="1097187"/>
                    <a:pt x="2281188" y="892704"/>
                    <a:pt x="1883200" y="721793"/>
                  </a:cubicBezTo>
                  <a:cubicBezTo>
                    <a:pt x="1299180" y="471531"/>
                    <a:pt x="692286" y="251788"/>
                    <a:pt x="105215" y="38150"/>
                  </a:cubicBezTo>
                  <a:cubicBezTo>
                    <a:pt x="70144" y="25942"/>
                    <a:pt x="35072" y="12208"/>
                    <a:pt x="0" y="0"/>
                  </a:cubicBezTo>
                  <a:close/>
                </a:path>
              </a:pathLst>
            </a:custGeom>
            <a:solidFill>
              <a:srgbClr val="C2C3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51" name="Freeform 40"/>
            <p:cNvSpPr>
              <a:spLocks/>
            </p:cNvSpPr>
            <p:nvPr userDrawn="1"/>
          </p:nvSpPr>
          <p:spPr bwMode="auto">
            <a:xfrm>
              <a:off x="-792" y="4832724"/>
              <a:ext cx="5053996" cy="732765"/>
            </a:xfrm>
            <a:custGeom>
              <a:avLst/>
              <a:gdLst>
                <a:gd name="T0" fmla="*/ 2531 w 3314"/>
                <a:gd name="T1" fmla="*/ 341 h 480"/>
                <a:gd name="T2" fmla="*/ 2388 w 3314"/>
                <a:gd name="T3" fmla="*/ 357 h 480"/>
                <a:gd name="T4" fmla="*/ 2141 w 3314"/>
                <a:gd name="T5" fmla="*/ 386 h 480"/>
                <a:gd name="T6" fmla="*/ 1044 w 3314"/>
                <a:gd name="T7" fmla="*/ 413 h 480"/>
                <a:gd name="T8" fmla="*/ 290 w 3314"/>
                <a:gd name="T9" fmla="*/ 132 h 480"/>
                <a:gd name="T10" fmla="*/ 18 w 3314"/>
                <a:gd name="T11" fmla="*/ 8 h 480"/>
                <a:gd name="T12" fmla="*/ 0 w 3314"/>
                <a:gd name="T13" fmla="*/ 0 h 480"/>
                <a:gd name="T14" fmla="*/ 0 w 3314"/>
                <a:gd name="T15" fmla="*/ 4 h 480"/>
                <a:gd name="T16" fmla="*/ 17 w 3314"/>
                <a:gd name="T17" fmla="*/ 11 h 480"/>
                <a:gd name="T18" fmla="*/ 288 w 3314"/>
                <a:gd name="T19" fmla="*/ 135 h 480"/>
                <a:gd name="T20" fmla="*/ 1043 w 3314"/>
                <a:gd name="T21" fmla="*/ 416 h 480"/>
                <a:gd name="T22" fmla="*/ 2142 w 3314"/>
                <a:gd name="T23" fmla="*/ 390 h 480"/>
                <a:gd name="T24" fmla="*/ 2388 w 3314"/>
                <a:gd name="T25" fmla="*/ 361 h 480"/>
                <a:gd name="T26" fmla="*/ 2532 w 3314"/>
                <a:gd name="T27" fmla="*/ 345 h 480"/>
                <a:gd name="T28" fmla="*/ 3302 w 3314"/>
                <a:gd name="T29" fmla="*/ 315 h 480"/>
                <a:gd name="T30" fmla="*/ 3314 w 3314"/>
                <a:gd name="T31" fmla="*/ 313 h 480"/>
                <a:gd name="T32" fmla="*/ 2531 w 3314"/>
                <a:gd name="T33" fmla="*/ 341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14" h="480">
                  <a:moveTo>
                    <a:pt x="2531" y="341"/>
                  </a:moveTo>
                  <a:cubicBezTo>
                    <a:pt x="2481" y="347"/>
                    <a:pt x="2434" y="352"/>
                    <a:pt x="2388" y="357"/>
                  </a:cubicBezTo>
                  <a:cubicBezTo>
                    <a:pt x="2306" y="366"/>
                    <a:pt x="2222" y="376"/>
                    <a:pt x="2141" y="386"/>
                  </a:cubicBezTo>
                  <a:cubicBezTo>
                    <a:pt x="1778" y="431"/>
                    <a:pt x="1402" y="477"/>
                    <a:pt x="1044" y="413"/>
                  </a:cubicBezTo>
                  <a:cubicBezTo>
                    <a:pt x="788" y="367"/>
                    <a:pt x="535" y="247"/>
                    <a:pt x="290" y="132"/>
                  </a:cubicBezTo>
                  <a:cubicBezTo>
                    <a:pt x="196" y="88"/>
                    <a:pt x="107" y="46"/>
                    <a:pt x="18" y="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06" y="49"/>
                    <a:pt x="194" y="91"/>
                    <a:pt x="288" y="135"/>
                  </a:cubicBezTo>
                  <a:cubicBezTo>
                    <a:pt x="533" y="251"/>
                    <a:pt x="787" y="370"/>
                    <a:pt x="1043" y="416"/>
                  </a:cubicBezTo>
                  <a:cubicBezTo>
                    <a:pt x="1402" y="480"/>
                    <a:pt x="1778" y="434"/>
                    <a:pt x="2142" y="390"/>
                  </a:cubicBezTo>
                  <a:cubicBezTo>
                    <a:pt x="2223" y="380"/>
                    <a:pt x="2307" y="370"/>
                    <a:pt x="2388" y="361"/>
                  </a:cubicBezTo>
                  <a:cubicBezTo>
                    <a:pt x="2434" y="356"/>
                    <a:pt x="2482" y="351"/>
                    <a:pt x="2532" y="345"/>
                  </a:cubicBezTo>
                  <a:cubicBezTo>
                    <a:pt x="2781" y="315"/>
                    <a:pt x="3053" y="284"/>
                    <a:pt x="3302" y="315"/>
                  </a:cubicBezTo>
                  <a:cubicBezTo>
                    <a:pt x="3314" y="313"/>
                    <a:pt x="3314" y="313"/>
                    <a:pt x="3314" y="313"/>
                  </a:cubicBezTo>
                  <a:cubicBezTo>
                    <a:pt x="3062" y="279"/>
                    <a:pt x="2785" y="311"/>
                    <a:pt x="2531" y="341"/>
                  </a:cubicBezTo>
                  <a:close/>
                </a:path>
              </a:pathLst>
            </a:custGeom>
            <a:solidFill>
              <a:srgbClr val="D3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2" name="Freeform 41"/>
            <p:cNvSpPr>
              <a:spLocks/>
            </p:cNvSpPr>
            <p:nvPr userDrawn="1"/>
          </p:nvSpPr>
          <p:spPr bwMode="auto">
            <a:xfrm>
              <a:off x="-792" y="4632296"/>
              <a:ext cx="5714608" cy="755213"/>
            </a:xfrm>
            <a:custGeom>
              <a:avLst/>
              <a:gdLst>
                <a:gd name="T0" fmla="*/ 3707 w 3747"/>
                <a:gd name="T1" fmla="*/ 348 h 495"/>
                <a:gd name="T2" fmla="*/ 2619 w 3747"/>
                <a:gd name="T3" fmla="*/ 320 h 495"/>
                <a:gd name="T4" fmla="*/ 2467 w 3747"/>
                <a:gd name="T5" fmla="*/ 342 h 495"/>
                <a:gd name="T6" fmla="*/ 2211 w 3747"/>
                <a:gd name="T7" fmla="*/ 379 h 495"/>
                <a:gd name="T8" fmla="*/ 1093 w 3747"/>
                <a:gd name="T9" fmla="*/ 431 h 495"/>
                <a:gd name="T10" fmla="*/ 336 w 3747"/>
                <a:gd name="T11" fmla="*/ 152 h 495"/>
                <a:gd name="T12" fmla="*/ 66 w 3747"/>
                <a:gd name="T13" fmla="*/ 28 h 495"/>
                <a:gd name="T14" fmla="*/ 0 w 3747"/>
                <a:gd name="T15" fmla="*/ 0 h 495"/>
                <a:gd name="T16" fmla="*/ 0 w 3747"/>
                <a:gd name="T17" fmla="*/ 4 h 495"/>
                <a:gd name="T18" fmla="*/ 64 w 3747"/>
                <a:gd name="T19" fmla="*/ 31 h 495"/>
                <a:gd name="T20" fmla="*/ 334 w 3747"/>
                <a:gd name="T21" fmla="*/ 155 h 495"/>
                <a:gd name="T22" fmla="*/ 1092 w 3747"/>
                <a:gd name="T23" fmla="*/ 435 h 495"/>
                <a:gd name="T24" fmla="*/ 2212 w 3747"/>
                <a:gd name="T25" fmla="*/ 382 h 495"/>
                <a:gd name="T26" fmla="*/ 2468 w 3747"/>
                <a:gd name="T27" fmla="*/ 346 h 495"/>
                <a:gd name="T28" fmla="*/ 2620 w 3747"/>
                <a:gd name="T29" fmla="*/ 324 h 495"/>
                <a:gd name="T30" fmla="*/ 3705 w 3747"/>
                <a:gd name="T31" fmla="*/ 351 h 495"/>
                <a:gd name="T32" fmla="*/ 3741 w 3747"/>
                <a:gd name="T33" fmla="*/ 368 h 495"/>
                <a:gd name="T34" fmla="*/ 3747 w 3747"/>
                <a:gd name="T35" fmla="*/ 367 h 495"/>
                <a:gd name="T36" fmla="*/ 3707 w 3747"/>
                <a:gd name="T37" fmla="*/ 348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747" h="495">
                  <a:moveTo>
                    <a:pt x="3707" y="348"/>
                  </a:moveTo>
                  <a:cubicBezTo>
                    <a:pt x="3390" y="209"/>
                    <a:pt x="2962" y="271"/>
                    <a:pt x="2619" y="320"/>
                  </a:cubicBezTo>
                  <a:cubicBezTo>
                    <a:pt x="2566" y="328"/>
                    <a:pt x="2516" y="335"/>
                    <a:pt x="2467" y="342"/>
                  </a:cubicBezTo>
                  <a:cubicBezTo>
                    <a:pt x="2383" y="353"/>
                    <a:pt x="2296" y="366"/>
                    <a:pt x="2211" y="379"/>
                  </a:cubicBezTo>
                  <a:cubicBezTo>
                    <a:pt x="1841" y="434"/>
                    <a:pt x="1458" y="491"/>
                    <a:pt x="1093" y="431"/>
                  </a:cubicBezTo>
                  <a:cubicBezTo>
                    <a:pt x="837" y="389"/>
                    <a:pt x="582" y="268"/>
                    <a:pt x="336" y="152"/>
                  </a:cubicBezTo>
                  <a:cubicBezTo>
                    <a:pt x="242" y="107"/>
                    <a:pt x="154" y="66"/>
                    <a:pt x="66" y="2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64" y="31"/>
                    <a:pt x="64" y="31"/>
                    <a:pt x="64" y="31"/>
                  </a:cubicBezTo>
                  <a:cubicBezTo>
                    <a:pt x="153" y="69"/>
                    <a:pt x="241" y="111"/>
                    <a:pt x="334" y="155"/>
                  </a:cubicBezTo>
                  <a:cubicBezTo>
                    <a:pt x="580" y="272"/>
                    <a:pt x="835" y="392"/>
                    <a:pt x="1092" y="435"/>
                  </a:cubicBezTo>
                  <a:cubicBezTo>
                    <a:pt x="1458" y="495"/>
                    <a:pt x="1841" y="438"/>
                    <a:pt x="2212" y="382"/>
                  </a:cubicBezTo>
                  <a:cubicBezTo>
                    <a:pt x="2296" y="370"/>
                    <a:pt x="2384" y="357"/>
                    <a:pt x="2468" y="346"/>
                  </a:cubicBezTo>
                  <a:cubicBezTo>
                    <a:pt x="2517" y="339"/>
                    <a:pt x="2567" y="332"/>
                    <a:pt x="2620" y="324"/>
                  </a:cubicBezTo>
                  <a:cubicBezTo>
                    <a:pt x="2962" y="275"/>
                    <a:pt x="3389" y="213"/>
                    <a:pt x="3705" y="351"/>
                  </a:cubicBezTo>
                  <a:cubicBezTo>
                    <a:pt x="3717" y="357"/>
                    <a:pt x="3729" y="362"/>
                    <a:pt x="3741" y="368"/>
                  </a:cubicBezTo>
                  <a:cubicBezTo>
                    <a:pt x="3747" y="367"/>
                    <a:pt x="3747" y="367"/>
                    <a:pt x="3747" y="367"/>
                  </a:cubicBezTo>
                  <a:cubicBezTo>
                    <a:pt x="3734" y="361"/>
                    <a:pt x="3720" y="354"/>
                    <a:pt x="3707" y="348"/>
                  </a:cubicBezTo>
                  <a:close/>
                </a:path>
              </a:pathLst>
            </a:custGeom>
            <a:solidFill>
              <a:srgbClr val="D3D4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3" name="Freeform 42"/>
            <p:cNvSpPr>
              <a:spLocks/>
            </p:cNvSpPr>
            <p:nvPr userDrawn="1"/>
          </p:nvSpPr>
          <p:spPr bwMode="auto">
            <a:xfrm>
              <a:off x="-792" y="4433471"/>
              <a:ext cx="6110654" cy="780868"/>
            </a:xfrm>
            <a:custGeom>
              <a:avLst/>
              <a:gdLst>
                <a:gd name="T0" fmla="*/ 3801 w 4007"/>
                <a:gd name="T1" fmla="*/ 317 h 512"/>
                <a:gd name="T2" fmla="*/ 2697 w 4007"/>
                <a:gd name="T3" fmla="*/ 307 h 512"/>
                <a:gd name="T4" fmla="*/ 2542 w 4007"/>
                <a:gd name="T5" fmla="*/ 332 h 512"/>
                <a:gd name="T6" fmla="*/ 2277 w 4007"/>
                <a:gd name="T7" fmla="*/ 376 h 512"/>
                <a:gd name="T8" fmla="*/ 1141 w 4007"/>
                <a:gd name="T9" fmla="*/ 450 h 512"/>
                <a:gd name="T10" fmla="*/ 383 w 4007"/>
                <a:gd name="T11" fmla="*/ 172 h 512"/>
                <a:gd name="T12" fmla="*/ 113 w 4007"/>
                <a:gd name="T13" fmla="*/ 48 h 512"/>
                <a:gd name="T14" fmla="*/ 0 w 4007"/>
                <a:gd name="T15" fmla="*/ 0 h 512"/>
                <a:gd name="T16" fmla="*/ 0 w 4007"/>
                <a:gd name="T17" fmla="*/ 4 h 512"/>
                <a:gd name="T18" fmla="*/ 112 w 4007"/>
                <a:gd name="T19" fmla="*/ 52 h 512"/>
                <a:gd name="T20" fmla="*/ 381 w 4007"/>
                <a:gd name="T21" fmla="*/ 176 h 512"/>
                <a:gd name="T22" fmla="*/ 1140 w 4007"/>
                <a:gd name="T23" fmla="*/ 454 h 512"/>
                <a:gd name="T24" fmla="*/ 2277 w 4007"/>
                <a:gd name="T25" fmla="*/ 380 h 512"/>
                <a:gd name="T26" fmla="*/ 2542 w 4007"/>
                <a:gd name="T27" fmla="*/ 336 h 512"/>
                <a:gd name="T28" fmla="*/ 2698 w 4007"/>
                <a:gd name="T29" fmla="*/ 311 h 512"/>
                <a:gd name="T30" fmla="*/ 3799 w 4007"/>
                <a:gd name="T31" fmla="*/ 321 h 512"/>
                <a:gd name="T32" fmla="*/ 4002 w 4007"/>
                <a:gd name="T33" fmla="*/ 453 h 512"/>
                <a:gd name="T34" fmla="*/ 4007 w 4007"/>
                <a:gd name="T35" fmla="*/ 453 h 512"/>
                <a:gd name="T36" fmla="*/ 3801 w 4007"/>
                <a:gd name="T37" fmla="*/ 317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07" h="512">
                  <a:moveTo>
                    <a:pt x="3801" y="317"/>
                  </a:moveTo>
                  <a:cubicBezTo>
                    <a:pt x="3480" y="176"/>
                    <a:pt x="3046" y="249"/>
                    <a:pt x="2697" y="307"/>
                  </a:cubicBezTo>
                  <a:cubicBezTo>
                    <a:pt x="2643" y="316"/>
                    <a:pt x="2591" y="325"/>
                    <a:pt x="2542" y="332"/>
                  </a:cubicBezTo>
                  <a:cubicBezTo>
                    <a:pt x="2455" y="346"/>
                    <a:pt x="2364" y="361"/>
                    <a:pt x="2277" y="376"/>
                  </a:cubicBezTo>
                  <a:cubicBezTo>
                    <a:pt x="1901" y="441"/>
                    <a:pt x="1512" y="508"/>
                    <a:pt x="1141" y="450"/>
                  </a:cubicBezTo>
                  <a:cubicBezTo>
                    <a:pt x="885" y="410"/>
                    <a:pt x="630" y="289"/>
                    <a:pt x="383" y="172"/>
                  </a:cubicBezTo>
                  <a:cubicBezTo>
                    <a:pt x="289" y="128"/>
                    <a:pt x="201" y="86"/>
                    <a:pt x="113" y="4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12" y="52"/>
                    <a:pt x="112" y="52"/>
                    <a:pt x="112" y="52"/>
                  </a:cubicBezTo>
                  <a:cubicBezTo>
                    <a:pt x="200" y="89"/>
                    <a:pt x="288" y="131"/>
                    <a:pt x="381" y="176"/>
                  </a:cubicBezTo>
                  <a:cubicBezTo>
                    <a:pt x="628" y="293"/>
                    <a:pt x="884" y="414"/>
                    <a:pt x="1140" y="454"/>
                  </a:cubicBezTo>
                  <a:cubicBezTo>
                    <a:pt x="1512" y="512"/>
                    <a:pt x="1901" y="445"/>
                    <a:pt x="2277" y="380"/>
                  </a:cubicBezTo>
                  <a:cubicBezTo>
                    <a:pt x="2365" y="365"/>
                    <a:pt x="2455" y="350"/>
                    <a:pt x="2542" y="336"/>
                  </a:cubicBezTo>
                  <a:cubicBezTo>
                    <a:pt x="2592" y="329"/>
                    <a:pt x="2643" y="320"/>
                    <a:pt x="2698" y="311"/>
                  </a:cubicBezTo>
                  <a:cubicBezTo>
                    <a:pt x="3046" y="253"/>
                    <a:pt x="3479" y="180"/>
                    <a:pt x="3799" y="321"/>
                  </a:cubicBezTo>
                  <a:cubicBezTo>
                    <a:pt x="3877" y="355"/>
                    <a:pt x="3944" y="400"/>
                    <a:pt x="4002" y="453"/>
                  </a:cubicBezTo>
                  <a:cubicBezTo>
                    <a:pt x="4007" y="453"/>
                    <a:pt x="4007" y="453"/>
                    <a:pt x="4007" y="453"/>
                  </a:cubicBezTo>
                  <a:cubicBezTo>
                    <a:pt x="3945" y="396"/>
                    <a:pt x="3877" y="351"/>
                    <a:pt x="3801" y="317"/>
                  </a:cubicBezTo>
                  <a:close/>
                </a:path>
              </a:pathLst>
            </a:custGeom>
            <a:solidFill>
              <a:srgbClr val="D2D4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4" name="Freeform 43"/>
            <p:cNvSpPr>
              <a:spLocks/>
            </p:cNvSpPr>
            <p:nvPr userDrawn="1"/>
          </p:nvSpPr>
          <p:spPr bwMode="auto">
            <a:xfrm>
              <a:off x="-792" y="4233043"/>
              <a:ext cx="6388046" cy="841798"/>
            </a:xfrm>
            <a:custGeom>
              <a:avLst/>
              <a:gdLst>
                <a:gd name="T0" fmla="*/ 3883 w 4189"/>
                <a:gd name="T1" fmla="*/ 299 h 552"/>
                <a:gd name="T2" fmla="*/ 2764 w 4189"/>
                <a:gd name="T3" fmla="*/ 302 h 552"/>
                <a:gd name="T4" fmla="*/ 2609 w 4189"/>
                <a:gd name="T5" fmla="*/ 330 h 552"/>
                <a:gd name="T6" fmla="*/ 2337 w 4189"/>
                <a:gd name="T7" fmla="*/ 380 h 552"/>
                <a:gd name="T8" fmla="*/ 1188 w 4189"/>
                <a:gd name="T9" fmla="*/ 471 h 552"/>
                <a:gd name="T10" fmla="*/ 431 w 4189"/>
                <a:gd name="T11" fmla="*/ 193 h 552"/>
                <a:gd name="T12" fmla="*/ 160 w 4189"/>
                <a:gd name="T13" fmla="*/ 68 h 552"/>
                <a:gd name="T14" fmla="*/ 0 w 4189"/>
                <a:gd name="T15" fmla="*/ 0 h 552"/>
                <a:gd name="T16" fmla="*/ 0 w 4189"/>
                <a:gd name="T17" fmla="*/ 4 h 552"/>
                <a:gd name="T18" fmla="*/ 159 w 4189"/>
                <a:gd name="T19" fmla="*/ 72 h 552"/>
                <a:gd name="T20" fmla="*/ 430 w 4189"/>
                <a:gd name="T21" fmla="*/ 197 h 552"/>
                <a:gd name="T22" fmla="*/ 1187 w 4189"/>
                <a:gd name="T23" fmla="*/ 475 h 552"/>
                <a:gd name="T24" fmla="*/ 2338 w 4189"/>
                <a:gd name="T25" fmla="*/ 384 h 552"/>
                <a:gd name="T26" fmla="*/ 2610 w 4189"/>
                <a:gd name="T27" fmla="*/ 334 h 552"/>
                <a:gd name="T28" fmla="*/ 2765 w 4189"/>
                <a:gd name="T29" fmla="*/ 306 h 552"/>
                <a:gd name="T30" fmla="*/ 3881 w 4189"/>
                <a:gd name="T31" fmla="*/ 303 h 552"/>
                <a:gd name="T32" fmla="*/ 4183 w 4189"/>
                <a:gd name="T33" fmla="*/ 552 h 552"/>
                <a:gd name="T34" fmla="*/ 4189 w 4189"/>
                <a:gd name="T35" fmla="*/ 551 h 552"/>
                <a:gd name="T36" fmla="*/ 3883 w 4189"/>
                <a:gd name="T37" fmla="*/ 299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189" h="552">
                  <a:moveTo>
                    <a:pt x="3883" y="299"/>
                  </a:moveTo>
                  <a:cubicBezTo>
                    <a:pt x="3557" y="156"/>
                    <a:pt x="3118" y="237"/>
                    <a:pt x="2764" y="302"/>
                  </a:cubicBezTo>
                  <a:cubicBezTo>
                    <a:pt x="2710" y="312"/>
                    <a:pt x="2659" y="322"/>
                    <a:pt x="2609" y="330"/>
                  </a:cubicBezTo>
                  <a:cubicBezTo>
                    <a:pt x="2520" y="345"/>
                    <a:pt x="2427" y="363"/>
                    <a:pt x="2337" y="380"/>
                  </a:cubicBezTo>
                  <a:cubicBezTo>
                    <a:pt x="1956" y="453"/>
                    <a:pt x="1563" y="528"/>
                    <a:pt x="1188" y="471"/>
                  </a:cubicBezTo>
                  <a:cubicBezTo>
                    <a:pt x="933" y="432"/>
                    <a:pt x="678" y="310"/>
                    <a:pt x="431" y="193"/>
                  </a:cubicBezTo>
                  <a:cubicBezTo>
                    <a:pt x="338" y="148"/>
                    <a:pt x="249" y="106"/>
                    <a:pt x="160" y="6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59" y="72"/>
                    <a:pt x="159" y="72"/>
                    <a:pt x="159" y="72"/>
                  </a:cubicBezTo>
                  <a:cubicBezTo>
                    <a:pt x="247" y="110"/>
                    <a:pt x="336" y="152"/>
                    <a:pt x="430" y="197"/>
                  </a:cubicBezTo>
                  <a:cubicBezTo>
                    <a:pt x="676" y="314"/>
                    <a:pt x="932" y="436"/>
                    <a:pt x="1187" y="475"/>
                  </a:cubicBezTo>
                  <a:cubicBezTo>
                    <a:pt x="1563" y="532"/>
                    <a:pt x="1957" y="457"/>
                    <a:pt x="2338" y="384"/>
                  </a:cubicBezTo>
                  <a:cubicBezTo>
                    <a:pt x="2428" y="367"/>
                    <a:pt x="2521" y="350"/>
                    <a:pt x="2610" y="334"/>
                  </a:cubicBezTo>
                  <a:cubicBezTo>
                    <a:pt x="2660" y="326"/>
                    <a:pt x="2711" y="316"/>
                    <a:pt x="2765" y="306"/>
                  </a:cubicBezTo>
                  <a:cubicBezTo>
                    <a:pt x="3118" y="241"/>
                    <a:pt x="3556" y="161"/>
                    <a:pt x="3881" y="303"/>
                  </a:cubicBezTo>
                  <a:cubicBezTo>
                    <a:pt x="4012" y="360"/>
                    <a:pt x="4108" y="447"/>
                    <a:pt x="4183" y="552"/>
                  </a:cubicBezTo>
                  <a:cubicBezTo>
                    <a:pt x="4189" y="551"/>
                    <a:pt x="4189" y="551"/>
                    <a:pt x="4189" y="551"/>
                  </a:cubicBezTo>
                  <a:cubicBezTo>
                    <a:pt x="4106" y="436"/>
                    <a:pt x="4005" y="353"/>
                    <a:pt x="3883" y="299"/>
                  </a:cubicBezTo>
                  <a:close/>
                </a:path>
              </a:pathLst>
            </a:custGeom>
            <a:solidFill>
              <a:srgbClr val="D2D3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5" name="Freeform 44"/>
            <p:cNvSpPr>
              <a:spLocks/>
            </p:cNvSpPr>
            <p:nvPr userDrawn="1"/>
          </p:nvSpPr>
          <p:spPr bwMode="auto">
            <a:xfrm>
              <a:off x="-792" y="4032615"/>
              <a:ext cx="6590077" cy="1006952"/>
            </a:xfrm>
            <a:custGeom>
              <a:avLst/>
              <a:gdLst>
                <a:gd name="T0" fmla="*/ 3951 w 4322"/>
                <a:gd name="T1" fmla="*/ 296 h 660"/>
                <a:gd name="T2" fmla="*/ 2820 w 4322"/>
                <a:gd name="T3" fmla="*/ 308 h 660"/>
                <a:gd name="T4" fmla="*/ 2669 w 4322"/>
                <a:gd name="T5" fmla="*/ 336 h 660"/>
                <a:gd name="T6" fmla="*/ 2391 w 4322"/>
                <a:gd name="T7" fmla="*/ 391 h 660"/>
                <a:gd name="T8" fmla="*/ 1234 w 4322"/>
                <a:gd name="T9" fmla="*/ 493 h 660"/>
                <a:gd name="T10" fmla="*/ 482 w 4322"/>
                <a:gd name="T11" fmla="*/ 214 h 660"/>
                <a:gd name="T12" fmla="*/ 208 w 4322"/>
                <a:gd name="T13" fmla="*/ 88 h 660"/>
                <a:gd name="T14" fmla="*/ 0 w 4322"/>
                <a:gd name="T15" fmla="*/ 0 h 660"/>
                <a:gd name="T16" fmla="*/ 0 w 4322"/>
                <a:gd name="T17" fmla="*/ 4 h 660"/>
                <a:gd name="T18" fmla="*/ 206 w 4322"/>
                <a:gd name="T19" fmla="*/ 92 h 660"/>
                <a:gd name="T20" fmla="*/ 480 w 4322"/>
                <a:gd name="T21" fmla="*/ 218 h 660"/>
                <a:gd name="T22" fmla="*/ 1233 w 4322"/>
                <a:gd name="T23" fmla="*/ 497 h 660"/>
                <a:gd name="T24" fmla="*/ 2392 w 4322"/>
                <a:gd name="T25" fmla="*/ 396 h 660"/>
                <a:gd name="T26" fmla="*/ 2670 w 4322"/>
                <a:gd name="T27" fmla="*/ 341 h 660"/>
                <a:gd name="T28" fmla="*/ 2821 w 4322"/>
                <a:gd name="T29" fmla="*/ 312 h 660"/>
                <a:gd name="T30" fmla="*/ 3949 w 4322"/>
                <a:gd name="T31" fmla="*/ 300 h 660"/>
                <a:gd name="T32" fmla="*/ 4317 w 4322"/>
                <a:gd name="T33" fmla="*/ 660 h 660"/>
                <a:gd name="T34" fmla="*/ 4322 w 4322"/>
                <a:gd name="T35" fmla="*/ 659 h 660"/>
                <a:gd name="T36" fmla="*/ 3951 w 4322"/>
                <a:gd name="T37" fmla="*/ 296 h 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322" h="660">
                  <a:moveTo>
                    <a:pt x="3951" y="296"/>
                  </a:moveTo>
                  <a:cubicBezTo>
                    <a:pt x="3619" y="151"/>
                    <a:pt x="3176" y="238"/>
                    <a:pt x="2820" y="308"/>
                  </a:cubicBezTo>
                  <a:cubicBezTo>
                    <a:pt x="2767" y="318"/>
                    <a:pt x="2718" y="328"/>
                    <a:pt x="2669" y="336"/>
                  </a:cubicBezTo>
                  <a:cubicBezTo>
                    <a:pt x="2578" y="353"/>
                    <a:pt x="2487" y="372"/>
                    <a:pt x="2391" y="391"/>
                  </a:cubicBezTo>
                  <a:cubicBezTo>
                    <a:pt x="2008" y="470"/>
                    <a:pt x="1611" y="552"/>
                    <a:pt x="1234" y="493"/>
                  </a:cubicBezTo>
                  <a:cubicBezTo>
                    <a:pt x="981" y="453"/>
                    <a:pt x="727" y="332"/>
                    <a:pt x="482" y="214"/>
                  </a:cubicBezTo>
                  <a:cubicBezTo>
                    <a:pt x="387" y="169"/>
                    <a:pt x="297" y="126"/>
                    <a:pt x="208" y="8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06" y="92"/>
                    <a:pt x="206" y="92"/>
                    <a:pt x="206" y="92"/>
                  </a:cubicBezTo>
                  <a:cubicBezTo>
                    <a:pt x="295" y="130"/>
                    <a:pt x="385" y="173"/>
                    <a:pt x="480" y="218"/>
                  </a:cubicBezTo>
                  <a:cubicBezTo>
                    <a:pt x="725" y="336"/>
                    <a:pt x="979" y="457"/>
                    <a:pt x="1233" y="497"/>
                  </a:cubicBezTo>
                  <a:cubicBezTo>
                    <a:pt x="1611" y="556"/>
                    <a:pt x="2008" y="475"/>
                    <a:pt x="2392" y="396"/>
                  </a:cubicBezTo>
                  <a:cubicBezTo>
                    <a:pt x="2488" y="376"/>
                    <a:pt x="2579" y="357"/>
                    <a:pt x="2670" y="341"/>
                  </a:cubicBezTo>
                  <a:cubicBezTo>
                    <a:pt x="2718" y="332"/>
                    <a:pt x="2768" y="322"/>
                    <a:pt x="2821" y="312"/>
                  </a:cubicBezTo>
                  <a:cubicBezTo>
                    <a:pt x="3176" y="242"/>
                    <a:pt x="3618" y="156"/>
                    <a:pt x="3949" y="300"/>
                  </a:cubicBezTo>
                  <a:cubicBezTo>
                    <a:pt x="4124" y="377"/>
                    <a:pt x="4237" y="505"/>
                    <a:pt x="4317" y="660"/>
                  </a:cubicBezTo>
                  <a:cubicBezTo>
                    <a:pt x="4322" y="659"/>
                    <a:pt x="4322" y="659"/>
                    <a:pt x="4322" y="659"/>
                  </a:cubicBezTo>
                  <a:cubicBezTo>
                    <a:pt x="4232" y="485"/>
                    <a:pt x="4111" y="366"/>
                    <a:pt x="3951" y="296"/>
                  </a:cubicBezTo>
                  <a:close/>
                </a:path>
              </a:pathLst>
            </a:custGeom>
            <a:solidFill>
              <a:srgbClr val="D1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6" name="Freeform 45"/>
            <p:cNvSpPr>
              <a:spLocks/>
            </p:cNvSpPr>
            <p:nvPr userDrawn="1"/>
          </p:nvSpPr>
          <p:spPr bwMode="auto">
            <a:xfrm>
              <a:off x="-792" y="3832187"/>
              <a:ext cx="6752023" cy="1178518"/>
            </a:xfrm>
            <a:custGeom>
              <a:avLst/>
              <a:gdLst>
                <a:gd name="T0" fmla="*/ 4389 w 4428"/>
                <a:gd name="T1" fmla="*/ 681 h 773"/>
                <a:gd name="T2" fmla="*/ 4010 w 4428"/>
                <a:gd name="T3" fmla="*/ 297 h 773"/>
                <a:gd name="T4" fmla="*/ 2870 w 4428"/>
                <a:gd name="T5" fmla="*/ 316 h 773"/>
                <a:gd name="T6" fmla="*/ 2723 w 4428"/>
                <a:gd name="T7" fmla="*/ 346 h 773"/>
                <a:gd name="T8" fmla="*/ 2443 w 4428"/>
                <a:gd name="T9" fmla="*/ 405 h 773"/>
                <a:gd name="T10" fmla="*/ 1280 w 4428"/>
                <a:gd name="T11" fmla="*/ 515 h 773"/>
                <a:gd name="T12" fmla="*/ 531 w 4428"/>
                <a:gd name="T13" fmla="*/ 237 h 773"/>
                <a:gd name="T14" fmla="*/ 255 w 4428"/>
                <a:gd name="T15" fmla="*/ 109 h 773"/>
                <a:gd name="T16" fmla="*/ 0 w 4428"/>
                <a:gd name="T17" fmla="*/ 0 h 773"/>
                <a:gd name="T18" fmla="*/ 0 w 4428"/>
                <a:gd name="T19" fmla="*/ 5 h 773"/>
                <a:gd name="T20" fmla="*/ 253 w 4428"/>
                <a:gd name="T21" fmla="*/ 113 h 773"/>
                <a:gd name="T22" fmla="*/ 529 w 4428"/>
                <a:gd name="T23" fmla="*/ 241 h 773"/>
                <a:gd name="T24" fmla="*/ 1279 w 4428"/>
                <a:gd name="T25" fmla="*/ 519 h 773"/>
                <a:gd name="T26" fmla="*/ 2444 w 4428"/>
                <a:gd name="T27" fmla="*/ 409 h 773"/>
                <a:gd name="T28" fmla="*/ 2724 w 4428"/>
                <a:gd name="T29" fmla="*/ 350 h 773"/>
                <a:gd name="T30" fmla="*/ 2871 w 4428"/>
                <a:gd name="T31" fmla="*/ 320 h 773"/>
                <a:gd name="T32" fmla="*/ 4008 w 4428"/>
                <a:gd name="T33" fmla="*/ 301 h 773"/>
                <a:gd name="T34" fmla="*/ 4423 w 4428"/>
                <a:gd name="T35" fmla="*/ 773 h 773"/>
                <a:gd name="T36" fmla="*/ 4428 w 4428"/>
                <a:gd name="T37" fmla="*/ 772 h 773"/>
                <a:gd name="T38" fmla="*/ 4389 w 4428"/>
                <a:gd name="T39" fmla="*/ 681 h 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428" h="773">
                  <a:moveTo>
                    <a:pt x="4389" y="681"/>
                  </a:moveTo>
                  <a:cubicBezTo>
                    <a:pt x="4301" y="495"/>
                    <a:pt x="4177" y="370"/>
                    <a:pt x="4010" y="297"/>
                  </a:cubicBezTo>
                  <a:cubicBezTo>
                    <a:pt x="3673" y="150"/>
                    <a:pt x="3228" y="242"/>
                    <a:pt x="2870" y="316"/>
                  </a:cubicBezTo>
                  <a:cubicBezTo>
                    <a:pt x="2819" y="326"/>
                    <a:pt x="2770" y="336"/>
                    <a:pt x="2723" y="346"/>
                  </a:cubicBezTo>
                  <a:cubicBezTo>
                    <a:pt x="2631" y="363"/>
                    <a:pt x="2540" y="383"/>
                    <a:pt x="2443" y="405"/>
                  </a:cubicBezTo>
                  <a:cubicBezTo>
                    <a:pt x="2057" y="489"/>
                    <a:pt x="1658" y="576"/>
                    <a:pt x="1280" y="515"/>
                  </a:cubicBezTo>
                  <a:cubicBezTo>
                    <a:pt x="1028" y="475"/>
                    <a:pt x="776" y="354"/>
                    <a:pt x="531" y="237"/>
                  </a:cubicBezTo>
                  <a:cubicBezTo>
                    <a:pt x="436" y="191"/>
                    <a:pt x="345" y="148"/>
                    <a:pt x="255" y="10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253" y="113"/>
                    <a:pt x="253" y="113"/>
                    <a:pt x="253" y="113"/>
                  </a:cubicBezTo>
                  <a:cubicBezTo>
                    <a:pt x="343" y="152"/>
                    <a:pt x="434" y="195"/>
                    <a:pt x="529" y="241"/>
                  </a:cubicBezTo>
                  <a:cubicBezTo>
                    <a:pt x="774" y="358"/>
                    <a:pt x="1027" y="479"/>
                    <a:pt x="1279" y="519"/>
                  </a:cubicBezTo>
                  <a:cubicBezTo>
                    <a:pt x="1658" y="580"/>
                    <a:pt x="2057" y="493"/>
                    <a:pt x="2444" y="409"/>
                  </a:cubicBezTo>
                  <a:cubicBezTo>
                    <a:pt x="2541" y="388"/>
                    <a:pt x="2632" y="368"/>
                    <a:pt x="2724" y="350"/>
                  </a:cubicBezTo>
                  <a:cubicBezTo>
                    <a:pt x="2771" y="341"/>
                    <a:pt x="2820" y="331"/>
                    <a:pt x="2871" y="320"/>
                  </a:cubicBezTo>
                  <a:cubicBezTo>
                    <a:pt x="3228" y="247"/>
                    <a:pt x="3672" y="155"/>
                    <a:pt x="4008" y="301"/>
                  </a:cubicBezTo>
                  <a:cubicBezTo>
                    <a:pt x="4224" y="396"/>
                    <a:pt x="4344" y="569"/>
                    <a:pt x="4423" y="773"/>
                  </a:cubicBezTo>
                  <a:cubicBezTo>
                    <a:pt x="4428" y="772"/>
                    <a:pt x="4428" y="772"/>
                    <a:pt x="4428" y="772"/>
                  </a:cubicBezTo>
                  <a:cubicBezTo>
                    <a:pt x="4416" y="741"/>
                    <a:pt x="4403" y="710"/>
                    <a:pt x="4389" y="681"/>
                  </a:cubicBezTo>
                  <a:close/>
                </a:path>
              </a:pathLst>
            </a:custGeom>
            <a:solidFill>
              <a:srgbClr val="D1D2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7" name="Freeform 46"/>
            <p:cNvSpPr>
              <a:spLocks/>
            </p:cNvSpPr>
            <p:nvPr userDrawn="1"/>
          </p:nvSpPr>
          <p:spPr bwMode="auto">
            <a:xfrm>
              <a:off x="-792" y="3631758"/>
              <a:ext cx="6878694" cy="1356498"/>
            </a:xfrm>
            <a:custGeom>
              <a:avLst/>
              <a:gdLst>
                <a:gd name="T0" fmla="*/ 4069 w 4511"/>
                <a:gd name="T1" fmla="*/ 269 h 889"/>
                <a:gd name="T2" fmla="*/ 2931 w 4511"/>
                <a:gd name="T3" fmla="*/ 304 h 889"/>
                <a:gd name="T4" fmla="*/ 2777 w 4511"/>
                <a:gd name="T5" fmla="*/ 338 h 889"/>
                <a:gd name="T6" fmla="*/ 2497 w 4511"/>
                <a:gd name="T7" fmla="*/ 401 h 889"/>
                <a:gd name="T8" fmla="*/ 1330 w 4511"/>
                <a:gd name="T9" fmla="*/ 532 h 889"/>
                <a:gd name="T10" fmla="*/ 574 w 4511"/>
                <a:gd name="T11" fmla="*/ 255 h 889"/>
                <a:gd name="T12" fmla="*/ 303 w 4511"/>
                <a:gd name="T13" fmla="*/ 129 h 889"/>
                <a:gd name="T14" fmla="*/ 0 w 4511"/>
                <a:gd name="T15" fmla="*/ 0 h 889"/>
                <a:gd name="T16" fmla="*/ 0 w 4511"/>
                <a:gd name="T17" fmla="*/ 5 h 889"/>
                <a:gd name="T18" fmla="*/ 301 w 4511"/>
                <a:gd name="T19" fmla="*/ 134 h 889"/>
                <a:gd name="T20" fmla="*/ 572 w 4511"/>
                <a:gd name="T21" fmla="*/ 259 h 889"/>
                <a:gd name="T22" fmla="*/ 1330 w 4511"/>
                <a:gd name="T23" fmla="*/ 536 h 889"/>
                <a:gd name="T24" fmla="*/ 2498 w 4511"/>
                <a:gd name="T25" fmla="*/ 406 h 889"/>
                <a:gd name="T26" fmla="*/ 2778 w 4511"/>
                <a:gd name="T27" fmla="*/ 343 h 889"/>
                <a:gd name="T28" fmla="*/ 2932 w 4511"/>
                <a:gd name="T29" fmla="*/ 309 h 889"/>
                <a:gd name="T30" fmla="*/ 4067 w 4511"/>
                <a:gd name="T31" fmla="*/ 273 h 889"/>
                <a:gd name="T32" fmla="*/ 4507 w 4511"/>
                <a:gd name="T33" fmla="*/ 889 h 889"/>
                <a:gd name="T34" fmla="*/ 4511 w 4511"/>
                <a:gd name="T35" fmla="*/ 889 h 889"/>
                <a:gd name="T36" fmla="*/ 4069 w 4511"/>
                <a:gd name="T37" fmla="*/ 269 h 8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511" h="889">
                  <a:moveTo>
                    <a:pt x="4069" y="269"/>
                  </a:moveTo>
                  <a:cubicBezTo>
                    <a:pt x="3738" y="123"/>
                    <a:pt x="3290" y="224"/>
                    <a:pt x="2931" y="304"/>
                  </a:cubicBezTo>
                  <a:cubicBezTo>
                    <a:pt x="2877" y="316"/>
                    <a:pt x="2826" y="328"/>
                    <a:pt x="2777" y="338"/>
                  </a:cubicBezTo>
                  <a:cubicBezTo>
                    <a:pt x="2686" y="357"/>
                    <a:pt x="2594" y="379"/>
                    <a:pt x="2497" y="401"/>
                  </a:cubicBezTo>
                  <a:cubicBezTo>
                    <a:pt x="2111" y="492"/>
                    <a:pt x="1711" y="585"/>
                    <a:pt x="1330" y="532"/>
                  </a:cubicBezTo>
                  <a:cubicBezTo>
                    <a:pt x="1076" y="496"/>
                    <a:pt x="821" y="373"/>
                    <a:pt x="574" y="255"/>
                  </a:cubicBezTo>
                  <a:cubicBezTo>
                    <a:pt x="480" y="210"/>
                    <a:pt x="391" y="167"/>
                    <a:pt x="303" y="12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301" y="134"/>
                    <a:pt x="301" y="134"/>
                    <a:pt x="301" y="134"/>
                  </a:cubicBezTo>
                  <a:cubicBezTo>
                    <a:pt x="389" y="171"/>
                    <a:pt x="478" y="214"/>
                    <a:pt x="572" y="259"/>
                  </a:cubicBezTo>
                  <a:cubicBezTo>
                    <a:pt x="819" y="378"/>
                    <a:pt x="1075" y="500"/>
                    <a:pt x="1330" y="536"/>
                  </a:cubicBezTo>
                  <a:cubicBezTo>
                    <a:pt x="1712" y="590"/>
                    <a:pt x="2112" y="496"/>
                    <a:pt x="2498" y="406"/>
                  </a:cubicBezTo>
                  <a:cubicBezTo>
                    <a:pt x="2595" y="383"/>
                    <a:pt x="2687" y="362"/>
                    <a:pt x="2778" y="343"/>
                  </a:cubicBezTo>
                  <a:cubicBezTo>
                    <a:pt x="2827" y="332"/>
                    <a:pt x="2878" y="321"/>
                    <a:pt x="2932" y="309"/>
                  </a:cubicBezTo>
                  <a:cubicBezTo>
                    <a:pt x="3291" y="228"/>
                    <a:pt x="3737" y="128"/>
                    <a:pt x="4067" y="273"/>
                  </a:cubicBezTo>
                  <a:cubicBezTo>
                    <a:pt x="4312" y="380"/>
                    <a:pt x="4429" y="634"/>
                    <a:pt x="4507" y="889"/>
                  </a:cubicBezTo>
                  <a:cubicBezTo>
                    <a:pt x="4511" y="889"/>
                    <a:pt x="4511" y="889"/>
                    <a:pt x="4511" y="889"/>
                  </a:cubicBezTo>
                  <a:cubicBezTo>
                    <a:pt x="4433" y="632"/>
                    <a:pt x="4316" y="377"/>
                    <a:pt x="4069" y="269"/>
                  </a:cubicBez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8" name="Freeform 47"/>
            <p:cNvSpPr>
              <a:spLocks/>
            </p:cNvSpPr>
            <p:nvPr userDrawn="1"/>
          </p:nvSpPr>
          <p:spPr bwMode="auto">
            <a:xfrm>
              <a:off x="-792" y="3431331"/>
              <a:ext cx="6998951" cy="1537685"/>
            </a:xfrm>
            <a:custGeom>
              <a:avLst/>
              <a:gdLst>
                <a:gd name="T0" fmla="*/ 4455 w 4590"/>
                <a:gd name="T1" fmla="*/ 619 h 1007"/>
                <a:gd name="T2" fmla="*/ 4114 w 4590"/>
                <a:gd name="T3" fmla="*/ 255 h 1007"/>
                <a:gd name="T4" fmla="*/ 2978 w 4590"/>
                <a:gd name="T5" fmla="*/ 303 h 1007"/>
                <a:gd name="T6" fmla="*/ 2822 w 4590"/>
                <a:gd name="T7" fmla="*/ 339 h 1007"/>
                <a:gd name="T8" fmla="*/ 2545 w 4590"/>
                <a:gd name="T9" fmla="*/ 405 h 1007"/>
                <a:gd name="T10" fmla="*/ 1379 w 4590"/>
                <a:gd name="T11" fmla="*/ 549 h 1007"/>
                <a:gd name="T12" fmla="*/ 619 w 4590"/>
                <a:gd name="T13" fmla="*/ 274 h 1007"/>
                <a:gd name="T14" fmla="*/ 350 w 4590"/>
                <a:gd name="T15" fmla="*/ 150 h 1007"/>
                <a:gd name="T16" fmla="*/ 0 w 4590"/>
                <a:gd name="T17" fmla="*/ 0 h 1007"/>
                <a:gd name="T18" fmla="*/ 0 w 4590"/>
                <a:gd name="T19" fmla="*/ 5 h 1007"/>
                <a:gd name="T20" fmla="*/ 348 w 4590"/>
                <a:gd name="T21" fmla="*/ 154 h 1007"/>
                <a:gd name="T22" fmla="*/ 617 w 4590"/>
                <a:gd name="T23" fmla="*/ 278 h 1007"/>
                <a:gd name="T24" fmla="*/ 1379 w 4590"/>
                <a:gd name="T25" fmla="*/ 554 h 1007"/>
                <a:gd name="T26" fmla="*/ 2546 w 4590"/>
                <a:gd name="T27" fmla="*/ 410 h 1007"/>
                <a:gd name="T28" fmla="*/ 2823 w 4590"/>
                <a:gd name="T29" fmla="*/ 344 h 1007"/>
                <a:gd name="T30" fmla="*/ 2979 w 4590"/>
                <a:gd name="T31" fmla="*/ 307 h 1007"/>
                <a:gd name="T32" fmla="*/ 4112 w 4590"/>
                <a:gd name="T33" fmla="*/ 259 h 1007"/>
                <a:gd name="T34" fmla="*/ 4585 w 4590"/>
                <a:gd name="T35" fmla="*/ 1007 h 1007"/>
                <a:gd name="T36" fmla="*/ 4590 w 4590"/>
                <a:gd name="T37" fmla="*/ 1006 h 1007"/>
                <a:gd name="T38" fmla="*/ 4455 w 4590"/>
                <a:gd name="T39" fmla="*/ 619 h 10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590" h="1007">
                  <a:moveTo>
                    <a:pt x="4455" y="619"/>
                  </a:moveTo>
                  <a:cubicBezTo>
                    <a:pt x="4367" y="436"/>
                    <a:pt x="4255" y="317"/>
                    <a:pt x="4114" y="255"/>
                  </a:cubicBezTo>
                  <a:cubicBezTo>
                    <a:pt x="3785" y="110"/>
                    <a:pt x="3337" y="217"/>
                    <a:pt x="2978" y="303"/>
                  </a:cubicBezTo>
                  <a:cubicBezTo>
                    <a:pt x="2923" y="316"/>
                    <a:pt x="2872" y="328"/>
                    <a:pt x="2822" y="339"/>
                  </a:cubicBezTo>
                  <a:cubicBezTo>
                    <a:pt x="2731" y="359"/>
                    <a:pt x="2641" y="381"/>
                    <a:pt x="2545" y="405"/>
                  </a:cubicBezTo>
                  <a:cubicBezTo>
                    <a:pt x="2160" y="500"/>
                    <a:pt x="1761" y="598"/>
                    <a:pt x="1379" y="549"/>
                  </a:cubicBezTo>
                  <a:cubicBezTo>
                    <a:pt x="1124" y="517"/>
                    <a:pt x="867" y="393"/>
                    <a:pt x="619" y="274"/>
                  </a:cubicBezTo>
                  <a:cubicBezTo>
                    <a:pt x="525" y="229"/>
                    <a:pt x="437" y="187"/>
                    <a:pt x="350" y="15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348" y="154"/>
                    <a:pt x="348" y="154"/>
                    <a:pt x="348" y="154"/>
                  </a:cubicBezTo>
                  <a:cubicBezTo>
                    <a:pt x="435" y="191"/>
                    <a:pt x="523" y="234"/>
                    <a:pt x="617" y="278"/>
                  </a:cubicBezTo>
                  <a:cubicBezTo>
                    <a:pt x="865" y="398"/>
                    <a:pt x="1123" y="521"/>
                    <a:pt x="1379" y="554"/>
                  </a:cubicBezTo>
                  <a:cubicBezTo>
                    <a:pt x="1762" y="603"/>
                    <a:pt x="2160" y="505"/>
                    <a:pt x="2546" y="410"/>
                  </a:cubicBezTo>
                  <a:cubicBezTo>
                    <a:pt x="2642" y="386"/>
                    <a:pt x="2732" y="364"/>
                    <a:pt x="2823" y="344"/>
                  </a:cubicBezTo>
                  <a:cubicBezTo>
                    <a:pt x="2873" y="333"/>
                    <a:pt x="2924" y="320"/>
                    <a:pt x="2979" y="307"/>
                  </a:cubicBezTo>
                  <a:cubicBezTo>
                    <a:pt x="3338" y="222"/>
                    <a:pt x="3784" y="115"/>
                    <a:pt x="4112" y="259"/>
                  </a:cubicBezTo>
                  <a:cubicBezTo>
                    <a:pt x="4394" y="383"/>
                    <a:pt x="4506" y="711"/>
                    <a:pt x="4585" y="1007"/>
                  </a:cubicBezTo>
                  <a:cubicBezTo>
                    <a:pt x="4590" y="1006"/>
                    <a:pt x="4590" y="1006"/>
                    <a:pt x="4590" y="1006"/>
                  </a:cubicBezTo>
                  <a:cubicBezTo>
                    <a:pt x="4555" y="878"/>
                    <a:pt x="4514" y="742"/>
                    <a:pt x="4455" y="619"/>
                  </a:cubicBezTo>
                  <a:close/>
                </a:path>
              </a:pathLst>
            </a:custGeom>
            <a:solidFill>
              <a:srgbClr val="D0D1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9" name="Freeform 48"/>
            <p:cNvSpPr>
              <a:spLocks/>
            </p:cNvSpPr>
            <p:nvPr userDrawn="1"/>
          </p:nvSpPr>
          <p:spPr bwMode="auto">
            <a:xfrm>
              <a:off x="-792" y="3232506"/>
              <a:ext cx="7101570" cy="1717269"/>
            </a:xfrm>
            <a:custGeom>
              <a:avLst/>
              <a:gdLst>
                <a:gd name="T0" fmla="*/ 4653 w 4657"/>
                <a:gd name="T1" fmla="*/ 1112 h 1126"/>
                <a:gd name="T2" fmla="*/ 4486 w 4657"/>
                <a:gd name="T3" fmla="*/ 618 h 1126"/>
                <a:gd name="T4" fmla="*/ 4144 w 4657"/>
                <a:gd name="T5" fmla="*/ 253 h 1126"/>
                <a:gd name="T6" fmla="*/ 3013 w 4657"/>
                <a:gd name="T7" fmla="*/ 309 h 1126"/>
                <a:gd name="T8" fmla="*/ 2860 w 4657"/>
                <a:gd name="T9" fmla="*/ 347 h 1126"/>
                <a:gd name="T10" fmla="*/ 2586 w 4657"/>
                <a:gd name="T11" fmla="*/ 415 h 1126"/>
                <a:gd name="T12" fmla="*/ 1427 w 4657"/>
                <a:gd name="T13" fmla="*/ 568 h 1126"/>
                <a:gd name="T14" fmla="*/ 665 w 4657"/>
                <a:gd name="T15" fmla="*/ 294 h 1126"/>
                <a:gd name="T16" fmla="*/ 397 w 4657"/>
                <a:gd name="T17" fmla="*/ 170 h 1126"/>
                <a:gd name="T18" fmla="*/ 0 w 4657"/>
                <a:gd name="T19" fmla="*/ 0 h 1126"/>
                <a:gd name="T20" fmla="*/ 0 w 4657"/>
                <a:gd name="T21" fmla="*/ 5 h 1126"/>
                <a:gd name="T22" fmla="*/ 395 w 4657"/>
                <a:gd name="T23" fmla="*/ 174 h 1126"/>
                <a:gd name="T24" fmla="*/ 663 w 4657"/>
                <a:gd name="T25" fmla="*/ 298 h 1126"/>
                <a:gd name="T26" fmla="*/ 1426 w 4657"/>
                <a:gd name="T27" fmla="*/ 573 h 1126"/>
                <a:gd name="T28" fmla="*/ 2587 w 4657"/>
                <a:gd name="T29" fmla="*/ 420 h 1126"/>
                <a:gd name="T30" fmla="*/ 2861 w 4657"/>
                <a:gd name="T31" fmla="*/ 352 h 1126"/>
                <a:gd name="T32" fmla="*/ 3014 w 4657"/>
                <a:gd name="T33" fmla="*/ 314 h 1126"/>
                <a:gd name="T34" fmla="*/ 4142 w 4657"/>
                <a:gd name="T35" fmla="*/ 258 h 1126"/>
                <a:gd name="T36" fmla="*/ 4648 w 4657"/>
                <a:gd name="T37" fmla="*/ 1114 h 1126"/>
                <a:gd name="T38" fmla="*/ 4652 w 4657"/>
                <a:gd name="T39" fmla="*/ 1126 h 1126"/>
                <a:gd name="T40" fmla="*/ 4657 w 4657"/>
                <a:gd name="T41" fmla="*/ 1125 h 1126"/>
                <a:gd name="T42" fmla="*/ 4653 w 4657"/>
                <a:gd name="T43" fmla="*/ 1112 h 1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657" h="1126">
                  <a:moveTo>
                    <a:pt x="4653" y="1112"/>
                  </a:moveTo>
                  <a:cubicBezTo>
                    <a:pt x="4611" y="955"/>
                    <a:pt x="4564" y="777"/>
                    <a:pt x="4486" y="618"/>
                  </a:cubicBezTo>
                  <a:cubicBezTo>
                    <a:pt x="4397" y="435"/>
                    <a:pt x="4285" y="315"/>
                    <a:pt x="4144" y="253"/>
                  </a:cubicBezTo>
                  <a:cubicBezTo>
                    <a:pt x="3817" y="109"/>
                    <a:pt x="3371" y="220"/>
                    <a:pt x="3013" y="309"/>
                  </a:cubicBezTo>
                  <a:cubicBezTo>
                    <a:pt x="2959" y="323"/>
                    <a:pt x="2908" y="335"/>
                    <a:pt x="2860" y="347"/>
                  </a:cubicBezTo>
                  <a:cubicBezTo>
                    <a:pt x="2770" y="368"/>
                    <a:pt x="2681" y="391"/>
                    <a:pt x="2586" y="415"/>
                  </a:cubicBezTo>
                  <a:cubicBezTo>
                    <a:pt x="2203" y="513"/>
                    <a:pt x="1808" y="614"/>
                    <a:pt x="1427" y="568"/>
                  </a:cubicBezTo>
                  <a:cubicBezTo>
                    <a:pt x="1172" y="537"/>
                    <a:pt x="914" y="413"/>
                    <a:pt x="665" y="294"/>
                  </a:cubicBezTo>
                  <a:cubicBezTo>
                    <a:pt x="572" y="249"/>
                    <a:pt x="484" y="207"/>
                    <a:pt x="397" y="17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395" y="174"/>
                    <a:pt x="395" y="174"/>
                    <a:pt x="395" y="174"/>
                  </a:cubicBezTo>
                  <a:cubicBezTo>
                    <a:pt x="482" y="211"/>
                    <a:pt x="570" y="254"/>
                    <a:pt x="663" y="298"/>
                  </a:cubicBezTo>
                  <a:cubicBezTo>
                    <a:pt x="912" y="418"/>
                    <a:pt x="1170" y="542"/>
                    <a:pt x="1426" y="573"/>
                  </a:cubicBezTo>
                  <a:cubicBezTo>
                    <a:pt x="1808" y="620"/>
                    <a:pt x="2204" y="518"/>
                    <a:pt x="2587" y="420"/>
                  </a:cubicBezTo>
                  <a:cubicBezTo>
                    <a:pt x="2682" y="395"/>
                    <a:pt x="2771" y="372"/>
                    <a:pt x="2861" y="352"/>
                  </a:cubicBezTo>
                  <a:cubicBezTo>
                    <a:pt x="2909" y="340"/>
                    <a:pt x="2960" y="328"/>
                    <a:pt x="3014" y="314"/>
                  </a:cubicBezTo>
                  <a:cubicBezTo>
                    <a:pt x="3372" y="225"/>
                    <a:pt x="3817" y="115"/>
                    <a:pt x="4142" y="258"/>
                  </a:cubicBezTo>
                  <a:cubicBezTo>
                    <a:pt x="4457" y="396"/>
                    <a:pt x="4567" y="811"/>
                    <a:pt x="4648" y="1114"/>
                  </a:cubicBezTo>
                  <a:cubicBezTo>
                    <a:pt x="4649" y="1118"/>
                    <a:pt x="4650" y="1122"/>
                    <a:pt x="4652" y="1126"/>
                  </a:cubicBezTo>
                  <a:cubicBezTo>
                    <a:pt x="4657" y="1125"/>
                    <a:pt x="4657" y="1125"/>
                    <a:pt x="4657" y="1125"/>
                  </a:cubicBezTo>
                  <a:cubicBezTo>
                    <a:pt x="4655" y="1121"/>
                    <a:pt x="4654" y="1117"/>
                    <a:pt x="4653" y="1112"/>
                  </a:cubicBezTo>
                  <a:close/>
                </a:path>
              </a:pathLst>
            </a:custGeom>
            <a:solidFill>
              <a:srgbClr val="CFD1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0" name="Freeform 49"/>
            <p:cNvSpPr>
              <a:spLocks/>
            </p:cNvSpPr>
            <p:nvPr userDrawn="1"/>
          </p:nvSpPr>
          <p:spPr bwMode="auto">
            <a:xfrm>
              <a:off x="-792" y="3032077"/>
              <a:ext cx="7194569" cy="1901662"/>
            </a:xfrm>
            <a:custGeom>
              <a:avLst/>
              <a:gdLst>
                <a:gd name="T0" fmla="*/ 4699 w 4718"/>
                <a:gd name="T1" fmla="*/ 1179 h 1246"/>
                <a:gd name="T2" fmla="*/ 4683 w 4718"/>
                <a:gd name="T3" fmla="*/ 1122 h 1246"/>
                <a:gd name="T4" fmla="*/ 4509 w 4718"/>
                <a:gd name="T5" fmla="*/ 628 h 1246"/>
                <a:gd name="T6" fmla="*/ 4163 w 4718"/>
                <a:gd name="T7" fmla="*/ 263 h 1246"/>
                <a:gd name="T8" fmla="*/ 3038 w 4718"/>
                <a:gd name="T9" fmla="*/ 324 h 1246"/>
                <a:gd name="T10" fmla="*/ 2891 w 4718"/>
                <a:gd name="T11" fmla="*/ 361 h 1246"/>
                <a:gd name="T12" fmla="*/ 2622 w 4718"/>
                <a:gd name="T13" fmla="*/ 430 h 1246"/>
                <a:gd name="T14" fmla="*/ 1474 w 4718"/>
                <a:gd name="T15" fmla="*/ 588 h 1246"/>
                <a:gd name="T16" fmla="*/ 712 w 4718"/>
                <a:gd name="T17" fmla="*/ 314 h 1246"/>
                <a:gd name="T18" fmla="*/ 445 w 4718"/>
                <a:gd name="T19" fmla="*/ 190 h 1246"/>
                <a:gd name="T20" fmla="*/ 0 w 4718"/>
                <a:gd name="T21" fmla="*/ 0 h 1246"/>
                <a:gd name="T22" fmla="*/ 0 w 4718"/>
                <a:gd name="T23" fmla="*/ 5 h 1246"/>
                <a:gd name="T24" fmla="*/ 443 w 4718"/>
                <a:gd name="T25" fmla="*/ 195 h 1246"/>
                <a:gd name="T26" fmla="*/ 710 w 4718"/>
                <a:gd name="T27" fmla="*/ 319 h 1246"/>
                <a:gd name="T28" fmla="*/ 1473 w 4718"/>
                <a:gd name="T29" fmla="*/ 593 h 1246"/>
                <a:gd name="T30" fmla="*/ 2623 w 4718"/>
                <a:gd name="T31" fmla="*/ 435 h 1246"/>
                <a:gd name="T32" fmla="*/ 2892 w 4718"/>
                <a:gd name="T33" fmla="*/ 366 h 1246"/>
                <a:gd name="T34" fmla="*/ 3039 w 4718"/>
                <a:gd name="T35" fmla="*/ 329 h 1246"/>
                <a:gd name="T36" fmla="*/ 4161 w 4718"/>
                <a:gd name="T37" fmla="*/ 267 h 1246"/>
                <a:gd name="T38" fmla="*/ 4678 w 4718"/>
                <a:gd name="T39" fmla="*/ 1124 h 1246"/>
                <a:gd name="T40" fmla="*/ 4694 w 4718"/>
                <a:gd name="T41" fmla="*/ 1181 h 1246"/>
                <a:gd name="T42" fmla="*/ 4712 w 4718"/>
                <a:gd name="T43" fmla="*/ 1246 h 1246"/>
                <a:gd name="T44" fmla="*/ 4718 w 4718"/>
                <a:gd name="T45" fmla="*/ 1245 h 1246"/>
                <a:gd name="T46" fmla="*/ 4699 w 4718"/>
                <a:gd name="T47" fmla="*/ 1179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718" h="1246">
                  <a:moveTo>
                    <a:pt x="4699" y="1179"/>
                  </a:moveTo>
                  <a:cubicBezTo>
                    <a:pt x="4694" y="1161"/>
                    <a:pt x="4689" y="1142"/>
                    <a:pt x="4683" y="1122"/>
                  </a:cubicBezTo>
                  <a:cubicBezTo>
                    <a:pt x="4639" y="965"/>
                    <a:pt x="4588" y="786"/>
                    <a:pt x="4509" y="628"/>
                  </a:cubicBezTo>
                  <a:cubicBezTo>
                    <a:pt x="4417" y="444"/>
                    <a:pt x="4304" y="324"/>
                    <a:pt x="4163" y="263"/>
                  </a:cubicBezTo>
                  <a:cubicBezTo>
                    <a:pt x="3837" y="119"/>
                    <a:pt x="3394" y="232"/>
                    <a:pt x="3038" y="324"/>
                  </a:cubicBezTo>
                  <a:cubicBezTo>
                    <a:pt x="2986" y="337"/>
                    <a:pt x="2937" y="349"/>
                    <a:pt x="2891" y="361"/>
                  </a:cubicBezTo>
                  <a:cubicBezTo>
                    <a:pt x="2803" y="382"/>
                    <a:pt x="2715" y="405"/>
                    <a:pt x="2622" y="430"/>
                  </a:cubicBezTo>
                  <a:cubicBezTo>
                    <a:pt x="2243" y="530"/>
                    <a:pt x="1851" y="633"/>
                    <a:pt x="1474" y="588"/>
                  </a:cubicBezTo>
                  <a:cubicBezTo>
                    <a:pt x="1219" y="558"/>
                    <a:pt x="961" y="434"/>
                    <a:pt x="712" y="314"/>
                  </a:cubicBezTo>
                  <a:cubicBezTo>
                    <a:pt x="619" y="269"/>
                    <a:pt x="532" y="227"/>
                    <a:pt x="445" y="19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443" y="195"/>
                    <a:pt x="443" y="195"/>
                    <a:pt x="443" y="195"/>
                  </a:cubicBezTo>
                  <a:cubicBezTo>
                    <a:pt x="530" y="232"/>
                    <a:pt x="617" y="274"/>
                    <a:pt x="710" y="319"/>
                  </a:cubicBezTo>
                  <a:cubicBezTo>
                    <a:pt x="960" y="439"/>
                    <a:pt x="1217" y="563"/>
                    <a:pt x="1473" y="593"/>
                  </a:cubicBezTo>
                  <a:cubicBezTo>
                    <a:pt x="1852" y="639"/>
                    <a:pt x="2244" y="535"/>
                    <a:pt x="2623" y="435"/>
                  </a:cubicBezTo>
                  <a:cubicBezTo>
                    <a:pt x="2716" y="410"/>
                    <a:pt x="2804" y="387"/>
                    <a:pt x="2892" y="366"/>
                  </a:cubicBezTo>
                  <a:cubicBezTo>
                    <a:pt x="2939" y="354"/>
                    <a:pt x="2988" y="342"/>
                    <a:pt x="3039" y="329"/>
                  </a:cubicBezTo>
                  <a:cubicBezTo>
                    <a:pt x="3394" y="238"/>
                    <a:pt x="3837" y="125"/>
                    <a:pt x="4161" y="267"/>
                  </a:cubicBezTo>
                  <a:cubicBezTo>
                    <a:pt x="4476" y="406"/>
                    <a:pt x="4588" y="804"/>
                    <a:pt x="4678" y="1124"/>
                  </a:cubicBezTo>
                  <a:cubicBezTo>
                    <a:pt x="4684" y="1143"/>
                    <a:pt x="4689" y="1162"/>
                    <a:pt x="4694" y="1181"/>
                  </a:cubicBezTo>
                  <a:cubicBezTo>
                    <a:pt x="4700" y="1202"/>
                    <a:pt x="4706" y="1224"/>
                    <a:pt x="4712" y="1246"/>
                  </a:cubicBezTo>
                  <a:cubicBezTo>
                    <a:pt x="4718" y="1245"/>
                    <a:pt x="4718" y="1245"/>
                    <a:pt x="4718" y="1245"/>
                  </a:cubicBezTo>
                  <a:cubicBezTo>
                    <a:pt x="4711" y="1223"/>
                    <a:pt x="4705" y="1201"/>
                    <a:pt x="4699" y="1179"/>
                  </a:cubicBezTo>
                  <a:close/>
                </a:path>
              </a:pathLst>
            </a:custGeom>
            <a:solidFill>
              <a:srgbClr val="CFD0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1" name="Freeform 50"/>
            <p:cNvSpPr>
              <a:spLocks/>
            </p:cNvSpPr>
            <p:nvPr userDrawn="1"/>
          </p:nvSpPr>
          <p:spPr bwMode="auto">
            <a:xfrm>
              <a:off x="-792" y="2831650"/>
              <a:ext cx="7281154" cy="2086056"/>
            </a:xfrm>
            <a:custGeom>
              <a:avLst/>
              <a:gdLst>
                <a:gd name="T0" fmla="*/ 4769 w 4775"/>
                <a:gd name="T1" fmla="*/ 1346 h 1367"/>
                <a:gd name="T2" fmla="*/ 4726 w 4775"/>
                <a:gd name="T3" fmla="*/ 1198 h 1367"/>
                <a:gd name="T4" fmla="*/ 4708 w 4775"/>
                <a:gd name="T5" fmla="*/ 1139 h 1367"/>
                <a:gd name="T6" fmla="*/ 4173 w 4775"/>
                <a:gd name="T7" fmla="*/ 281 h 1367"/>
                <a:gd name="T8" fmla="*/ 3055 w 4775"/>
                <a:gd name="T9" fmla="*/ 344 h 1367"/>
                <a:gd name="T10" fmla="*/ 2916 w 4775"/>
                <a:gd name="T11" fmla="*/ 379 h 1367"/>
                <a:gd name="T12" fmla="*/ 2654 w 4775"/>
                <a:gd name="T13" fmla="*/ 448 h 1367"/>
                <a:gd name="T14" fmla="*/ 1520 w 4775"/>
                <a:gd name="T15" fmla="*/ 609 h 1367"/>
                <a:gd name="T16" fmla="*/ 761 w 4775"/>
                <a:gd name="T17" fmla="*/ 334 h 1367"/>
                <a:gd name="T18" fmla="*/ 492 w 4775"/>
                <a:gd name="T19" fmla="*/ 210 h 1367"/>
                <a:gd name="T20" fmla="*/ 0 w 4775"/>
                <a:gd name="T21" fmla="*/ 0 h 1367"/>
                <a:gd name="T22" fmla="*/ 0 w 4775"/>
                <a:gd name="T23" fmla="*/ 6 h 1367"/>
                <a:gd name="T24" fmla="*/ 490 w 4775"/>
                <a:gd name="T25" fmla="*/ 215 h 1367"/>
                <a:gd name="T26" fmla="*/ 758 w 4775"/>
                <a:gd name="T27" fmla="*/ 339 h 1367"/>
                <a:gd name="T28" fmla="*/ 1519 w 4775"/>
                <a:gd name="T29" fmla="*/ 614 h 1367"/>
                <a:gd name="T30" fmla="*/ 2655 w 4775"/>
                <a:gd name="T31" fmla="*/ 454 h 1367"/>
                <a:gd name="T32" fmla="*/ 2918 w 4775"/>
                <a:gd name="T33" fmla="*/ 385 h 1367"/>
                <a:gd name="T34" fmla="*/ 3057 w 4775"/>
                <a:gd name="T35" fmla="*/ 349 h 1367"/>
                <a:gd name="T36" fmla="*/ 4171 w 4775"/>
                <a:gd name="T37" fmla="*/ 286 h 1367"/>
                <a:gd name="T38" fmla="*/ 4703 w 4775"/>
                <a:gd name="T39" fmla="*/ 1141 h 1367"/>
                <a:gd name="T40" fmla="*/ 4721 w 4775"/>
                <a:gd name="T41" fmla="*/ 1200 h 1367"/>
                <a:gd name="T42" fmla="*/ 4764 w 4775"/>
                <a:gd name="T43" fmla="*/ 1348 h 1367"/>
                <a:gd name="T44" fmla="*/ 4770 w 4775"/>
                <a:gd name="T45" fmla="*/ 1367 h 1367"/>
                <a:gd name="T46" fmla="*/ 4775 w 4775"/>
                <a:gd name="T47" fmla="*/ 1366 h 1367"/>
                <a:gd name="T48" fmla="*/ 4769 w 4775"/>
                <a:gd name="T49" fmla="*/ 1346 h 1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775" h="1367">
                  <a:moveTo>
                    <a:pt x="4769" y="1346"/>
                  </a:moveTo>
                  <a:cubicBezTo>
                    <a:pt x="4755" y="1295"/>
                    <a:pt x="4741" y="1246"/>
                    <a:pt x="4726" y="1198"/>
                  </a:cubicBezTo>
                  <a:cubicBezTo>
                    <a:pt x="4720" y="1179"/>
                    <a:pt x="4714" y="1160"/>
                    <a:pt x="4708" y="1139"/>
                  </a:cubicBezTo>
                  <a:cubicBezTo>
                    <a:pt x="4612" y="819"/>
                    <a:pt x="4491" y="420"/>
                    <a:pt x="4173" y="281"/>
                  </a:cubicBezTo>
                  <a:cubicBezTo>
                    <a:pt x="3847" y="138"/>
                    <a:pt x="3408" y="252"/>
                    <a:pt x="3055" y="344"/>
                  </a:cubicBezTo>
                  <a:cubicBezTo>
                    <a:pt x="3007" y="356"/>
                    <a:pt x="2961" y="368"/>
                    <a:pt x="2916" y="379"/>
                  </a:cubicBezTo>
                  <a:cubicBezTo>
                    <a:pt x="2830" y="401"/>
                    <a:pt x="2744" y="424"/>
                    <a:pt x="2654" y="448"/>
                  </a:cubicBezTo>
                  <a:cubicBezTo>
                    <a:pt x="2280" y="550"/>
                    <a:pt x="1893" y="654"/>
                    <a:pt x="1520" y="609"/>
                  </a:cubicBezTo>
                  <a:cubicBezTo>
                    <a:pt x="1266" y="578"/>
                    <a:pt x="1009" y="454"/>
                    <a:pt x="761" y="334"/>
                  </a:cubicBezTo>
                  <a:cubicBezTo>
                    <a:pt x="667" y="290"/>
                    <a:pt x="579" y="247"/>
                    <a:pt x="492" y="21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490" y="215"/>
                    <a:pt x="490" y="215"/>
                    <a:pt x="490" y="215"/>
                  </a:cubicBezTo>
                  <a:cubicBezTo>
                    <a:pt x="577" y="252"/>
                    <a:pt x="665" y="294"/>
                    <a:pt x="758" y="339"/>
                  </a:cubicBezTo>
                  <a:cubicBezTo>
                    <a:pt x="1007" y="459"/>
                    <a:pt x="1264" y="583"/>
                    <a:pt x="1519" y="614"/>
                  </a:cubicBezTo>
                  <a:cubicBezTo>
                    <a:pt x="1893" y="660"/>
                    <a:pt x="2281" y="555"/>
                    <a:pt x="2655" y="454"/>
                  </a:cubicBezTo>
                  <a:cubicBezTo>
                    <a:pt x="2746" y="429"/>
                    <a:pt x="2832" y="406"/>
                    <a:pt x="2918" y="385"/>
                  </a:cubicBezTo>
                  <a:cubicBezTo>
                    <a:pt x="2962" y="374"/>
                    <a:pt x="3008" y="362"/>
                    <a:pt x="3057" y="349"/>
                  </a:cubicBezTo>
                  <a:cubicBezTo>
                    <a:pt x="3408" y="257"/>
                    <a:pt x="3846" y="143"/>
                    <a:pt x="4171" y="286"/>
                  </a:cubicBezTo>
                  <a:cubicBezTo>
                    <a:pt x="4487" y="424"/>
                    <a:pt x="4607" y="822"/>
                    <a:pt x="4703" y="1141"/>
                  </a:cubicBezTo>
                  <a:cubicBezTo>
                    <a:pt x="4709" y="1161"/>
                    <a:pt x="4715" y="1181"/>
                    <a:pt x="4721" y="1200"/>
                  </a:cubicBezTo>
                  <a:cubicBezTo>
                    <a:pt x="4735" y="1248"/>
                    <a:pt x="4749" y="1296"/>
                    <a:pt x="4764" y="1348"/>
                  </a:cubicBezTo>
                  <a:cubicBezTo>
                    <a:pt x="4766" y="1354"/>
                    <a:pt x="4768" y="1360"/>
                    <a:pt x="4770" y="1367"/>
                  </a:cubicBezTo>
                  <a:cubicBezTo>
                    <a:pt x="4775" y="1366"/>
                    <a:pt x="4775" y="1366"/>
                    <a:pt x="4775" y="1366"/>
                  </a:cubicBezTo>
                  <a:cubicBezTo>
                    <a:pt x="4773" y="1359"/>
                    <a:pt x="4771" y="1353"/>
                    <a:pt x="4769" y="1346"/>
                  </a:cubicBezTo>
                  <a:close/>
                </a:path>
              </a:pathLst>
            </a:custGeom>
            <a:solidFill>
              <a:srgbClr val="CED0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2" name="Freeform 51"/>
            <p:cNvSpPr>
              <a:spLocks/>
            </p:cNvSpPr>
            <p:nvPr userDrawn="1"/>
          </p:nvSpPr>
          <p:spPr bwMode="auto">
            <a:xfrm>
              <a:off x="-792" y="2632825"/>
              <a:ext cx="7369342" cy="2270450"/>
            </a:xfrm>
            <a:custGeom>
              <a:avLst/>
              <a:gdLst>
                <a:gd name="T0" fmla="*/ 4796 w 4833"/>
                <a:gd name="T1" fmla="*/ 1369 h 1488"/>
                <a:gd name="T2" fmla="*/ 4749 w 4833"/>
                <a:gd name="T3" fmla="*/ 1221 h 1488"/>
                <a:gd name="T4" fmla="*/ 4730 w 4833"/>
                <a:gd name="T5" fmla="*/ 1162 h 1488"/>
                <a:gd name="T6" fmla="*/ 4175 w 4833"/>
                <a:gd name="T7" fmla="*/ 306 h 1488"/>
                <a:gd name="T8" fmla="*/ 3066 w 4833"/>
                <a:gd name="T9" fmla="*/ 369 h 1488"/>
                <a:gd name="T10" fmla="*/ 2938 w 4833"/>
                <a:gd name="T11" fmla="*/ 402 h 1488"/>
                <a:gd name="T12" fmla="*/ 2682 w 4833"/>
                <a:gd name="T13" fmla="*/ 471 h 1488"/>
                <a:gd name="T14" fmla="*/ 1565 w 4833"/>
                <a:gd name="T15" fmla="*/ 630 h 1488"/>
                <a:gd name="T16" fmla="*/ 810 w 4833"/>
                <a:gd name="T17" fmla="*/ 355 h 1488"/>
                <a:gd name="T18" fmla="*/ 540 w 4833"/>
                <a:gd name="T19" fmla="*/ 230 h 1488"/>
                <a:gd name="T20" fmla="*/ 0 w 4833"/>
                <a:gd name="T21" fmla="*/ 0 h 1488"/>
                <a:gd name="T22" fmla="*/ 0 w 4833"/>
                <a:gd name="T23" fmla="*/ 6 h 1488"/>
                <a:gd name="T24" fmla="*/ 537 w 4833"/>
                <a:gd name="T25" fmla="*/ 235 h 1488"/>
                <a:gd name="T26" fmla="*/ 807 w 4833"/>
                <a:gd name="T27" fmla="*/ 360 h 1488"/>
                <a:gd name="T28" fmla="*/ 1564 w 4833"/>
                <a:gd name="T29" fmla="*/ 636 h 1488"/>
                <a:gd name="T30" fmla="*/ 2683 w 4833"/>
                <a:gd name="T31" fmla="*/ 476 h 1488"/>
                <a:gd name="T32" fmla="*/ 2939 w 4833"/>
                <a:gd name="T33" fmla="*/ 408 h 1488"/>
                <a:gd name="T34" fmla="*/ 3067 w 4833"/>
                <a:gd name="T35" fmla="*/ 374 h 1488"/>
                <a:gd name="T36" fmla="*/ 4173 w 4833"/>
                <a:gd name="T37" fmla="*/ 311 h 1488"/>
                <a:gd name="T38" fmla="*/ 4724 w 4833"/>
                <a:gd name="T39" fmla="*/ 1164 h 1488"/>
                <a:gd name="T40" fmla="*/ 4743 w 4833"/>
                <a:gd name="T41" fmla="*/ 1223 h 1488"/>
                <a:gd name="T42" fmla="*/ 4790 w 4833"/>
                <a:gd name="T43" fmla="*/ 1371 h 1488"/>
                <a:gd name="T44" fmla="*/ 4827 w 4833"/>
                <a:gd name="T45" fmla="*/ 1488 h 1488"/>
                <a:gd name="T46" fmla="*/ 4833 w 4833"/>
                <a:gd name="T47" fmla="*/ 1487 h 1488"/>
                <a:gd name="T48" fmla="*/ 4796 w 4833"/>
                <a:gd name="T49" fmla="*/ 1369 h 1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833" h="1488">
                  <a:moveTo>
                    <a:pt x="4796" y="1369"/>
                  </a:moveTo>
                  <a:cubicBezTo>
                    <a:pt x="4780" y="1317"/>
                    <a:pt x="4764" y="1269"/>
                    <a:pt x="4749" y="1221"/>
                  </a:cubicBezTo>
                  <a:cubicBezTo>
                    <a:pt x="4742" y="1202"/>
                    <a:pt x="4736" y="1182"/>
                    <a:pt x="4730" y="1162"/>
                  </a:cubicBezTo>
                  <a:cubicBezTo>
                    <a:pt x="4626" y="843"/>
                    <a:pt x="4496" y="446"/>
                    <a:pt x="4175" y="306"/>
                  </a:cubicBezTo>
                  <a:cubicBezTo>
                    <a:pt x="3848" y="163"/>
                    <a:pt x="3414" y="277"/>
                    <a:pt x="3066" y="369"/>
                  </a:cubicBezTo>
                  <a:cubicBezTo>
                    <a:pt x="3021" y="381"/>
                    <a:pt x="2979" y="392"/>
                    <a:pt x="2938" y="402"/>
                  </a:cubicBezTo>
                  <a:cubicBezTo>
                    <a:pt x="2854" y="423"/>
                    <a:pt x="2770" y="446"/>
                    <a:pt x="2682" y="471"/>
                  </a:cubicBezTo>
                  <a:cubicBezTo>
                    <a:pt x="2313" y="572"/>
                    <a:pt x="1932" y="677"/>
                    <a:pt x="1565" y="630"/>
                  </a:cubicBezTo>
                  <a:cubicBezTo>
                    <a:pt x="1312" y="598"/>
                    <a:pt x="1057" y="475"/>
                    <a:pt x="810" y="355"/>
                  </a:cubicBezTo>
                  <a:cubicBezTo>
                    <a:pt x="716" y="310"/>
                    <a:pt x="627" y="267"/>
                    <a:pt x="540" y="23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537" y="235"/>
                    <a:pt x="537" y="235"/>
                    <a:pt x="537" y="235"/>
                  </a:cubicBezTo>
                  <a:cubicBezTo>
                    <a:pt x="625" y="273"/>
                    <a:pt x="714" y="315"/>
                    <a:pt x="807" y="360"/>
                  </a:cubicBezTo>
                  <a:cubicBezTo>
                    <a:pt x="1055" y="480"/>
                    <a:pt x="1311" y="603"/>
                    <a:pt x="1564" y="636"/>
                  </a:cubicBezTo>
                  <a:cubicBezTo>
                    <a:pt x="1933" y="683"/>
                    <a:pt x="2314" y="578"/>
                    <a:pt x="2683" y="476"/>
                  </a:cubicBezTo>
                  <a:cubicBezTo>
                    <a:pt x="2772" y="452"/>
                    <a:pt x="2855" y="429"/>
                    <a:pt x="2939" y="408"/>
                  </a:cubicBezTo>
                  <a:cubicBezTo>
                    <a:pt x="2980" y="397"/>
                    <a:pt x="3023" y="386"/>
                    <a:pt x="3067" y="374"/>
                  </a:cubicBezTo>
                  <a:cubicBezTo>
                    <a:pt x="3415" y="283"/>
                    <a:pt x="3847" y="169"/>
                    <a:pt x="4173" y="311"/>
                  </a:cubicBezTo>
                  <a:cubicBezTo>
                    <a:pt x="4492" y="450"/>
                    <a:pt x="4621" y="846"/>
                    <a:pt x="4724" y="1164"/>
                  </a:cubicBezTo>
                  <a:cubicBezTo>
                    <a:pt x="4731" y="1184"/>
                    <a:pt x="4737" y="1204"/>
                    <a:pt x="4743" y="1223"/>
                  </a:cubicBezTo>
                  <a:cubicBezTo>
                    <a:pt x="4759" y="1271"/>
                    <a:pt x="4774" y="1319"/>
                    <a:pt x="4790" y="1371"/>
                  </a:cubicBezTo>
                  <a:cubicBezTo>
                    <a:pt x="4802" y="1409"/>
                    <a:pt x="4814" y="1448"/>
                    <a:pt x="4827" y="1488"/>
                  </a:cubicBezTo>
                  <a:cubicBezTo>
                    <a:pt x="4833" y="1487"/>
                    <a:pt x="4833" y="1487"/>
                    <a:pt x="4833" y="1487"/>
                  </a:cubicBezTo>
                  <a:cubicBezTo>
                    <a:pt x="4820" y="1447"/>
                    <a:pt x="4808" y="1408"/>
                    <a:pt x="4796" y="1369"/>
                  </a:cubicBezTo>
                  <a:close/>
                </a:path>
              </a:pathLst>
            </a:custGeom>
            <a:solidFill>
              <a:srgbClr val="CECF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3" name="Freeform 52"/>
            <p:cNvSpPr>
              <a:spLocks/>
            </p:cNvSpPr>
            <p:nvPr userDrawn="1"/>
          </p:nvSpPr>
          <p:spPr bwMode="auto">
            <a:xfrm>
              <a:off x="-792" y="2430793"/>
              <a:ext cx="7462341" cy="2454844"/>
            </a:xfrm>
            <a:custGeom>
              <a:avLst/>
              <a:gdLst>
                <a:gd name="T0" fmla="*/ 4819 w 4894"/>
                <a:gd name="T1" fmla="*/ 1395 h 1609"/>
                <a:gd name="T2" fmla="*/ 4768 w 4894"/>
                <a:gd name="T3" fmla="*/ 1248 h 1609"/>
                <a:gd name="T4" fmla="*/ 4749 w 4894"/>
                <a:gd name="T5" fmla="*/ 1191 h 1609"/>
                <a:gd name="T6" fmla="*/ 4172 w 4894"/>
                <a:gd name="T7" fmla="*/ 337 h 1609"/>
                <a:gd name="T8" fmla="*/ 3072 w 4894"/>
                <a:gd name="T9" fmla="*/ 398 h 1609"/>
                <a:gd name="T10" fmla="*/ 2956 w 4894"/>
                <a:gd name="T11" fmla="*/ 429 h 1609"/>
                <a:gd name="T12" fmla="*/ 2707 w 4894"/>
                <a:gd name="T13" fmla="*/ 496 h 1609"/>
                <a:gd name="T14" fmla="*/ 1610 w 4894"/>
                <a:gd name="T15" fmla="*/ 653 h 1609"/>
                <a:gd name="T16" fmla="*/ 860 w 4894"/>
                <a:gd name="T17" fmla="*/ 378 h 1609"/>
                <a:gd name="T18" fmla="*/ 587 w 4894"/>
                <a:gd name="T19" fmla="*/ 251 h 1609"/>
                <a:gd name="T20" fmla="*/ 0 w 4894"/>
                <a:gd name="T21" fmla="*/ 0 h 1609"/>
                <a:gd name="T22" fmla="*/ 0 w 4894"/>
                <a:gd name="T23" fmla="*/ 7 h 1609"/>
                <a:gd name="T24" fmla="*/ 585 w 4894"/>
                <a:gd name="T25" fmla="*/ 256 h 1609"/>
                <a:gd name="T26" fmla="*/ 857 w 4894"/>
                <a:gd name="T27" fmla="*/ 383 h 1609"/>
                <a:gd name="T28" fmla="*/ 1609 w 4894"/>
                <a:gd name="T29" fmla="*/ 658 h 1609"/>
                <a:gd name="T30" fmla="*/ 2709 w 4894"/>
                <a:gd name="T31" fmla="*/ 502 h 1609"/>
                <a:gd name="T32" fmla="*/ 2957 w 4894"/>
                <a:gd name="T33" fmla="*/ 434 h 1609"/>
                <a:gd name="T34" fmla="*/ 3073 w 4894"/>
                <a:gd name="T35" fmla="*/ 404 h 1609"/>
                <a:gd name="T36" fmla="*/ 4169 w 4894"/>
                <a:gd name="T37" fmla="*/ 342 h 1609"/>
                <a:gd name="T38" fmla="*/ 4743 w 4894"/>
                <a:gd name="T39" fmla="*/ 1193 h 1609"/>
                <a:gd name="T40" fmla="*/ 4763 w 4894"/>
                <a:gd name="T41" fmla="*/ 1250 h 1609"/>
                <a:gd name="T42" fmla="*/ 4814 w 4894"/>
                <a:gd name="T43" fmla="*/ 1397 h 1609"/>
                <a:gd name="T44" fmla="*/ 4888 w 4894"/>
                <a:gd name="T45" fmla="*/ 1609 h 1609"/>
                <a:gd name="T46" fmla="*/ 4894 w 4894"/>
                <a:gd name="T47" fmla="*/ 1608 h 1609"/>
                <a:gd name="T48" fmla="*/ 4819 w 4894"/>
                <a:gd name="T49" fmla="*/ 1395 h 1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894" h="1609">
                  <a:moveTo>
                    <a:pt x="4819" y="1395"/>
                  </a:moveTo>
                  <a:cubicBezTo>
                    <a:pt x="4802" y="1344"/>
                    <a:pt x="4785" y="1295"/>
                    <a:pt x="4768" y="1248"/>
                  </a:cubicBezTo>
                  <a:cubicBezTo>
                    <a:pt x="4762" y="1229"/>
                    <a:pt x="4755" y="1210"/>
                    <a:pt x="4749" y="1191"/>
                  </a:cubicBezTo>
                  <a:cubicBezTo>
                    <a:pt x="4637" y="874"/>
                    <a:pt x="4497" y="478"/>
                    <a:pt x="4172" y="337"/>
                  </a:cubicBezTo>
                  <a:cubicBezTo>
                    <a:pt x="3843" y="194"/>
                    <a:pt x="3416" y="307"/>
                    <a:pt x="3072" y="398"/>
                  </a:cubicBezTo>
                  <a:cubicBezTo>
                    <a:pt x="3032" y="409"/>
                    <a:pt x="2993" y="419"/>
                    <a:pt x="2956" y="429"/>
                  </a:cubicBezTo>
                  <a:cubicBezTo>
                    <a:pt x="2875" y="449"/>
                    <a:pt x="2793" y="472"/>
                    <a:pt x="2707" y="496"/>
                  </a:cubicBezTo>
                  <a:cubicBezTo>
                    <a:pt x="2345" y="597"/>
                    <a:pt x="1970" y="702"/>
                    <a:pt x="1610" y="653"/>
                  </a:cubicBezTo>
                  <a:cubicBezTo>
                    <a:pt x="1359" y="618"/>
                    <a:pt x="1105" y="496"/>
                    <a:pt x="860" y="378"/>
                  </a:cubicBezTo>
                  <a:cubicBezTo>
                    <a:pt x="765" y="332"/>
                    <a:pt x="675" y="289"/>
                    <a:pt x="587" y="2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585" y="256"/>
                    <a:pt x="585" y="256"/>
                    <a:pt x="585" y="256"/>
                  </a:cubicBezTo>
                  <a:cubicBezTo>
                    <a:pt x="673" y="294"/>
                    <a:pt x="763" y="337"/>
                    <a:pt x="857" y="383"/>
                  </a:cubicBezTo>
                  <a:cubicBezTo>
                    <a:pt x="1103" y="501"/>
                    <a:pt x="1357" y="624"/>
                    <a:pt x="1609" y="658"/>
                  </a:cubicBezTo>
                  <a:cubicBezTo>
                    <a:pt x="1971" y="708"/>
                    <a:pt x="2346" y="603"/>
                    <a:pt x="2709" y="502"/>
                  </a:cubicBezTo>
                  <a:cubicBezTo>
                    <a:pt x="2795" y="478"/>
                    <a:pt x="2876" y="455"/>
                    <a:pt x="2957" y="434"/>
                  </a:cubicBezTo>
                  <a:cubicBezTo>
                    <a:pt x="2995" y="425"/>
                    <a:pt x="3033" y="415"/>
                    <a:pt x="3073" y="404"/>
                  </a:cubicBezTo>
                  <a:cubicBezTo>
                    <a:pt x="3416" y="313"/>
                    <a:pt x="3843" y="200"/>
                    <a:pt x="4169" y="342"/>
                  </a:cubicBezTo>
                  <a:cubicBezTo>
                    <a:pt x="4493" y="482"/>
                    <a:pt x="4632" y="877"/>
                    <a:pt x="4743" y="1193"/>
                  </a:cubicBezTo>
                  <a:cubicBezTo>
                    <a:pt x="4750" y="1212"/>
                    <a:pt x="4757" y="1231"/>
                    <a:pt x="4763" y="1250"/>
                  </a:cubicBezTo>
                  <a:cubicBezTo>
                    <a:pt x="4780" y="1297"/>
                    <a:pt x="4796" y="1346"/>
                    <a:pt x="4814" y="1397"/>
                  </a:cubicBezTo>
                  <a:cubicBezTo>
                    <a:pt x="4837" y="1466"/>
                    <a:pt x="4861" y="1538"/>
                    <a:pt x="4888" y="1609"/>
                  </a:cubicBezTo>
                  <a:cubicBezTo>
                    <a:pt x="4894" y="1608"/>
                    <a:pt x="4894" y="1608"/>
                    <a:pt x="4894" y="1608"/>
                  </a:cubicBezTo>
                  <a:cubicBezTo>
                    <a:pt x="4867" y="1537"/>
                    <a:pt x="4843" y="1465"/>
                    <a:pt x="4819" y="1395"/>
                  </a:cubicBezTo>
                  <a:close/>
                </a:path>
              </a:pathLst>
            </a:custGeom>
            <a:solidFill>
              <a:srgbClr val="CDCF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4" name="Freeform 53"/>
            <p:cNvSpPr>
              <a:spLocks/>
            </p:cNvSpPr>
            <p:nvPr userDrawn="1"/>
          </p:nvSpPr>
          <p:spPr bwMode="auto">
            <a:xfrm>
              <a:off x="-792" y="2230365"/>
              <a:ext cx="7563356" cy="2637635"/>
            </a:xfrm>
            <a:custGeom>
              <a:avLst/>
              <a:gdLst>
                <a:gd name="T0" fmla="*/ 4841 w 4960"/>
                <a:gd name="T1" fmla="*/ 1422 h 1728"/>
                <a:gd name="T2" fmla="*/ 4786 w 4960"/>
                <a:gd name="T3" fmla="*/ 1275 h 1728"/>
                <a:gd name="T4" fmla="*/ 4766 w 4960"/>
                <a:gd name="T5" fmla="*/ 1222 h 1728"/>
                <a:gd name="T6" fmla="*/ 4165 w 4960"/>
                <a:gd name="T7" fmla="*/ 370 h 1728"/>
                <a:gd name="T8" fmla="*/ 3074 w 4960"/>
                <a:gd name="T9" fmla="*/ 429 h 1728"/>
                <a:gd name="T10" fmla="*/ 2972 w 4960"/>
                <a:gd name="T11" fmla="*/ 456 h 1728"/>
                <a:gd name="T12" fmla="*/ 2731 w 4960"/>
                <a:gd name="T13" fmla="*/ 522 h 1728"/>
                <a:gd name="T14" fmla="*/ 1654 w 4960"/>
                <a:gd name="T15" fmla="*/ 675 h 1728"/>
                <a:gd name="T16" fmla="*/ 910 w 4960"/>
                <a:gd name="T17" fmla="*/ 399 h 1728"/>
                <a:gd name="T18" fmla="*/ 634 w 4960"/>
                <a:gd name="T19" fmla="*/ 271 h 1728"/>
                <a:gd name="T20" fmla="*/ 0 w 4960"/>
                <a:gd name="T21" fmla="*/ 0 h 1728"/>
                <a:gd name="T22" fmla="*/ 0 w 4960"/>
                <a:gd name="T23" fmla="*/ 7 h 1728"/>
                <a:gd name="T24" fmla="*/ 632 w 4960"/>
                <a:gd name="T25" fmla="*/ 277 h 1728"/>
                <a:gd name="T26" fmla="*/ 907 w 4960"/>
                <a:gd name="T27" fmla="*/ 404 h 1728"/>
                <a:gd name="T28" fmla="*/ 1653 w 4960"/>
                <a:gd name="T29" fmla="*/ 680 h 1728"/>
                <a:gd name="T30" fmla="*/ 2733 w 4960"/>
                <a:gd name="T31" fmla="*/ 528 h 1728"/>
                <a:gd name="T32" fmla="*/ 2974 w 4960"/>
                <a:gd name="T33" fmla="*/ 462 h 1728"/>
                <a:gd name="T34" fmla="*/ 3076 w 4960"/>
                <a:gd name="T35" fmla="*/ 435 h 1728"/>
                <a:gd name="T36" fmla="*/ 4163 w 4960"/>
                <a:gd name="T37" fmla="*/ 375 h 1728"/>
                <a:gd name="T38" fmla="*/ 4761 w 4960"/>
                <a:gd name="T39" fmla="*/ 1224 h 1728"/>
                <a:gd name="T40" fmla="*/ 4781 w 4960"/>
                <a:gd name="T41" fmla="*/ 1277 h 1728"/>
                <a:gd name="T42" fmla="*/ 4836 w 4960"/>
                <a:gd name="T43" fmla="*/ 1424 h 1728"/>
                <a:gd name="T44" fmla="*/ 4954 w 4960"/>
                <a:gd name="T45" fmla="*/ 1728 h 1728"/>
                <a:gd name="T46" fmla="*/ 4960 w 4960"/>
                <a:gd name="T47" fmla="*/ 1727 h 1728"/>
                <a:gd name="T48" fmla="*/ 4841 w 4960"/>
                <a:gd name="T49" fmla="*/ 1422 h 1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960" h="1728">
                  <a:moveTo>
                    <a:pt x="4841" y="1422"/>
                  </a:moveTo>
                  <a:cubicBezTo>
                    <a:pt x="4823" y="1371"/>
                    <a:pt x="4805" y="1322"/>
                    <a:pt x="4786" y="1275"/>
                  </a:cubicBezTo>
                  <a:cubicBezTo>
                    <a:pt x="4780" y="1257"/>
                    <a:pt x="4773" y="1240"/>
                    <a:pt x="4766" y="1222"/>
                  </a:cubicBezTo>
                  <a:cubicBezTo>
                    <a:pt x="4646" y="906"/>
                    <a:pt x="4496" y="513"/>
                    <a:pt x="4165" y="370"/>
                  </a:cubicBezTo>
                  <a:cubicBezTo>
                    <a:pt x="3835" y="227"/>
                    <a:pt x="3413" y="339"/>
                    <a:pt x="3074" y="429"/>
                  </a:cubicBezTo>
                  <a:cubicBezTo>
                    <a:pt x="3040" y="438"/>
                    <a:pt x="3006" y="447"/>
                    <a:pt x="2972" y="456"/>
                  </a:cubicBezTo>
                  <a:cubicBezTo>
                    <a:pt x="2894" y="476"/>
                    <a:pt x="2815" y="499"/>
                    <a:pt x="2731" y="522"/>
                  </a:cubicBezTo>
                  <a:cubicBezTo>
                    <a:pt x="2376" y="623"/>
                    <a:pt x="2008" y="727"/>
                    <a:pt x="1654" y="675"/>
                  </a:cubicBezTo>
                  <a:cubicBezTo>
                    <a:pt x="1406" y="638"/>
                    <a:pt x="1154" y="517"/>
                    <a:pt x="910" y="399"/>
                  </a:cubicBezTo>
                  <a:cubicBezTo>
                    <a:pt x="814" y="353"/>
                    <a:pt x="724" y="309"/>
                    <a:pt x="634" y="27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632" y="277"/>
                    <a:pt x="632" y="277"/>
                    <a:pt x="632" y="277"/>
                  </a:cubicBezTo>
                  <a:cubicBezTo>
                    <a:pt x="721" y="315"/>
                    <a:pt x="812" y="358"/>
                    <a:pt x="907" y="404"/>
                  </a:cubicBezTo>
                  <a:cubicBezTo>
                    <a:pt x="1151" y="522"/>
                    <a:pt x="1404" y="644"/>
                    <a:pt x="1653" y="680"/>
                  </a:cubicBezTo>
                  <a:cubicBezTo>
                    <a:pt x="2008" y="733"/>
                    <a:pt x="2377" y="629"/>
                    <a:pt x="2733" y="528"/>
                  </a:cubicBezTo>
                  <a:cubicBezTo>
                    <a:pt x="2816" y="504"/>
                    <a:pt x="2895" y="482"/>
                    <a:pt x="2974" y="462"/>
                  </a:cubicBezTo>
                  <a:cubicBezTo>
                    <a:pt x="3007" y="453"/>
                    <a:pt x="3041" y="444"/>
                    <a:pt x="3076" y="435"/>
                  </a:cubicBezTo>
                  <a:cubicBezTo>
                    <a:pt x="3414" y="345"/>
                    <a:pt x="3834" y="234"/>
                    <a:pt x="4163" y="375"/>
                  </a:cubicBezTo>
                  <a:cubicBezTo>
                    <a:pt x="4491" y="517"/>
                    <a:pt x="4641" y="909"/>
                    <a:pt x="4761" y="1224"/>
                  </a:cubicBezTo>
                  <a:cubicBezTo>
                    <a:pt x="4768" y="1242"/>
                    <a:pt x="4774" y="1260"/>
                    <a:pt x="4781" y="1277"/>
                  </a:cubicBezTo>
                  <a:cubicBezTo>
                    <a:pt x="4799" y="1324"/>
                    <a:pt x="4817" y="1373"/>
                    <a:pt x="4836" y="1424"/>
                  </a:cubicBezTo>
                  <a:cubicBezTo>
                    <a:pt x="4872" y="1524"/>
                    <a:pt x="4910" y="1627"/>
                    <a:pt x="4954" y="1728"/>
                  </a:cubicBezTo>
                  <a:cubicBezTo>
                    <a:pt x="4960" y="1727"/>
                    <a:pt x="4960" y="1727"/>
                    <a:pt x="4960" y="1727"/>
                  </a:cubicBezTo>
                  <a:cubicBezTo>
                    <a:pt x="4916" y="1626"/>
                    <a:pt x="4878" y="1522"/>
                    <a:pt x="4841" y="1422"/>
                  </a:cubicBezTo>
                  <a:close/>
                </a:path>
              </a:pathLst>
            </a:custGeom>
            <a:solidFill>
              <a:srgbClr val="CDCE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5" name="Freeform 54"/>
            <p:cNvSpPr>
              <a:spLocks/>
            </p:cNvSpPr>
            <p:nvPr userDrawn="1"/>
          </p:nvSpPr>
          <p:spPr bwMode="auto">
            <a:xfrm>
              <a:off x="-792" y="2031540"/>
              <a:ext cx="7677200" cy="2817218"/>
            </a:xfrm>
            <a:custGeom>
              <a:avLst/>
              <a:gdLst>
                <a:gd name="T0" fmla="*/ 4863 w 5034"/>
                <a:gd name="T1" fmla="*/ 1450 h 1846"/>
                <a:gd name="T2" fmla="*/ 4804 w 5034"/>
                <a:gd name="T3" fmla="*/ 1303 h 1846"/>
                <a:gd name="T4" fmla="*/ 4784 w 5034"/>
                <a:gd name="T5" fmla="*/ 1255 h 1846"/>
                <a:gd name="T6" fmla="*/ 4157 w 5034"/>
                <a:gd name="T7" fmla="*/ 404 h 1846"/>
                <a:gd name="T8" fmla="*/ 3075 w 5034"/>
                <a:gd name="T9" fmla="*/ 461 h 1846"/>
                <a:gd name="T10" fmla="*/ 2988 w 5034"/>
                <a:gd name="T11" fmla="*/ 484 h 1846"/>
                <a:gd name="T12" fmla="*/ 2755 w 5034"/>
                <a:gd name="T13" fmla="*/ 549 h 1846"/>
                <a:gd name="T14" fmla="*/ 1699 w 5034"/>
                <a:gd name="T15" fmla="*/ 697 h 1846"/>
                <a:gd name="T16" fmla="*/ 960 w 5034"/>
                <a:gd name="T17" fmla="*/ 421 h 1846"/>
                <a:gd name="T18" fmla="*/ 682 w 5034"/>
                <a:gd name="T19" fmla="*/ 291 h 1846"/>
                <a:gd name="T20" fmla="*/ 0 w 5034"/>
                <a:gd name="T21" fmla="*/ 0 h 1846"/>
                <a:gd name="T22" fmla="*/ 0 w 5034"/>
                <a:gd name="T23" fmla="*/ 7 h 1846"/>
                <a:gd name="T24" fmla="*/ 679 w 5034"/>
                <a:gd name="T25" fmla="*/ 297 h 1846"/>
                <a:gd name="T26" fmla="*/ 958 w 5034"/>
                <a:gd name="T27" fmla="*/ 426 h 1846"/>
                <a:gd name="T28" fmla="*/ 1698 w 5034"/>
                <a:gd name="T29" fmla="*/ 703 h 1846"/>
                <a:gd name="T30" fmla="*/ 2756 w 5034"/>
                <a:gd name="T31" fmla="*/ 555 h 1846"/>
                <a:gd name="T32" fmla="*/ 2990 w 5034"/>
                <a:gd name="T33" fmla="*/ 490 h 1846"/>
                <a:gd name="T34" fmla="*/ 3076 w 5034"/>
                <a:gd name="T35" fmla="*/ 467 h 1846"/>
                <a:gd name="T36" fmla="*/ 4155 w 5034"/>
                <a:gd name="T37" fmla="*/ 410 h 1846"/>
                <a:gd name="T38" fmla="*/ 4778 w 5034"/>
                <a:gd name="T39" fmla="*/ 1257 h 1846"/>
                <a:gd name="T40" fmla="*/ 4798 w 5034"/>
                <a:gd name="T41" fmla="*/ 1305 h 1846"/>
                <a:gd name="T42" fmla="*/ 4857 w 5034"/>
                <a:gd name="T43" fmla="*/ 1452 h 1846"/>
                <a:gd name="T44" fmla="*/ 5028 w 5034"/>
                <a:gd name="T45" fmla="*/ 1846 h 1846"/>
                <a:gd name="T46" fmla="*/ 5034 w 5034"/>
                <a:gd name="T47" fmla="*/ 1845 h 1846"/>
                <a:gd name="T48" fmla="*/ 4863 w 5034"/>
                <a:gd name="T49" fmla="*/ 1450 h 18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034" h="1846">
                  <a:moveTo>
                    <a:pt x="4863" y="1450"/>
                  </a:moveTo>
                  <a:cubicBezTo>
                    <a:pt x="4842" y="1398"/>
                    <a:pt x="4823" y="1350"/>
                    <a:pt x="4804" y="1303"/>
                  </a:cubicBezTo>
                  <a:cubicBezTo>
                    <a:pt x="4797" y="1287"/>
                    <a:pt x="4791" y="1271"/>
                    <a:pt x="4784" y="1255"/>
                  </a:cubicBezTo>
                  <a:cubicBezTo>
                    <a:pt x="4655" y="940"/>
                    <a:pt x="4494" y="549"/>
                    <a:pt x="4157" y="404"/>
                  </a:cubicBezTo>
                  <a:cubicBezTo>
                    <a:pt x="3825" y="262"/>
                    <a:pt x="3409" y="372"/>
                    <a:pt x="3075" y="461"/>
                  </a:cubicBezTo>
                  <a:cubicBezTo>
                    <a:pt x="3045" y="469"/>
                    <a:pt x="3016" y="477"/>
                    <a:pt x="2988" y="484"/>
                  </a:cubicBezTo>
                  <a:cubicBezTo>
                    <a:pt x="2912" y="504"/>
                    <a:pt x="2836" y="526"/>
                    <a:pt x="2755" y="549"/>
                  </a:cubicBezTo>
                  <a:cubicBezTo>
                    <a:pt x="2406" y="648"/>
                    <a:pt x="2045" y="751"/>
                    <a:pt x="1699" y="697"/>
                  </a:cubicBezTo>
                  <a:cubicBezTo>
                    <a:pt x="1452" y="658"/>
                    <a:pt x="1202" y="537"/>
                    <a:pt x="960" y="421"/>
                  </a:cubicBezTo>
                  <a:cubicBezTo>
                    <a:pt x="864" y="374"/>
                    <a:pt x="772" y="330"/>
                    <a:pt x="682" y="29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679" y="297"/>
                    <a:pt x="679" y="297"/>
                    <a:pt x="679" y="297"/>
                  </a:cubicBezTo>
                  <a:cubicBezTo>
                    <a:pt x="770" y="336"/>
                    <a:pt x="861" y="380"/>
                    <a:pt x="958" y="426"/>
                  </a:cubicBezTo>
                  <a:cubicBezTo>
                    <a:pt x="1200" y="543"/>
                    <a:pt x="1450" y="664"/>
                    <a:pt x="1698" y="703"/>
                  </a:cubicBezTo>
                  <a:cubicBezTo>
                    <a:pt x="2045" y="758"/>
                    <a:pt x="2407" y="654"/>
                    <a:pt x="2756" y="555"/>
                  </a:cubicBezTo>
                  <a:cubicBezTo>
                    <a:pt x="2837" y="532"/>
                    <a:pt x="2914" y="510"/>
                    <a:pt x="2990" y="490"/>
                  </a:cubicBezTo>
                  <a:cubicBezTo>
                    <a:pt x="3018" y="483"/>
                    <a:pt x="3047" y="475"/>
                    <a:pt x="3076" y="467"/>
                  </a:cubicBezTo>
                  <a:cubicBezTo>
                    <a:pt x="3409" y="378"/>
                    <a:pt x="3824" y="268"/>
                    <a:pt x="4155" y="410"/>
                  </a:cubicBezTo>
                  <a:cubicBezTo>
                    <a:pt x="4489" y="554"/>
                    <a:pt x="4649" y="944"/>
                    <a:pt x="4778" y="1257"/>
                  </a:cubicBezTo>
                  <a:cubicBezTo>
                    <a:pt x="4785" y="1273"/>
                    <a:pt x="4792" y="1289"/>
                    <a:pt x="4798" y="1305"/>
                  </a:cubicBezTo>
                  <a:cubicBezTo>
                    <a:pt x="4818" y="1352"/>
                    <a:pt x="4837" y="1401"/>
                    <a:pt x="4857" y="1452"/>
                  </a:cubicBezTo>
                  <a:cubicBezTo>
                    <a:pt x="4908" y="1581"/>
                    <a:pt x="4962" y="1718"/>
                    <a:pt x="5028" y="1846"/>
                  </a:cubicBezTo>
                  <a:cubicBezTo>
                    <a:pt x="5034" y="1845"/>
                    <a:pt x="5034" y="1845"/>
                    <a:pt x="5034" y="1845"/>
                  </a:cubicBezTo>
                  <a:cubicBezTo>
                    <a:pt x="4968" y="1716"/>
                    <a:pt x="4914" y="1579"/>
                    <a:pt x="4863" y="1450"/>
                  </a:cubicBezTo>
                  <a:close/>
                </a:path>
              </a:pathLst>
            </a:custGeom>
            <a:solidFill>
              <a:srgbClr val="CCCE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6" name="Freeform 55"/>
            <p:cNvSpPr>
              <a:spLocks/>
            </p:cNvSpPr>
            <p:nvPr userDrawn="1"/>
          </p:nvSpPr>
          <p:spPr bwMode="auto">
            <a:xfrm>
              <a:off x="-792" y="1831112"/>
              <a:ext cx="7800664" cy="2995199"/>
            </a:xfrm>
            <a:custGeom>
              <a:avLst/>
              <a:gdLst>
                <a:gd name="T0" fmla="*/ 4862 w 5116"/>
                <a:gd name="T1" fmla="*/ 1408 h 1963"/>
                <a:gd name="T2" fmla="*/ 4150 w 5116"/>
                <a:gd name="T3" fmla="*/ 438 h 1963"/>
                <a:gd name="T4" fmla="*/ 3074 w 5116"/>
                <a:gd name="T5" fmla="*/ 493 h 1963"/>
                <a:gd name="T6" fmla="*/ 3004 w 5116"/>
                <a:gd name="T7" fmla="*/ 512 h 1963"/>
                <a:gd name="T8" fmla="*/ 2779 w 5116"/>
                <a:gd name="T9" fmla="*/ 575 h 1963"/>
                <a:gd name="T10" fmla="*/ 1743 w 5116"/>
                <a:gd name="T11" fmla="*/ 719 h 1963"/>
                <a:gd name="T12" fmla="*/ 1011 w 5116"/>
                <a:gd name="T13" fmla="*/ 442 h 1963"/>
                <a:gd name="T14" fmla="*/ 729 w 5116"/>
                <a:gd name="T15" fmla="*/ 312 h 1963"/>
                <a:gd name="T16" fmla="*/ 0 w 5116"/>
                <a:gd name="T17" fmla="*/ 0 h 1963"/>
                <a:gd name="T18" fmla="*/ 0 w 5116"/>
                <a:gd name="T19" fmla="*/ 7 h 1963"/>
                <a:gd name="T20" fmla="*/ 727 w 5116"/>
                <a:gd name="T21" fmla="*/ 317 h 1963"/>
                <a:gd name="T22" fmla="*/ 1008 w 5116"/>
                <a:gd name="T23" fmla="*/ 448 h 1963"/>
                <a:gd name="T24" fmla="*/ 1742 w 5116"/>
                <a:gd name="T25" fmla="*/ 725 h 1963"/>
                <a:gd name="T26" fmla="*/ 2780 w 5116"/>
                <a:gd name="T27" fmla="*/ 581 h 1963"/>
                <a:gd name="T28" fmla="*/ 3006 w 5116"/>
                <a:gd name="T29" fmla="*/ 518 h 1963"/>
                <a:gd name="T30" fmla="*/ 3076 w 5116"/>
                <a:gd name="T31" fmla="*/ 499 h 1963"/>
                <a:gd name="T32" fmla="*/ 4147 w 5116"/>
                <a:gd name="T33" fmla="*/ 444 h 1963"/>
                <a:gd name="T34" fmla="*/ 4856 w 5116"/>
                <a:gd name="T35" fmla="*/ 1411 h 1963"/>
                <a:gd name="T36" fmla="*/ 5109 w 5116"/>
                <a:gd name="T37" fmla="*/ 1963 h 1963"/>
                <a:gd name="T38" fmla="*/ 5116 w 5116"/>
                <a:gd name="T39" fmla="*/ 1962 h 1963"/>
                <a:gd name="T40" fmla="*/ 4862 w 5116"/>
                <a:gd name="T41" fmla="*/ 1408 h 1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16" h="1963">
                  <a:moveTo>
                    <a:pt x="4862" y="1408"/>
                  </a:moveTo>
                  <a:cubicBezTo>
                    <a:pt x="4708" y="1015"/>
                    <a:pt x="4548" y="609"/>
                    <a:pt x="4150" y="438"/>
                  </a:cubicBezTo>
                  <a:cubicBezTo>
                    <a:pt x="3815" y="295"/>
                    <a:pt x="3422" y="400"/>
                    <a:pt x="3074" y="493"/>
                  </a:cubicBezTo>
                  <a:cubicBezTo>
                    <a:pt x="3051" y="499"/>
                    <a:pt x="3027" y="506"/>
                    <a:pt x="3004" y="512"/>
                  </a:cubicBezTo>
                  <a:cubicBezTo>
                    <a:pt x="2931" y="531"/>
                    <a:pt x="2857" y="552"/>
                    <a:pt x="2779" y="575"/>
                  </a:cubicBezTo>
                  <a:cubicBezTo>
                    <a:pt x="2436" y="674"/>
                    <a:pt x="2082" y="776"/>
                    <a:pt x="1743" y="719"/>
                  </a:cubicBezTo>
                  <a:cubicBezTo>
                    <a:pt x="1499" y="677"/>
                    <a:pt x="1251" y="558"/>
                    <a:pt x="1011" y="442"/>
                  </a:cubicBezTo>
                  <a:cubicBezTo>
                    <a:pt x="913" y="395"/>
                    <a:pt x="821" y="351"/>
                    <a:pt x="729" y="3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727" y="317"/>
                    <a:pt x="727" y="317"/>
                    <a:pt x="727" y="317"/>
                  </a:cubicBezTo>
                  <a:cubicBezTo>
                    <a:pt x="818" y="356"/>
                    <a:pt x="911" y="401"/>
                    <a:pt x="1008" y="448"/>
                  </a:cubicBezTo>
                  <a:cubicBezTo>
                    <a:pt x="1248" y="564"/>
                    <a:pt x="1497" y="683"/>
                    <a:pt x="1742" y="725"/>
                  </a:cubicBezTo>
                  <a:cubicBezTo>
                    <a:pt x="2083" y="783"/>
                    <a:pt x="2437" y="680"/>
                    <a:pt x="2780" y="581"/>
                  </a:cubicBezTo>
                  <a:cubicBezTo>
                    <a:pt x="2858" y="558"/>
                    <a:pt x="2932" y="537"/>
                    <a:pt x="3006" y="518"/>
                  </a:cubicBezTo>
                  <a:cubicBezTo>
                    <a:pt x="3029" y="512"/>
                    <a:pt x="3052" y="505"/>
                    <a:pt x="3076" y="499"/>
                  </a:cubicBezTo>
                  <a:cubicBezTo>
                    <a:pt x="3422" y="406"/>
                    <a:pt x="3815" y="301"/>
                    <a:pt x="4147" y="444"/>
                  </a:cubicBezTo>
                  <a:cubicBezTo>
                    <a:pt x="4544" y="614"/>
                    <a:pt x="4702" y="1019"/>
                    <a:pt x="4856" y="1411"/>
                  </a:cubicBezTo>
                  <a:cubicBezTo>
                    <a:pt x="4930" y="1600"/>
                    <a:pt x="5006" y="1794"/>
                    <a:pt x="5109" y="1963"/>
                  </a:cubicBezTo>
                  <a:cubicBezTo>
                    <a:pt x="5116" y="1962"/>
                    <a:pt x="5116" y="1962"/>
                    <a:pt x="5116" y="1962"/>
                  </a:cubicBezTo>
                  <a:cubicBezTo>
                    <a:pt x="5012" y="1793"/>
                    <a:pt x="4936" y="1599"/>
                    <a:pt x="4862" y="1408"/>
                  </a:cubicBezTo>
                  <a:close/>
                </a:path>
              </a:pathLst>
            </a:custGeom>
            <a:solidFill>
              <a:srgbClr val="CCCE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7" name="Freeform 56"/>
            <p:cNvSpPr>
              <a:spLocks/>
            </p:cNvSpPr>
            <p:nvPr userDrawn="1"/>
          </p:nvSpPr>
          <p:spPr bwMode="auto">
            <a:xfrm>
              <a:off x="-792" y="1630683"/>
              <a:ext cx="7949782" cy="3169972"/>
            </a:xfrm>
            <a:custGeom>
              <a:avLst/>
              <a:gdLst>
                <a:gd name="T0" fmla="*/ 4880 w 5213"/>
                <a:gd name="T1" fmla="*/ 1433 h 2077"/>
                <a:gd name="T2" fmla="*/ 4145 w 5213"/>
                <a:gd name="T3" fmla="*/ 469 h 2077"/>
                <a:gd name="T4" fmla="*/ 3076 w 5213"/>
                <a:gd name="T5" fmla="*/ 523 h 2077"/>
                <a:gd name="T6" fmla="*/ 3022 w 5213"/>
                <a:gd name="T7" fmla="*/ 538 h 2077"/>
                <a:gd name="T8" fmla="*/ 2804 w 5213"/>
                <a:gd name="T9" fmla="*/ 600 h 2077"/>
                <a:gd name="T10" fmla="*/ 1788 w 5213"/>
                <a:gd name="T11" fmla="*/ 740 h 2077"/>
                <a:gd name="T12" fmla="*/ 1062 w 5213"/>
                <a:gd name="T13" fmla="*/ 464 h 2077"/>
                <a:gd name="T14" fmla="*/ 777 w 5213"/>
                <a:gd name="T15" fmla="*/ 332 h 2077"/>
                <a:gd name="T16" fmla="*/ 0 w 5213"/>
                <a:gd name="T17" fmla="*/ 0 h 2077"/>
                <a:gd name="T18" fmla="*/ 0 w 5213"/>
                <a:gd name="T19" fmla="*/ 7 h 2077"/>
                <a:gd name="T20" fmla="*/ 774 w 5213"/>
                <a:gd name="T21" fmla="*/ 338 h 2077"/>
                <a:gd name="T22" fmla="*/ 1059 w 5213"/>
                <a:gd name="T23" fmla="*/ 470 h 2077"/>
                <a:gd name="T24" fmla="*/ 1787 w 5213"/>
                <a:gd name="T25" fmla="*/ 747 h 2077"/>
                <a:gd name="T26" fmla="*/ 2805 w 5213"/>
                <a:gd name="T27" fmla="*/ 606 h 2077"/>
                <a:gd name="T28" fmla="*/ 3024 w 5213"/>
                <a:gd name="T29" fmla="*/ 544 h 2077"/>
                <a:gd name="T30" fmla="*/ 3078 w 5213"/>
                <a:gd name="T31" fmla="*/ 529 h 2077"/>
                <a:gd name="T32" fmla="*/ 4143 w 5213"/>
                <a:gd name="T33" fmla="*/ 475 h 2077"/>
                <a:gd name="T34" fmla="*/ 4874 w 5213"/>
                <a:gd name="T35" fmla="*/ 1436 h 2077"/>
                <a:gd name="T36" fmla="*/ 5206 w 5213"/>
                <a:gd name="T37" fmla="*/ 2077 h 2077"/>
                <a:gd name="T38" fmla="*/ 5213 w 5213"/>
                <a:gd name="T39" fmla="*/ 2076 h 2077"/>
                <a:gd name="T40" fmla="*/ 4880 w 5213"/>
                <a:gd name="T41" fmla="*/ 1433 h 20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213" h="2077">
                  <a:moveTo>
                    <a:pt x="4880" y="1433"/>
                  </a:moveTo>
                  <a:cubicBezTo>
                    <a:pt x="4716" y="1044"/>
                    <a:pt x="4547" y="641"/>
                    <a:pt x="4145" y="469"/>
                  </a:cubicBezTo>
                  <a:cubicBezTo>
                    <a:pt x="3809" y="326"/>
                    <a:pt x="3419" y="431"/>
                    <a:pt x="3076" y="523"/>
                  </a:cubicBezTo>
                  <a:cubicBezTo>
                    <a:pt x="3058" y="528"/>
                    <a:pt x="3040" y="533"/>
                    <a:pt x="3022" y="538"/>
                  </a:cubicBezTo>
                  <a:cubicBezTo>
                    <a:pt x="2951" y="557"/>
                    <a:pt x="2879" y="578"/>
                    <a:pt x="2804" y="600"/>
                  </a:cubicBezTo>
                  <a:cubicBezTo>
                    <a:pt x="2468" y="698"/>
                    <a:pt x="2120" y="800"/>
                    <a:pt x="1788" y="740"/>
                  </a:cubicBezTo>
                  <a:cubicBezTo>
                    <a:pt x="1545" y="697"/>
                    <a:pt x="1299" y="578"/>
                    <a:pt x="1062" y="464"/>
                  </a:cubicBezTo>
                  <a:cubicBezTo>
                    <a:pt x="963" y="416"/>
                    <a:pt x="869" y="371"/>
                    <a:pt x="777" y="3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774" y="338"/>
                    <a:pt x="774" y="338"/>
                    <a:pt x="774" y="338"/>
                  </a:cubicBezTo>
                  <a:cubicBezTo>
                    <a:pt x="867" y="377"/>
                    <a:pt x="960" y="422"/>
                    <a:pt x="1059" y="470"/>
                  </a:cubicBezTo>
                  <a:cubicBezTo>
                    <a:pt x="1297" y="584"/>
                    <a:pt x="1543" y="703"/>
                    <a:pt x="1787" y="747"/>
                  </a:cubicBezTo>
                  <a:cubicBezTo>
                    <a:pt x="2120" y="807"/>
                    <a:pt x="2469" y="705"/>
                    <a:pt x="2805" y="606"/>
                  </a:cubicBezTo>
                  <a:cubicBezTo>
                    <a:pt x="2881" y="584"/>
                    <a:pt x="2952" y="563"/>
                    <a:pt x="3024" y="544"/>
                  </a:cubicBezTo>
                  <a:cubicBezTo>
                    <a:pt x="3041" y="539"/>
                    <a:pt x="3060" y="534"/>
                    <a:pt x="3078" y="529"/>
                  </a:cubicBezTo>
                  <a:cubicBezTo>
                    <a:pt x="3420" y="437"/>
                    <a:pt x="3808" y="332"/>
                    <a:pt x="4143" y="475"/>
                  </a:cubicBezTo>
                  <a:cubicBezTo>
                    <a:pt x="4542" y="646"/>
                    <a:pt x="4711" y="1047"/>
                    <a:pt x="4874" y="1436"/>
                  </a:cubicBezTo>
                  <a:cubicBezTo>
                    <a:pt x="4968" y="1660"/>
                    <a:pt x="5065" y="1889"/>
                    <a:pt x="5206" y="2077"/>
                  </a:cubicBezTo>
                  <a:cubicBezTo>
                    <a:pt x="5213" y="2076"/>
                    <a:pt x="5213" y="2076"/>
                    <a:pt x="5213" y="2076"/>
                  </a:cubicBezTo>
                  <a:cubicBezTo>
                    <a:pt x="5071" y="1888"/>
                    <a:pt x="4975" y="1658"/>
                    <a:pt x="4880" y="1433"/>
                  </a:cubicBezTo>
                  <a:close/>
                </a:path>
              </a:pathLst>
            </a:custGeom>
            <a:solidFill>
              <a:srgbClr val="CBCD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8" name="Freeform 57"/>
            <p:cNvSpPr>
              <a:spLocks/>
            </p:cNvSpPr>
            <p:nvPr userDrawn="1"/>
          </p:nvSpPr>
          <p:spPr bwMode="auto">
            <a:xfrm>
              <a:off x="-792" y="1431859"/>
              <a:ext cx="8122952" cy="3338331"/>
            </a:xfrm>
            <a:custGeom>
              <a:avLst/>
              <a:gdLst>
                <a:gd name="T0" fmla="*/ 4902 w 5327"/>
                <a:gd name="T1" fmla="*/ 1456 h 2188"/>
                <a:gd name="T2" fmla="*/ 4146 w 5327"/>
                <a:gd name="T3" fmla="*/ 496 h 2188"/>
                <a:gd name="T4" fmla="*/ 2889 w 5327"/>
                <a:gd name="T5" fmla="*/ 597 h 2188"/>
                <a:gd name="T6" fmla="*/ 1833 w 5327"/>
                <a:gd name="T7" fmla="*/ 762 h 2188"/>
                <a:gd name="T8" fmla="*/ 1112 w 5327"/>
                <a:gd name="T9" fmla="*/ 485 h 2188"/>
                <a:gd name="T10" fmla="*/ 824 w 5327"/>
                <a:gd name="T11" fmla="*/ 352 h 2188"/>
                <a:gd name="T12" fmla="*/ 0 w 5327"/>
                <a:gd name="T13" fmla="*/ 0 h 2188"/>
                <a:gd name="T14" fmla="*/ 0 w 5327"/>
                <a:gd name="T15" fmla="*/ 7 h 2188"/>
                <a:gd name="T16" fmla="*/ 821 w 5327"/>
                <a:gd name="T17" fmla="*/ 358 h 2188"/>
                <a:gd name="T18" fmla="*/ 1109 w 5327"/>
                <a:gd name="T19" fmla="*/ 491 h 2188"/>
                <a:gd name="T20" fmla="*/ 1832 w 5327"/>
                <a:gd name="T21" fmla="*/ 768 h 2188"/>
                <a:gd name="T22" fmla="*/ 2891 w 5327"/>
                <a:gd name="T23" fmla="*/ 603 h 2188"/>
                <a:gd name="T24" fmla="*/ 4143 w 5327"/>
                <a:gd name="T25" fmla="*/ 502 h 2188"/>
                <a:gd name="T26" fmla="*/ 4896 w 5327"/>
                <a:gd name="T27" fmla="*/ 1459 h 2188"/>
                <a:gd name="T28" fmla="*/ 5319 w 5327"/>
                <a:gd name="T29" fmla="*/ 2188 h 2188"/>
                <a:gd name="T30" fmla="*/ 5327 w 5327"/>
                <a:gd name="T31" fmla="*/ 2187 h 2188"/>
                <a:gd name="T32" fmla="*/ 4902 w 5327"/>
                <a:gd name="T33" fmla="*/ 1456 h 2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27" h="2188">
                  <a:moveTo>
                    <a:pt x="4902" y="1456"/>
                  </a:moveTo>
                  <a:cubicBezTo>
                    <a:pt x="4729" y="1069"/>
                    <a:pt x="4550" y="668"/>
                    <a:pt x="4146" y="496"/>
                  </a:cubicBezTo>
                  <a:cubicBezTo>
                    <a:pt x="3736" y="321"/>
                    <a:pt x="3306" y="461"/>
                    <a:pt x="2889" y="597"/>
                  </a:cubicBezTo>
                  <a:cubicBezTo>
                    <a:pt x="2541" y="710"/>
                    <a:pt x="2181" y="827"/>
                    <a:pt x="1833" y="762"/>
                  </a:cubicBezTo>
                  <a:cubicBezTo>
                    <a:pt x="1592" y="717"/>
                    <a:pt x="1348" y="599"/>
                    <a:pt x="1112" y="485"/>
                  </a:cubicBezTo>
                  <a:cubicBezTo>
                    <a:pt x="1012" y="437"/>
                    <a:pt x="918" y="392"/>
                    <a:pt x="824" y="35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821" y="358"/>
                    <a:pt x="821" y="358"/>
                    <a:pt x="821" y="358"/>
                  </a:cubicBezTo>
                  <a:cubicBezTo>
                    <a:pt x="915" y="398"/>
                    <a:pt x="1009" y="443"/>
                    <a:pt x="1109" y="491"/>
                  </a:cubicBezTo>
                  <a:cubicBezTo>
                    <a:pt x="1345" y="605"/>
                    <a:pt x="1590" y="723"/>
                    <a:pt x="1832" y="768"/>
                  </a:cubicBezTo>
                  <a:cubicBezTo>
                    <a:pt x="2182" y="834"/>
                    <a:pt x="2542" y="717"/>
                    <a:pt x="2891" y="603"/>
                  </a:cubicBezTo>
                  <a:cubicBezTo>
                    <a:pt x="3306" y="468"/>
                    <a:pt x="3736" y="328"/>
                    <a:pt x="4143" y="502"/>
                  </a:cubicBezTo>
                  <a:cubicBezTo>
                    <a:pt x="4545" y="674"/>
                    <a:pt x="4723" y="1073"/>
                    <a:pt x="4896" y="1459"/>
                  </a:cubicBezTo>
                  <a:cubicBezTo>
                    <a:pt x="5012" y="1720"/>
                    <a:pt x="5131" y="1987"/>
                    <a:pt x="5319" y="2188"/>
                  </a:cubicBezTo>
                  <a:cubicBezTo>
                    <a:pt x="5327" y="2187"/>
                    <a:pt x="5327" y="2187"/>
                    <a:pt x="5327" y="2187"/>
                  </a:cubicBezTo>
                  <a:cubicBezTo>
                    <a:pt x="5138" y="1986"/>
                    <a:pt x="5018" y="1718"/>
                    <a:pt x="4902" y="1456"/>
                  </a:cubicBezTo>
                  <a:close/>
                </a:path>
              </a:pathLst>
            </a:custGeom>
            <a:solidFill>
              <a:srgbClr val="CBCD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9" name="Freeform 58"/>
            <p:cNvSpPr>
              <a:spLocks/>
            </p:cNvSpPr>
            <p:nvPr userDrawn="1"/>
          </p:nvSpPr>
          <p:spPr bwMode="auto">
            <a:xfrm>
              <a:off x="-792" y="1231431"/>
              <a:ext cx="8329794" cy="3501881"/>
            </a:xfrm>
            <a:custGeom>
              <a:avLst/>
              <a:gdLst>
                <a:gd name="T0" fmla="*/ 4928 w 5463"/>
                <a:gd name="T1" fmla="*/ 1476 h 2295"/>
                <a:gd name="T2" fmla="*/ 4153 w 5463"/>
                <a:gd name="T3" fmla="*/ 516 h 2295"/>
                <a:gd name="T4" fmla="*/ 2920 w 5463"/>
                <a:gd name="T5" fmla="*/ 618 h 2295"/>
                <a:gd name="T6" fmla="*/ 1879 w 5463"/>
                <a:gd name="T7" fmla="*/ 783 h 2295"/>
                <a:gd name="T8" fmla="*/ 1161 w 5463"/>
                <a:gd name="T9" fmla="*/ 506 h 2295"/>
                <a:gd name="T10" fmla="*/ 871 w 5463"/>
                <a:gd name="T11" fmla="*/ 372 h 2295"/>
                <a:gd name="T12" fmla="*/ 0 w 5463"/>
                <a:gd name="T13" fmla="*/ 0 h 2295"/>
                <a:gd name="T14" fmla="*/ 0 w 5463"/>
                <a:gd name="T15" fmla="*/ 7 h 2295"/>
                <a:gd name="T16" fmla="*/ 869 w 5463"/>
                <a:gd name="T17" fmla="*/ 378 h 2295"/>
                <a:gd name="T18" fmla="*/ 1158 w 5463"/>
                <a:gd name="T19" fmla="*/ 512 h 2295"/>
                <a:gd name="T20" fmla="*/ 1878 w 5463"/>
                <a:gd name="T21" fmla="*/ 789 h 2295"/>
                <a:gd name="T22" fmla="*/ 2922 w 5463"/>
                <a:gd name="T23" fmla="*/ 625 h 2295"/>
                <a:gd name="T24" fmla="*/ 4150 w 5463"/>
                <a:gd name="T25" fmla="*/ 523 h 2295"/>
                <a:gd name="T26" fmla="*/ 4921 w 5463"/>
                <a:gd name="T27" fmla="*/ 1479 h 2295"/>
                <a:gd name="T28" fmla="*/ 5454 w 5463"/>
                <a:gd name="T29" fmla="*/ 2295 h 2295"/>
                <a:gd name="T30" fmla="*/ 5463 w 5463"/>
                <a:gd name="T31" fmla="*/ 2294 h 2295"/>
                <a:gd name="T32" fmla="*/ 4928 w 5463"/>
                <a:gd name="T33" fmla="*/ 1476 h 2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463" h="2295">
                  <a:moveTo>
                    <a:pt x="4928" y="1476"/>
                  </a:moveTo>
                  <a:cubicBezTo>
                    <a:pt x="4747" y="1090"/>
                    <a:pt x="4561" y="690"/>
                    <a:pt x="4153" y="516"/>
                  </a:cubicBezTo>
                  <a:cubicBezTo>
                    <a:pt x="3748" y="344"/>
                    <a:pt x="3327" y="483"/>
                    <a:pt x="2920" y="618"/>
                  </a:cubicBezTo>
                  <a:cubicBezTo>
                    <a:pt x="2578" y="732"/>
                    <a:pt x="2224" y="849"/>
                    <a:pt x="1879" y="783"/>
                  </a:cubicBezTo>
                  <a:cubicBezTo>
                    <a:pt x="1639" y="737"/>
                    <a:pt x="1396" y="619"/>
                    <a:pt x="1161" y="506"/>
                  </a:cubicBezTo>
                  <a:cubicBezTo>
                    <a:pt x="1060" y="458"/>
                    <a:pt x="966" y="412"/>
                    <a:pt x="871" y="37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869" y="378"/>
                    <a:pt x="869" y="378"/>
                    <a:pt x="869" y="378"/>
                  </a:cubicBezTo>
                  <a:cubicBezTo>
                    <a:pt x="963" y="418"/>
                    <a:pt x="1057" y="464"/>
                    <a:pt x="1158" y="512"/>
                  </a:cubicBezTo>
                  <a:cubicBezTo>
                    <a:pt x="1393" y="626"/>
                    <a:pt x="1637" y="743"/>
                    <a:pt x="1878" y="789"/>
                  </a:cubicBezTo>
                  <a:cubicBezTo>
                    <a:pt x="2224" y="856"/>
                    <a:pt x="2579" y="738"/>
                    <a:pt x="2922" y="625"/>
                  </a:cubicBezTo>
                  <a:cubicBezTo>
                    <a:pt x="3328" y="490"/>
                    <a:pt x="3748" y="351"/>
                    <a:pt x="4150" y="523"/>
                  </a:cubicBezTo>
                  <a:cubicBezTo>
                    <a:pt x="4555" y="695"/>
                    <a:pt x="4741" y="1094"/>
                    <a:pt x="4921" y="1479"/>
                  </a:cubicBezTo>
                  <a:cubicBezTo>
                    <a:pt x="5062" y="1780"/>
                    <a:pt x="5206" y="2089"/>
                    <a:pt x="5454" y="2295"/>
                  </a:cubicBezTo>
                  <a:cubicBezTo>
                    <a:pt x="5463" y="2294"/>
                    <a:pt x="5463" y="2294"/>
                    <a:pt x="5463" y="2294"/>
                  </a:cubicBezTo>
                  <a:cubicBezTo>
                    <a:pt x="5213" y="2088"/>
                    <a:pt x="5068" y="1778"/>
                    <a:pt x="4928" y="1476"/>
                  </a:cubicBezTo>
                  <a:close/>
                </a:path>
              </a:pathLst>
            </a:custGeom>
            <a:solidFill>
              <a:srgbClr val="CBCC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0" name="Freeform 59"/>
            <p:cNvSpPr>
              <a:spLocks/>
            </p:cNvSpPr>
            <p:nvPr userDrawn="1"/>
          </p:nvSpPr>
          <p:spPr bwMode="auto">
            <a:xfrm>
              <a:off x="-792" y="1029400"/>
              <a:ext cx="8578325" cy="3662224"/>
            </a:xfrm>
            <a:custGeom>
              <a:avLst/>
              <a:gdLst>
                <a:gd name="T0" fmla="*/ 5621 w 5625"/>
                <a:gd name="T1" fmla="*/ 2395 h 2399"/>
                <a:gd name="T2" fmla="*/ 4960 w 5625"/>
                <a:gd name="T3" fmla="*/ 1494 h 2399"/>
                <a:gd name="T4" fmla="*/ 4169 w 5625"/>
                <a:gd name="T5" fmla="*/ 529 h 2399"/>
                <a:gd name="T6" fmla="*/ 2953 w 5625"/>
                <a:gd name="T7" fmla="*/ 636 h 2399"/>
                <a:gd name="T8" fmla="*/ 1925 w 5625"/>
                <a:gd name="T9" fmla="*/ 804 h 2399"/>
                <a:gd name="T10" fmla="*/ 1208 w 5625"/>
                <a:gd name="T11" fmla="*/ 527 h 2399"/>
                <a:gd name="T12" fmla="*/ 919 w 5625"/>
                <a:gd name="T13" fmla="*/ 393 h 2399"/>
                <a:gd name="T14" fmla="*/ 0 w 5625"/>
                <a:gd name="T15" fmla="*/ 0 h 2399"/>
                <a:gd name="T16" fmla="*/ 0 w 5625"/>
                <a:gd name="T17" fmla="*/ 8 h 2399"/>
                <a:gd name="T18" fmla="*/ 916 w 5625"/>
                <a:gd name="T19" fmla="*/ 399 h 2399"/>
                <a:gd name="T20" fmla="*/ 1205 w 5625"/>
                <a:gd name="T21" fmla="*/ 534 h 2399"/>
                <a:gd name="T22" fmla="*/ 1924 w 5625"/>
                <a:gd name="T23" fmla="*/ 811 h 2399"/>
                <a:gd name="T24" fmla="*/ 2956 w 5625"/>
                <a:gd name="T25" fmla="*/ 643 h 2399"/>
                <a:gd name="T26" fmla="*/ 4166 w 5625"/>
                <a:gd name="T27" fmla="*/ 536 h 2399"/>
                <a:gd name="T28" fmla="*/ 4953 w 5625"/>
                <a:gd name="T29" fmla="*/ 1497 h 2399"/>
                <a:gd name="T30" fmla="*/ 5614 w 5625"/>
                <a:gd name="T31" fmla="*/ 2399 h 2399"/>
                <a:gd name="T32" fmla="*/ 5625 w 5625"/>
                <a:gd name="T33" fmla="*/ 2397 h 2399"/>
                <a:gd name="T34" fmla="*/ 5621 w 5625"/>
                <a:gd name="T35" fmla="*/ 2395 h 2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625" h="2399">
                  <a:moveTo>
                    <a:pt x="5621" y="2395"/>
                  </a:moveTo>
                  <a:cubicBezTo>
                    <a:pt x="5297" y="2195"/>
                    <a:pt x="5125" y="1839"/>
                    <a:pt x="4960" y="1494"/>
                  </a:cubicBezTo>
                  <a:cubicBezTo>
                    <a:pt x="4773" y="1106"/>
                    <a:pt x="4580" y="704"/>
                    <a:pt x="4169" y="529"/>
                  </a:cubicBezTo>
                  <a:cubicBezTo>
                    <a:pt x="3768" y="359"/>
                    <a:pt x="3354" y="500"/>
                    <a:pt x="2953" y="636"/>
                  </a:cubicBezTo>
                  <a:cubicBezTo>
                    <a:pt x="2616" y="751"/>
                    <a:pt x="2267" y="869"/>
                    <a:pt x="1925" y="804"/>
                  </a:cubicBezTo>
                  <a:cubicBezTo>
                    <a:pt x="1686" y="758"/>
                    <a:pt x="1443" y="641"/>
                    <a:pt x="1208" y="527"/>
                  </a:cubicBezTo>
                  <a:cubicBezTo>
                    <a:pt x="1108" y="479"/>
                    <a:pt x="1013" y="433"/>
                    <a:pt x="919" y="39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16" y="399"/>
                    <a:pt x="916" y="399"/>
                    <a:pt x="916" y="399"/>
                  </a:cubicBezTo>
                  <a:cubicBezTo>
                    <a:pt x="1010" y="440"/>
                    <a:pt x="1105" y="485"/>
                    <a:pt x="1205" y="534"/>
                  </a:cubicBezTo>
                  <a:cubicBezTo>
                    <a:pt x="1440" y="647"/>
                    <a:pt x="1684" y="764"/>
                    <a:pt x="1924" y="811"/>
                  </a:cubicBezTo>
                  <a:cubicBezTo>
                    <a:pt x="2268" y="877"/>
                    <a:pt x="2617" y="758"/>
                    <a:pt x="2956" y="643"/>
                  </a:cubicBezTo>
                  <a:cubicBezTo>
                    <a:pt x="3355" y="507"/>
                    <a:pt x="3768" y="366"/>
                    <a:pt x="4166" y="536"/>
                  </a:cubicBezTo>
                  <a:cubicBezTo>
                    <a:pt x="4575" y="709"/>
                    <a:pt x="4767" y="1110"/>
                    <a:pt x="4953" y="1497"/>
                  </a:cubicBezTo>
                  <a:cubicBezTo>
                    <a:pt x="5119" y="1842"/>
                    <a:pt x="5291" y="2198"/>
                    <a:pt x="5614" y="2399"/>
                  </a:cubicBezTo>
                  <a:cubicBezTo>
                    <a:pt x="5625" y="2397"/>
                    <a:pt x="5625" y="2397"/>
                    <a:pt x="5625" y="2397"/>
                  </a:cubicBezTo>
                  <a:cubicBezTo>
                    <a:pt x="5623" y="2396"/>
                    <a:pt x="5622" y="2396"/>
                    <a:pt x="5621" y="2395"/>
                  </a:cubicBezTo>
                  <a:close/>
                </a:path>
              </a:pathLst>
            </a:custGeom>
            <a:solidFill>
              <a:srgbClr val="CACC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1" name="Freeform 60"/>
            <p:cNvSpPr>
              <a:spLocks/>
            </p:cNvSpPr>
            <p:nvPr userDrawn="1"/>
          </p:nvSpPr>
          <p:spPr bwMode="auto">
            <a:xfrm>
              <a:off x="-792" y="830575"/>
              <a:ext cx="8862131" cy="3809739"/>
            </a:xfrm>
            <a:custGeom>
              <a:avLst/>
              <a:gdLst>
                <a:gd name="T0" fmla="*/ 5668 w 5812"/>
                <a:gd name="T1" fmla="*/ 2414 h 2497"/>
                <a:gd name="T2" fmla="*/ 4999 w 5812"/>
                <a:gd name="T3" fmla="*/ 1506 h 2497"/>
                <a:gd name="T4" fmla="*/ 4196 w 5812"/>
                <a:gd name="T5" fmla="*/ 531 h 2497"/>
                <a:gd name="T6" fmla="*/ 2990 w 5812"/>
                <a:gd name="T7" fmla="*/ 647 h 2497"/>
                <a:gd name="T8" fmla="*/ 1973 w 5812"/>
                <a:gd name="T9" fmla="*/ 823 h 2497"/>
                <a:gd name="T10" fmla="*/ 1254 w 5812"/>
                <a:gd name="T11" fmla="*/ 547 h 2497"/>
                <a:gd name="T12" fmla="*/ 966 w 5812"/>
                <a:gd name="T13" fmla="*/ 413 h 2497"/>
                <a:gd name="T14" fmla="*/ 0 w 5812"/>
                <a:gd name="T15" fmla="*/ 0 h 2497"/>
                <a:gd name="T16" fmla="*/ 0 w 5812"/>
                <a:gd name="T17" fmla="*/ 8 h 2497"/>
                <a:gd name="T18" fmla="*/ 963 w 5812"/>
                <a:gd name="T19" fmla="*/ 420 h 2497"/>
                <a:gd name="T20" fmla="*/ 1251 w 5812"/>
                <a:gd name="T21" fmla="*/ 554 h 2497"/>
                <a:gd name="T22" fmla="*/ 1971 w 5812"/>
                <a:gd name="T23" fmla="*/ 830 h 2497"/>
                <a:gd name="T24" fmla="*/ 2993 w 5812"/>
                <a:gd name="T25" fmla="*/ 653 h 2497"/>
                <a:gd name="T26" fmla="*/ 4193 w 5812"/>
                <a:gd name="T27" fmla="*/ 538 h 2497"/>
                <a:gd name="T28" fmla="*/ 4993 w 5812"/>
                <a:gd name="T29" fmla="*/ 1509 h 2497"/>
                <a:gd name="T30" fmla="*/ 5664 w 5812"/>
                <a:gd name="T31" fmla="*/ 2420 h 2497"/>
                <a:gd name="T32" fmla="*/ 5801 w 5812"/>
                <a:gd name="T33" fmla="*/ 2497 h 2497"/>
                <a:gd name="T34" fmla="*/ 5812 w 5812"/>
                <a:gd name="T35" fmla="*/ 2495 h 2497"/>
                <a:gd name="T36" fmla="*/ 5668 w 5812"/>
                <a:gd name="T37" fmla="*/ 2414 h 2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12" h="2497">
                  <a:moveTo>
                    <a:pt x="5668" y="2414"/>
                  </a:moveTo>
                  <a:cubicBezTo>
                    <a:pt x="5344" y="2212"/>
                    <a:pt x="5168" y="1853"/>
                    <a:pt x="4999" y="1506"/>
                  </a:cubicBezTo>
                  <a:cubicBezTo>
                    <a:pt x="4808" y="1113"/>
                    <a:pt x="4610" y="707"/>
                    <a:pt x="4196" y="531"/>
                  </a:cubicBezTo>
                  <a:cubicBezTo>
                    <a:pt x="3797" y="362"/>
                    <a:pt x="3387" y="506"/>
                    <a:pt x="2990" y="647"/>
                  </a:cubicBezTo>
                  <a:cubicBezTo>
                    <a:pt x="2657" y="764"/>
                    <a:pt x="2312" y="886"/>
                    <a:pt x="1973" y="823"/>
                  </a:cubicBezTo>
                  <a:cubicBezTo>
                    <a:pt x="1733" y="778"/>
                    <a:pt x="1490" y="661"/>
                    <a:pt x="1254" y="547"/>
                  </a:cubicBezTo>
                  <a:cubicBezTo>
                    <a:pt x="1154" y="499"/>
                    <a:pt x="1060" y="453"/>
                    <a:pt x="966" y="4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63" y="420"/>
                    <a:pt x="963" y="420"/>
                    <a:pt x="963" y="420"/>
                  </a:cubicBezTo>
                  <a:cubicBezTo>
                    <a:pt x="1057" y="460"/>
                    <a:pt x="1151" y="505"/>
                    <a:pt x="1251" y="554"/>
                  </a:cubicBezTo>
                  <a:cubicBezTo>
                    <a:pt x="1487" y="667"/>
                    <a:pt x="1731" y="785"/>
                    <a:pt x="1971" y="830"/>
                  </a:cubicBezTo>
                  <a:cubicBezTo>
                    <a:pt x="2312" y="894"/>
                    <a:pt x="2658" y="771"/>
                    <a:pt x="2993" y="653"/>
                  </a:cubicBezTo>
                  <a:cubicBezTo>
                    <a:pt x="3388" y="514"/>
                    <a:pt x="3797" y="369"/>
                    <a:pt x="4193" y="538"/>
                  </a:cubicBezTo>
                  <a:cubicBezTo>
                    <a:pt x="4605" y="713"/>
                    <a:pt x="4802" y="1117"/>
                    <a:pt x="4993" y="1509"/>
                  </a:cubicBezTo>
                  <a:cubicBezTo>
                    <a:pt x="5162" y="1857"/>
                    <a:pt x="5338" y="2217"/>
                    <a:pt x="5664" y="2420"/>
                  </a:cubicBezTo>
                  <a:cubicBezTo>
                    <a:pt x="5708" y="2447"/>
                    <a:pt x="5754" y="2473"/>
                    <a:pt x="5801" y="2497"/>
                  </a:cubicBezTo>
                  <a:cubicBezTo>
                    <a:pt x="5812" y="2495"/>
                    <a:pt x="5812" y="2495"/>
                    <a:pt x="5812" y="2495"/>
                  </a:cubicBezTo>
                  <a:cubicBezTo>
                    <a:pt x="5763" y="2470"/>
                    <a:pt x="5714" y="2443"/>
                    <a:pt x="5668" y="2414"/>
                  </a:cubicBezTo>
                  <a:close/>
                </a:path>
              </a:pathLst>
            </a:custGeom>
            <a:solidFill>
              <a:srgbClr val="CACB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2" name="Freeform 61"/>
            <p:cNvSpPr>
              <a:spLocks/>
            </p:cNvSpPr>
            <p:nvPr userDrawn="1"/>
          </p:nvSpPr>
          <p:spPr bwMode="auto">
            <a:xfrm>
              <a:off x="-792" y="630146"/>
              <a:ext cx="9171592" cy="3957254"/>
            </a:xfrm>
            <a:custGeom>
              <a:avLst/>
              <a:gdLst>
                <a:gd name="T0" fmla="*/ 5717 w 6015"/>
                <a:gd name="T1" fmla="*/ 2433 h 2593"/>
                <a:gd name="T2" fmla="*/ 5048 w 6015"/>
                <a:gd name="T3" fmla="*/ 1512 h 2593"/>
                <a:gd name="T4" fmla="*/ 4236 w 6015"/>
                <a:gd name="T5" fmla="*/ 521 h 2593"/>
                <a:gd name="T6" fmla="*/ 3031 w 6015"/>
                <a:gd name="T7" fmla="*/ 650 h 2593"/>
                <a:gd name="T8" fmla="*/ 2021 w 6015"/>
                <a:gd name="T9" fmla="*/ 841 h 2593"/>
                <a:gd name="T10" fmla="*/ 1299 w 6015"/>
                <a:gd name="T11" fmla="*/ 566 h 2593"/>
                <a:gd name="T12" fmla="*/ 1014 w 6015"/>
                <a:gd name="T13" fmla="*/ 433 h 2593"/>
                <a:gd name="T14" fmla="*/ 0 w 6015"/>
                <a:gd name="T15" fmla="*/ 0 h 2593"/>
                <a:gd name="T16" fmla="*/ 0 w 6015"/>
                <a:gd name="T17" fmla="*/ 8 h 2593"/>
                <a:gd name="T18" fmla="*/ 1011 w 6015"/>
                <a:gd name="T19" fmla="*/ 440 h 2593"/>
                <a:gd name="T20" fmla="*/ 1296 w 6015"/>
                <a:gd name="T21" fmla="*/ 573 h 2593"/>
                <a:gd name="T22" fmla="*/ 2020 w 6015"/>
                <a:gd name="T23" fmla="*/ 848 h 2593"/>
                <a:gd name="T24" fmla="*/ 3034 w 6015"/>
                <a:gd name="T25" fmla="*/ 657 h 2593"/>
                <a:gd name="T26" fmla="*/ 4233 w 6015"/>
                <a:gd name="T27" fmla="*/ 528 h 2593"/>
                <a:gd name="T28" fmla="*/ 5041 w 6015"/>
                <a:gd name="T29" fmla="*/ 1515 h 2593"/>
                <a:gd name="T30" fmla="*/ 5713 w 6015"/>
                <a:gd name="T31" fmla="*/ 2439 h 2593"/>
                <a:gd name="T32" fmla="*/ 6002 w 6015"/>
                <a:gd name="T33" fmla="*/ 2593 h 2593"/>
                <a:gd name="T34" fmla="*/ 6015 w 6015"/>
                <a:gd name="T35" fmla="*/ 2590 h 2593"/>
                <a:gd name="T36" fmla="*/ 5717 w 6015"/>
                <a:gd name="T37" fmla="*/ 2433 h 25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015" h="2593">
                  <a:moveTo>
                    <a:pt x="5717" y="2433"/>
                  </a:moveTo>
                  <a:cubicBezTo>
                    <a:pt x="5394" y="2227"/>
                    <a:pt x="5218" y="1864"/>
                    <a:pt x="5048" y="1512"/>
                  </a:cubicBezTo>
                  <a:cubicBezTo>
                    <a:pt x="4854" y="1112"/>
                    <a:pt x="4654" y="698"/>
                    <a:pt x="4236" y="521"/>
                  </a:cubicBezTo>
                  <a:cubicBezTo>
                    <a:pt x="3838" y="352"/>
                    <a:pt x="3428" y="503"/>
                    <a:pt x="3031" y="650"/>
                  </a:cubicBezTo>
                  <a:cubicBezTo>
                    <a:pt x="2700" y="773"/>
                    <a:pt x="2358" y="900"/>
                    <a:pt x="2021" y="841"/>
                  </a:cubicBezTo>
                  <a:cubicBezTo>
                    <a:pt x="1781" y="799"/>
                    <a:pt x="1536" y="681"/>
                    <a:pt x="1299" y="566"/>
                  </a:cubicBezTo>
                  <a:cubicBezTo>
                    <a:pt x="1200" y="518"/>
                    <a:pt x="1106" y="473"/>
                    <a:pt x="1014" y="43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011" y="440"/>
                    <a:pt x="1011" y="440"/>
                    <a:pt x="1011" y="440"/>
                  </a:cubicBezTo>
                  <a:cubicBezTo>
                    <a:pt x="1103" y="479"/>
                    <a:pt x="1197" y="525"/>
                    <a:pt x="1296" y="573"/>
                  </a:cubicBezTo>
                  <a:cubicBezTo>
                    <a:pt x="1533" y="687"/>
                    <a:pt x="1778" y="806"/>
                    <a:pt x="2020" y="848"/>
                  </a:cubicBezTo>
                  <a:cubicBezTo>
                    <a:pt x="2358" y="907"/>
                    <a:pt x="2702" y="780"/>
                    <a:pt x="3034" y="657"/>
                  </a:cubicBezTo>
                  <a:cubicBezTo>
                    <a:pt x="3429" y="511"/>
                    <a:pt x="3838" y="359"/>
                    <a:pt x="4233" y="528"/>
                  </a:cubicBezTo>
                  <a:cubicBezTo>
                    <a:pt x="4648" y="704"/>
                    <a:pt x="4848" y="1117"/>
                    <a:pt x="5041" y="1515"/>
                  </a:cubicBezTo>
                  <a:cubicBezTo>
                    <a:pt x="5212" y="1868"/>
                    <a:pt x="5388" y="2232"/>
                    <a:pt x="5713" y="2439"/>
                  </a:cubicBezTo>
                  <a:cubicBezTo>
                    <a:pt x="5803" y="2497"/>
                    <a:pt x="5900" y="2547"/>
                    <a:pt x="6002" y="2593"/>
                  </a:cubicBezTo>
                  <a:cubicBezTo>
                    <a:pt x="6015" y="2590"/>
                    <a:pt x="6015" y="2590"/>
                    <a:pt x="6015" y="2590"/>
                  </a:cubicBezTo>
                  <a:cubicBezTo>
                    <a:pt x="5910" y="2543"/>
                    <a:pt x="5809" y="2492"/>
                    <a:pt x="5717" y="2433"/>
                  </a:cubicBezTo>
                  <a:close/>
                </a:path>
              </a:pathLst>
            </a:custGeom>
            <a:solidFill>
              <a:srgbClr val="C9CB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3" name="Freeform 62"/>
            <p:cNvSpPr>
              <a:spLocks/>
            </p:cNvSpPr>
            <p:nvPr userDrawn="1"/>
          </p:nvSpPr>
          <p:spPr bwMode="auto">
            <a:xfrm>
              <a:off x="-792" y="429718"/>
              <a:ext cx="9501898" cy="4099958"/>
            </a:xfrm>
            <a:custGeom>
              <a:avLst/>
              <a:gdLst>
                <a:gd name="T0" fmla="*/ 5766 w 6231"/>
                <a:gd name="T1" fmla="*/ 2451 h 2686"/>
                <a:gd name="T2" fmla="*/ 5137 w 6231"/>
                <a:gd name="T3" fmla="*/ 1595 h 2686"/>
                <a:gd name="T4" fmla="*/ 5049 w 6231"/>
                <a:gd name="T5" fmla="*/ 1426 h 2686"/>
                <a:gd name="T6" fmla="*/ 5007 w 6231"/>
                <a:gd name="T7" fmla="*/ 1347 h 2686"/>
                <a:gd name="T8" fmla="*/ 4291 w 6231"/>
                <a:gd name="T9" fmla="*/ 497 h 2686"/>
                <a:gd name="T10" fmla="*/ 3257 w 6231"/>
                <a:gd name="T11" fmla="*/ 595 h 2686"/>
                <a:gd name="T12" fmla="*/ 3225 w 6231"/>
                <a:gd name="T13" fmla="*/ 606 h 2686"/>
                <a:gd name="T14" fmla="*/ 3032 w 6231"/>
                <a:gd name="T15" fmla="*/ 674 h 2686"/>
                <a:gd name="T16" fmla="*/ 2071 w 6231"/>
                <a:gd name="T17" fmla="*/ 858 h 2686"/>
                <a:gd name="T18" fmla="*/ 1341 w 6231"/>
                <a:gd name="T19" fmla="*/ 584 h 2686"/>
                <a:gd name="T20" fmla="*/ 1061 w 6231"/>
                <a:gd name="T21" fmla="*/ 453 h 2686"/>
                <a:gd name="T22" fmla="*/ 0 w 6231"/>
                <a:gd name="T23" fmla="*/ 0 h 2686"/>
                <a:gd name="T24" fmla="*/ 0 w 6231"/>
                <a:gd name="T25" fmla="*/ 8 h 2686"/>
                <a:gd name="T26" fmla="*/ 1058 w 6231"/>
                <a:gd name="T27" fmla="*/ 460 h 2686"/>
                <a:gd name="T28" fmla="*/ 1338 w 6231"/>
                <a:gd name="T29" fmla="*/ 591 h 2686"/>
                <a:gd name="T30" fmla="*/ 2070 w 6231"/>
                <a:gd name="T31" fmla="*/ 865 h 2686"/>
                <a:gd name="T32" fmla="*/ 3035 w 6231"/>
                <a:gd name="T33" fmla="*/ 681 h 2686"/>
                <a:gd name="T34" fmla="*/ 3228 w 6231"/>
                <a:gd name="T35" fmla="*/ 613 h 2686"/>
                <a:gd name="T36" fmla="*/ 3259 w 6231"/>
                <a:gd name="T37" fmla="*/ 602 h 2686"/>
                <a:gd name="T38" fmla="*/ 4288 w 6231"/>
                <a:gd name="T39" fmla="*/ 504 h 2686"/>
                <a:gd name="T40" fmla="*/ 5000 w 6231"/>
                <a:gd name="T41" fmla="*/ 1350 h 2686"/>
                <a:gd name="T42" fmla="*/ 5042 w 6231"/>
                <a:gd name="T43" fmla="*/ 1430 h 2686"/>
                <a:gd name="T44" fmla="*/ 5130 w 6231"/>
                <a:gd name="T45" fmla="*/ 1598 h 2686"/>
                <a:gd name="T46" fmla="*/ 5762 w 6231"/>
                <a:gd name="T47" fmla="*/ 2457 h 2686"/>
                <a:gd name="T48" fmla="*/ 6217 w 6231"/>
                <a:gd name="T49" fmla="*/ 2686 h 2686"/>
                <a:gd name="T50" fmla="*/ 6231 w 6231"/>
                <a:gd name="T51" fmla="*/ 2683 h 2686"/>
                <a:gd name="T52" fmla="*/ 5766 w 6231"/>
                <a:gd name="T53" fmla="*/ 2451 h 2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231" h="2686">
                  <a:moveTo>
                    <a:pt x="5766" y="2451"/>
                  </a:moveTo>
                  <a:cubicBezTo>
                    <a:pt x="5475" y="2257"/>
                    <a:pt x="5295" y="1905"/>
                    <a:pt x="5137" y="1595"/>
                  </a:cubicBezTo>
                  <a:cubicBezTo>
                    <a:pt x="5106" y="1536"/>
                    <a:pt x="5078" y="1481"/>
                    <a:pt x="5049" y="1426"/>
                  </a:cubicBezTo>
                  <a:cubicBezTo>
                    <a:pt x="5035" y="1400"/>
                    <a:pt x="5021" y="1374"/>
                    <a:pt x="5007" y="1347"/>
                  </a:cubicBezTo>
                  <a:cubicBezTo>
                    <a:pt x="4833" y="1017"/>
                    <a:pt x="4636" y="643"/>
                    <a:pt x="4291" y="497"/>
                  </a:cubicBezTo>
                  <a:cubicBezTo>
                    <a:pt x="3960" y="356"/>
                    <a:pt x="3587" y="483"/>
                    <a:pt x="3257" y="595"/>
                  </a:cubicBezTo>
                  <a:cubicBezTo>
                    <a:pt x="3225" y="606"/>
                    <a:pt x="3225" y="606"/>
                    <a:pt x="3225" y="606"/>
                  </a:cubicBezTo>
                  <a:cubicBezTo>
                    <a:pt x="3162" y="627"/>
                    <a:pt x="3099" y="650"/>
                    <a:pt x="3032" y="674"/>
                  </a:cubicBezTo>
                  <a:cubicBezTo>
                    <a:pt x="2717" y="789"/>
                    <a:pt x="2391" y="907"/>
                    <a:pt x="2071" y="858"/>
                  </a:cubicBezTo>
                  <a:cubicBezTo>
                    <a:pt x="1829" y="821"/>
                    <a:pt x="1581" y="700"/>
                    <a:pt x="1341" y="584"/>
                  </a:cubicBezTo>
                  <a:cubicBezTo>
                    <a:pt x="1244" y="537"/>
                    <a:pt x="1152" y="492"/>
                    <a:pt x="1061" y="45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058" y="460"/>
                    <a:pt x="1058" y="460"/>
                    <a:pt x="1058" y="460"/>
                  </a:cubicBezTo>
                  <a:cubicBezTo>
                    <a:pt x="1149" y="499"/>
                    <a:pt x="1241" y="544"/>
                    <a:pt x="1338" y="591"/>
                  </a:cubicBezTo>
                  <a:cubicBezTo>
                    <a:pt x="1578" y="707"/>
                    <a:pt x="1826" y="828"/>
                    <a:pt x="2070" y="865"/>
                  </a:cubicBezTo>
                  <a:cubicBezTo>
                    <a:pt x="2392" y="915"/>
                    <a:pt x="2719" y="796"/>
                    <a:pt x="3035" y="681"/>
                  </a:cubicBezTo>
                  <a:cubicBezTo>
                    <a:pt x="3102" y="657"/>
                    <a:pt x="3165" y="634"/>
                    <a:pt x="3228" y="613"/>
                  </a:cubicBezTo>
                  <a:cubicBezTo>
                    <a:pt x="3259" y="602"/>
                    <a:pt x="3259" y="602"/>
                    <a:pt x="3259" y="602"/>
                  </a:cubicBezTo>
                  <a:cubicBezTo>
                    <a:pt x="3588" y="490"/>
                    <a:pt x="3960" y="364"/>
                    <a:pt x="4288" y="504"/>
                  </a:cubicBezTo>
                  <a:cubicBezTo>
                    <a:pt x="4631" y="649"/>
                    <a:pt x="4827" y="1022"/>
                    <a:pt x="5000" y="1350"/>
                  </a:cubicBezTo>
                  <a:cubicBezTo>
                    <a:pt x="5015" y="1377"/>
                    <a:pt x="5029" y="1404"/>
                    <a:pt x="5042" y="1430"/>
                  </a:cubicBezTo>
                  <a:cubicBezTo>
                    <a:pt x="5071" y="1484"/>
                    <a:pt x="5100" y="1540"/>
                    <a:pt x="5130" y="1598"/>
                  </a:cubicBezTo>
                  <a:cubicBezTo>
                    <a:pt x="5289" y="1909"/>
                    <a:pt x="5470" y="2262"/>
                    <a:pt x="5762" y="2457"/>
                  </a:cubicBezTo>
                  <a:cubicBezTo>
                    <a:pt x="5899" y="2548"/>
                    <a:pt x="6056" y="2620"/>
                    <a:pt x="6217" y="2686"/>
                  </a:cubicBezTo>
                  <a:cubicBezTo>
                    <a:pt x="6231" y="2683"/>
                    <a:pt x="6231" y="2683"/>
                    <a:pt x="6231" y="2683"/>
                  </a:cubicBezTo>
                  <a:cubicBezTo>
                    <a:pt x="6066" y="2617"/>
                    <a:pt x="5905" y="2544"/>
                    <a:pt x="5766" y="2451"/>
                  </a:cubicBezTo>
                  <a:close/>
                </a:path>
              </a:pathLst>
            </a:custGeom>
            <a:solidFill>
              <a:srgbClr val="C9CA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4" name="Freeform 63"/>
            <p:cNvSpPr>
              <a:spLocks/>
            </p:cNvSpPr>
            <p:nvPr userDrawn="1"/>
          </p:nvSpPr>
          <p:spPr bwMode="auto">
            <a:xfrm>
              <a:off x="-792" y="230893"/>
              <a:ext cx="9849841" cy="4237854"/>
            </a:xfrm>
            <a:custGeom>
              <a:avLst/>
              <a:gdLst>
                <a:gd name="T0" fmla="*/ 5815 w 6459"/>
                <a:gd name="T1" fmla="*/ 2469 h 2777"/>
                <a:gd name="T2" fmla="*/ 5184 w 6459"/>
                <a:gd name="T3" fmla="*/ 1614 h 2777"/>
                <a:gd name="T4" fmla="*/ 5096 w 6459"/>
                <a:gd name="T5" fmla="*/ 1447 h 2777"/>
                <a:gd name="T6" fmla="*/ 5050 w 6459"/>
                <a:gd name="T7" fmla="*/ 1361 h 2777"/>
                <a:gd name="T8" fmla="*/ 4338 w 6459"/>
                <a:gd name="T9" fmla="*/ 518 h 2777"/>
                <a:gd name="T10" fmla="*/ 3311 w 6459"/>
                <a:gd name="T11" fmla="*/ 614 h 2777"/>
                <a:gd name="T12" fmla="*/ 3272 w 6459"/>
                <a:gd name="T13" fmla="*/ 627 h 2777"/>
                <a:gd name="T14" fmla="*/ 3080 w 6459"/>
                <a:gd name="T15" fmla="*/ 694 h 2777"/>
                <a:gd name="T16" fmla="*/ 2120 w 6459"/>
                <a:gd name="T17" fmla="*/ 876 h 2777"/>
                <a:gd name="T18" fmla="*/ 1385 w 6459"/>
                <a:gd name="T19" fmla="*/ 603 h 2777"/>
                <a:gd name="T20" fmla="*/ 1108 w 6459"/>
                <a:gd name="T21" fmla="*/ 473 h 2777"/>
                <a:gd name="T22" fmla="*/ 0 w 6459"/>
                <a:gd name="T23" fmla="*/ 0 h 2777"/>
                <a:gd name="T24" fmla="*/ 0 w 6459"/>
                <a:gd name="T25" fmla="*/ 8 h 2777"/>
                <a:gd name="T26" fmla="*/ 1105 w 6459"/>
                <a:gd name="T27" fmla="*/ 480 h 2777"/>
                <a:gd name="T28" fmla="*/ 1382 w 6459"/>
                <a:gd name="T29" fmla="*/ 610 h 2777"/>
                <a:gd name="T30" fmla="*/ 2119 w 6459"/>
                <a:gd name="T31" fmla="*/ 883 h 2777"/>
                <a:gd name="T32" fmla="*/ 3082 w 6459"/>
                <a:gd name="T33" fmla="*/ 701 h 2777"/>
                <a:gd name="T34" fmla="*/ 3274 w 6459"/>
                <a:gd name="T35" fmla="*/ 634 h 2777"/>
                <a:gd name="T36" fmla="*/ 3313 w 6459"/>
                <a:gd name="T37" fmla="*/ 621 h 2777"/>
                <a:gd name="T38" fmla="*/ 4335 w 6459"/>
                <a:gd name="T39" fmla="*/ 525 h 2777"/>
                <a:gd name="T40" fmla="*/ 5043 w 6459"/>
                <a:gd name="T41" fmla="*/ 1365 h 2777"/>
                <a:gd name="T42" fmla="*/ 5089 w 6459"/>
                <a:gd name="T43" fmla="*/ 1451 h 2777"/>
                <a:gd name="T44" fmla="*/ 5177 w 6459"/>
                <a:gd name="T45" fmla="*/ 1618 h 2777"/>
                <a:gd name="T46" fmla="*/ 5810 w 6459"/>
                <a:gd name="T47" fmla="*/ 2475 h 2777"/>
                <a:gd name="T48" fmla="*/ 6445 w 6459"/>
                <a:gd name="T49" fmla="*/ 2777 h 2777"/>
                <a:gd name="T50" fmla="*/ 6459 w 6459"/>
                <a:gd name="T51" fmla="*/ 2774 h 2777"/>
                <a:gd name="T52" fmla="*/ 5815 w 6459"/>
                <a:gd name="T53" fmla="*/ 2469 h 2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459" h="2777">
                  <a:moveTo>
                    <a:pt x="5815" y="2469"/>
                  </a:moveTo>
                  <a:cubicBezTo>
                    <a:pt x="5526" y="2272"/>
                    <a:pt x="5344" y="1923"/>
                    <a:pt x="5184" y="1614"/>
                  </a:cubicBezTo>
                  <a:cubicBezTo>
                    <a:pt x="5154" y="1556"/>
                    <a:pt x="5125" y="1501"/>
                    <a:pt x="5096" y="1447"/>
                  </a:cubicBezTo>
                  <a:cubicBezTo>
                    <a:pt x="5081" y="1419"/>
                    <a:pt x="5066" y="1390"/>
                    <a:pt x="5050" y="1361"/>
                  </a:cubicBezTo>
                  <a:cubicBezTo>
                    <a:pt x="4884" y="1050"/>
                    <a:pt x="4677" y="662"/>
                    <a:pt x="4338" y="518"/>
                  </a:cubicBezTo>
                  <a:cubicBezTo>
                    <a:pt x="4013" y="379"/>
                    <a:pt x="3623" y="509"/>
                    <a:pt x="3311" y="614"/>
                  </a:cubicBezTo>
                  <a:cubicBezTo>
                    <a:pt x="3272" y="627"/>
                    <a:pt x="3272" y="627"/>
                    <a:pt x="3272" y="627"/>
                  </a:cubicBezTo>
                  <a:cubicBezTo>
                    <a:pt x="3209" y="648"/>
                    <a:pt x="3146" y="670"/>
                    <a:pt x="3080" y="694"/>
                  </a:cubicBezTo>
                  <a:cubicBezTo>
                    <a:pt x="2765" y="806"/>
                    <a:pt x="2440" y="922"/>
                    <a:pt x="2120" y="876"/>
                  </a:cubicBezTo>
                  <a:cubicBezTo>
                    <a:pt x="1876" y="841"/>
                    <a:pt x="1626" y="720"/>
                    <a:pt x="1385" y="603"/>
                  </a:cubicBezTo>
                  <a:cubicBezTo>
                    <a:pt x="1289" y="556"/>
                    <a:pt x="1198" y="512"/>
                    <a:pt x="1108" y="47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105" y="480"/>
                    <a:pt x="1105" y="480"/>
                    <a:pt x="1105" y="480"/>
                  </a:cubicBezTo>
                  <a:cubicBezTo>
                    <a:pt x="1195" y="519"/>
                    <a:pt x="1286" y="563"/>
                    <a:pt x="1382" y="610"/>
                  </a:cubicBezTo>
                  <a:cubicBezTo>
                    <a:pt x="1624" y="727"/>
                    <a:pt x="1873" y="848"/>
                    <a:pt x="2119" y="883"/>
                  </a:cubicBezTo>
                  <a:cubicBezTo>
                    <a:pt x="2441" y="930"/>
                    <a:pt x="2767" y="813"/>
                    <a:pt x="3082" y="701"/>
                  </a:cubicBezTo>
                  <a:cubicBezTo>
                    <a:pt x="3149" y="677"/>
                    <a:pt x="3212" y="655"/>
                    <a:pt x="3274" y="634"/>
                  </a:cubicBezTo>
                  <a:cubicBezTo>
                    <a:pt x="3313" y="621"/>
                    <a:pt x="3313" y="621"/>
                    <a:pt x="3313" y="621"/>
                  </a:cubicBezTo>
                  <a:cubicBezTo>
                    <a:pt x="3625" y="517"/>
                    <a:pt x="4012" y="388"/>
                    <a:pt x="4335" y="525"/>
                  </a:cubicBezTo>
                  <a:cubicBezTo>
                    <a:pt x="4672" y="668"/>
                    <a:pt x="4878" y="1054"/>
                    <a:pt x="5043" y="1365"/>
                  </a:cubicBezTo>
                  <a:cubicBezTo>
                    <a:pt x="5059" y="1394"/>
                    <a:pt x="5074" y="1423"/>
                    <a:pt x="5089" y="1451"/>
                  </a:cubicBezTo>
                  <a:cubicBezTo>
                    <a:pt x="5119" y="1505"/>
                    <a:pt x="5147" y="1560"/>
                    <a:pt x="5177" y="1618"/>
                  </a:cubicBezTo>
                  <a:cubicBezTo>
                    <a:pt x="5338" y="1927"/>
                    <a:pt x="5520" y="2277"/>
                    <a:pt x="5810" y="2475"/>
                  </a:cubicBezTo>
                  <a:cubicBezTo>
                    <a:pt x="5996" y="2602"/>
                    <a:pt x="6221" y="2692"/>
                    <a:pt x="6445" y="2777"/>
                  </a:cubicBezTo>
                  <a:cubicBezTo>
                    <a:pt x="6459" y="2774"/>
                    <a:pt x="6459" y="2774"/>
                    <a:pt x="6459" y="2774"/>
                  </a:cubicBezTo>
                  <a:cubicBezTo>
                    <a:pt x="6233" y="2688"/>
                    <a:pt x="6002" y="2597"/>
                    <a:pt x="5815" y="2469"/>
                  </a:cubicBezTo>
                  <a:close/>
                </a:path>
              </a:pathLst>
            </a:custGeom>
            <a:solidFill>
              <a:srgbClr val="C8CA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4079776" y="0"/>
            <a:ext cx="8112224" cy="6861600"/>
          </a:xfrm>
          <a:custGeom>
            <a:avLst/>
            <a:gdLst>
              <a:gd name="connsiteX0" fmla="*/ 0 w 6120000"/>
              <a:gd name="connsiteY0" fmla="*/ 6855351 h 6861600"/>
              <a:gd name="connsiteX1" fmla="*/ 6120000 w 6120000"/>
              <a:gd name="connsiteY1" fmla="*/ 6856413 h 6861600"/>
              <a:gd name="connsiteX2" fmla="*/ 6120000 w 6120000"/>
              <a:gd name="connsiteY2" fmla="*/ 6861600 h 6861600"/>
              <a:gd name="connsiteX3" fmla="*/ 0 w 6120000"/>
              <a:gd name="connsiteY3" fmla="*/ 6861600 h 6861600"/>
              <a:gd name="connsiteX4" fmla="*/ 0 w 6120000"/>
              <a:gd name="connsiteY4" fmla="*/ 0 h 6861600"/>
              <a:gd name="connsiteX5" fmla="*/ 6120000 w 6120000"/>
              <a:gd name="connsiteY5" fmla="*/ 0 h 6861600"/>
              <a:gd name="connsiteX6" fmla="*/ 6120000 w 6120000"/>
              <a:gd name="connsiteY6" fmla="*/ 6856413 h 6861600"/>
              <a:gd name="connsiteX7" fmla="*/ 30350 w 6120000"/>
              <a:gd name="connsiteY7" fmla="*/ 5778500 h 6861600"/>
              <a:gd name="connsiteX8" fmla="*/ 0 w 6120000"/>
              <a:gd name="connsiteY8" fmla="*/ 5783848 h 6861600"/>
              <a:gd name="connsiteX0" fmla="*/ 0 w 6120000"/>
              <a:gd name="connsiteY0" fmla="*/ 6855351 h 6861600"/>
              <a:gd name="connsiteX1" fmla="*/ 6120000 w 6120000"/>
              <a:gd name="connsiteY1" fmla="*/ 6856413 h 6861600"/>
              <a:gd name="connsiteX2" fmla="*/ 6120000 w 6120000"/>
              <a:gd name="connsiteY2" fmla="*/ 6861600 h 6861600"/>
              <a:gd name="connsiteX3" fmla="*/ 0 w 6120000"/>
              <a:gd name="connsiteY3" fmla="*/ 6861600 h 6861600"/>
              <a:gd name="connsiteX4" fmla="*/ 0 w 6120000"/>
              <a:gd name="connsiteY4" fmla="*/ 6855351 h 6861600"/>
              <a:gd name="connsiteX5" fmla="*/ 0 w 6120000"/>
              <a:gd name="connsiteY5" fmla="*/ 0 h 6861600"/>
              <a:gd name="connsiteX6" fmla="*/ 6120000 w 6120000"/>
              <a:gd name="connsiteY6" fmla="*/ 0 h 6861600"/>
              <a:gd name="connsiteX7" fmla="*/ 6120000 w 6120000"/>
              <a:gd name="connsiteY7" fmla="*/ 6856413 h 6861600"/>
              <a:gd name="connsiteX8" fmla="*/ 30350 w 6120000"/>
              <a:gd name="connsiteY8" fmla="*/ 5778500 h 6861600"/>
              <a:gd name="connsiteX9" fmla="*/ 0 w 6120000"/>
              <a:gd name="connsiteY9" fmla="*/ 5461580 h 6861600"/>
              <a:gd name="connsiteX10" fmla="*/ 0 w 6120000"/>
              <a:gd name="connsiteY10" fmla="*/ 0 h 6861600"/>
              <a:gd name="connsiteX0" fmla="*/ 0 w 6120000"/>
              <a:gd name="connsiteY0" fmla="*/ 6855351 h 6861600"/>
              <a:gd name="connsiteX1" fmla="*/ 6120000 w 6120000"/>
              <a:gd name="connsiteY1" fmla="*/ 6856413 h 6861600"/>
              <a:gd name="connsiteX2" fmla="*/ 6120000 w 6120000"/>
              <a:gd name="connsiteY2" fmla="*/ 6861600 h 6861600"/>
              <a:gd name="connsiteX3" fmla="*/ 0 w 6120000"/>
              <a:gd name="connsiteY3" fmla="*/ 6861600 h 6861600"/>
              <a:gd name="connsiteX4" fmla="*/ 0 w 6120000"/>
              <a:gd name="connsiteY4" fmla="*/ 6855351 h 6861600"/>
              <a:gd name="connsiteX5" fmla="*/ 0 w 6120000"/>
              <a:gd name="connsiteY5" fmla="*/ 0 h 6861600"/>
              <a:gd name="connsiteX6" fmla="*/ 6120000 w 6120000"/>
              <a:gd name="connsiteY6" fmla="*/ 0 h 6861600"/>
              <a:gd name="connsiteX7" fmla="*/ 6120000 w 6120000"/>
              <a:gd name="connsiteY7" fmla="*/ 6856413 h 6861600"/>
              <a:gd name="connsiteX8" fmla="*/ 0 w 6120000"/>
              <a:gd name="connsiteY8" fmla="*/ 5461580 h 6861600"/>
              <a:gd name="connsiteX9" fmla="*/ 0 w 6120000"/>
              <a:gd name="connsiteY9" fmla="*/ 0 h 6861600"/>
              <a:gd name="connsiteX0" fmla="*/ 0 w 6120000"/>
              <a:gd name="connsiteY0" fmla="*/ 6861600 h 6861600"/>
              <a:gd name="connsiteX1" fmla="*/ 6120000 w 6120000"/>
              <a:gd name="connsiteY1" fmla="*/ 6856413 h 6861600"/>
              <a:gd name="connsiteX2" fmla="*/ 6120000 w 6120000"/>
              <a:gd name="connsiteY2" fmla="*/ 6861600 h 6861600"/>
              <a:gd name="connsiteX3" fmla="*/ 0 w 6120000"/>
              <a:gd name="connsiteY3" fmla="*/ 6861600 h 6861600"/>
              <a:gd name="connsiteX4" fmla="*/ 0 w 6120000"/>
              <a:gd name="connsiteY4" fmla="*/ 0 h 6861600"/>
              <a:gd name="connsiteX5" fmla="*/ 6120000 w 6120000"/>
              <a:gd name="connsiteY5" fmla="*/ 0 h 6861600"/>
              <a:gd name="connsiteX6" fmla="*/ 6120000 w 6120000"/>
              <a:gd name="connsiteY6" fmla="*/ 6856413 h 6861600"/>
              <a:gd name="connsiteX7" fmla="*/ 0 w 6120000"/>
              <a:gd name="connsiteY7" fmla="*/ 5461580 h 6861600"/>
              <a:gd name="connsiteX8" fmla="*/ 0 w 6120000"/>
              <a:gd name="connsiteY8" fmla="*/ 0 h 6861600"/>
              <a:gd name="connsiteX0" fmla="*/ 6120000 w 6120000"/>
              <a:gd name="connsiteY0" fmla="*/ 6861600 h 6861600"/>
              <a:gd name="connsiteX1" fmla="*/ 6120000 w 6120000"/>
              <a:gd name="connsiteY1" fmla="*/ 6856413 h 6861600"/>
              <a:gd name="connsiteX2" fmla="*/ 6120000 w 6120000"/>
              <a:gd name="connsiteY2" fmla="*/ 6861600 h 6861600"/>
              <a:gd name="connsiteX3" fmla="*/ 0 w 6120000"/>
              <a:gd name="connsiteY3" fmla="*/ 0 h 6861600"/>
              <a:gd name="connsiteX4" fmla="*/ 6120000 w 6120000"/>
              <a:gd name="connsiteY4" fmla="*/ 0 h 6861600"/>
              <a:gd name="connsiteX5" fmla="*/ 6120000 w 6120000"/>
              <a:gd name="connsiteY5" fmla="*/ 6856413 h 6861600"/>
              <a:gd name="connsiteX6" fmla="*/ 0 w 6120000"/>
              <a:gd name="connsiteY6" fmla="*/ 5461580 h 6861600"/>
              <a:gd name="connsiteX7" fmla="*/ 0 w 6120000"/>
              <a:gd name="connsiteY7" fmla="*/ 0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120000" h="6861600">
                <a:moveTo>
                  <a:pt x="6120000" y="6861600"/>
                </a:moveTo>
                <a:lnTo>
                  <a:pt x="6120000" y="6856413"/>
                </a:lnTo>
                <a:lnTo>
                  <a:pt x="6120000" y="6861600"/>
                </a:lnTo>
                <a:close/>
                <a:moveTo>
                  <a:pt x="0" y="0"/>
                </a:moveTo>
                <a:lnTo>
                  <a:pt x="6120000" y="0"/>
                </a:lnTo>
                <a:lnTo>
                  <a:pt x="6120000" y="6856413"/>
                </a:lnTo>
                <a:lnTo>
                  <a:pt x="0" y="546158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alpha val="90000"/>
            </a:schemeClr>
          </a:solidFill>
        </p:spPr>
        <p:txBody>
          <a:bodyPr wrap="square" lIns="666000" tIns="2304000" rIns="489600" bIns="2538000" anchor="t" anchorCtr="0">
            <a:noAutofit/>
          </a:bodyPr>
          <a:lstStyle>
            <a:lvl1pPr>
              <a:lnSpc>
                <a:spcPct val="87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Præsentationstitel i maksimum to linjer</a:t>
            </a:r>
            <a:endParaRPr lang="da-DK"/>
          </a:p>
        </p:txBody>
      </p:sp>
      <p:sp>
        <p:nvSpPr>
          <p:cNvPr id="3" name="Undertitel 2"/>
          <p:cNvSpPr>
            <a:spLocks noGrp="1"/>
          </p:cNvSpPr>
          <p:nvPr>
            <p:ph type="subTitle" idx="1" hasCustomPrompt="1"/>
          </p:nvPr>
        </p:nvSpPr>
        <p:spPr>
          <a:xfrm>
            <a:off x="4077409" y="3512868"/>
            <a:ext cx="7441491" cy="498834"/>
          </a:xfrm>
        </p:spPr>
        <p:txBody>
          <a:bodyPr lIns="684000" rIns="511200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Klik, og tilføj undertitel</a:t>
            </a:r>
            <a:endParaRPr lang="da-DK"/>
          </a:p>
        </p:txBody>
      </p:sp>
      <p:sp>
        <p:nvSpPr>
          <p:cNvPr id="6" name="Indsæt TitleName"/>
          <p:cNvSpPr>
            <a:spLocks noGrp="1"/>
          </p:cNvSpPr>
          <p:nvPr>
            <p:ph type="body" sz="quarter" idx="14" hasCustomPrompt="1"/>
          </p:nvPr>
        </p:nvSpPr>
        <p:spPr>
          <a:xfrm>
            <a:off x="4079775" y="1349645"/>
            <a:ext cx="7439125" cy="360040"/>
          </a:xfrm>
        </p:spPr>
        <p:txBody>
          <a:bodyPr lIns="684000" anchor="b" anchorCtr="0"/>
          <a:lstStyle>
            <a:lvl1pPr>
              <a:lnSpc>
                <a:spcPct val="115000"/>
              </a:lnSpc>
              <a:defRPr sz="10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Indsæt titel, navn</a:t>
            </a:r>
            <a:endParaRPr lang="da-DK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445224"/>
            <a:ext cx="12192000" cy="1411191"/>
          </a:xfrm>
          <a:custGeom>
            <a:avLst/>
            <a:gdLst>
              <a:gd name="connsiteX0" fmla="*/ 3054350 w 9144000"/>
              <a:gd name="connsiteY0" fmla="*/ 0 h 1077913"/>
              <a:gd name="connsiteX1" fmla="*/ 9144000 w 9144000"/>
              <a:gd name="connsiteY1" fmla="*/ 1077913 h 1077913"/>
              <a:gd name="connsiteX2" fmla="*/ 0 w 9144000"/>
              <a:gd name="connsiteY2" fmla="*/ 1076326 h 1077913"/>
              <a:gd name="connsiteX3" fmla="*/ 0 w 9144000"/>
              <a:gd name="connsiteY3" fmla="*/ 538163 h 1077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1077913">
                <a:moveTo>
                  <a:pt x="3054350" y="0"/>
                </a:moveTo>
                <a:lnTo>
                  <a:pt x="9144000" y="1077913"/>
                </a:lnTo>
                <a:lnTo>
                  <a:pt x="0" y="1076326"/>
                </a:lnTo>
                <a:lnTo>
                  <a:pt x="0" y="53816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079776" y="4041068"/>
            <a:ext cx="8109858" cy="2823852"/>
          </a:xfrm>
          <a:custGeom>
            <a:avLst/>
            <a:gdLst>
              <a:gd name="connsiteX0" fmla="*/ 6116484 w 6118225"/>
              <a:gd name="connsiteY0" fmla="*/ 0 h 2159720"/>
              <a:gd name="connsiteX1" fmla="*/ 6118225 w 6118225"/>
              <a:gd name="connsiteY1" fmla="*/ 0 h 2159720"/>
              <a:gd name="connsiteX2" fmla="*/ 6118225 w 6118225"/>
              <a:gd name="connsiteY2" fmla="*/ 2159720 h 2159720"/>
              <a:gd name="connsiteX3" fmla="*/ 0 w 6118225"/>
              <a:gd name="connsiteY3" fmla="*/ 1078913 h 2159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18225" h="2159720">
                <a:moveTo>
                  <a:pt x="6116484" y="0"/>
                </a:moveTo>
                <a:lnTo>
                  <a:pt x="6118225" y="0"/>
                </a:lnTo>
                <a:lnTo>
                  <a:pt x="6118225" y="2159720"/>
                </a:lnTo>
                <a:lnTo>
                  <a:pt x="0" y="1078913"/>
                </a:lnTo>
                <a:close/>
              </a:path>
            </a:pathLst>
          </a:custGeom>
          <a:solidFill>
            <a:srgbClr val="ECAD28"/>
          </a:solidFill>
        </p:spPr>
        <p:txBody>
          <a:bodyPr wrap="square">
            <a:noAutofit/>
          </a:bodyPr>
          <a:lstStyle>
            <a:lvl1pPr marL="0" indent="0">
              <a:buNone/>
              <a:defRPr sz="100"/>
            </a:lvl1pPr>
            <a:lvl2pPr marL="0" indent="0">
              <a:buNone/>
              <a:defRPr sz="100"/>
            </a:lvl2pPr>
            <a:lvl3pPr marL="216000" indent="0">
              <a:buNone/>
              <a:defRPr sz="100"/>
            </a:lvl3pPr>
            <a:lvl4pPr marL="432000" indent="0">
              <a:buNone/>
              <a:defRPr sz="100"/>
            </a:lvl4pPr>
            <a:lvl5pPr marL="648000" indent="0">
              <a:buNone/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122" name="Text Placeholder 3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4764088" y="345600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5174151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C 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BEBEC"/>
          </a:solidFill>
          <a:ln w="3175">
            <a:noFill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4000"/>
              </a:lnSpc>
            </a:pPr>
            <a:endParaRPr lang="da-DK" sz="1800" dirty="0" err="1"/>
          </a:p>
        </p:txBody>
      </p:sp>
      <p:grpSp>
        <p:nvGrpSpPr>
          <p:cNvPr id="121" name="Lines"/>
          <p:cNvGrpSpPr/>
          <p:nvPr userDrawn="1"/>
        </p:nvGrpSpPr>
        <p:grpSpPr>
          <a:xfrm>
            <a:off x="-792" y="0"/>
            <a:ext cx="12298271" cy="6161964"/>
            <a:chOff x="-792" y="0"/>
            <a:chExt cx="12298271" cy="6161964"/>
          </a:xfrm>
        </p:grpSpPr>
        <p:sp>
          <p:nvSpPr>
            <p:cNvPr id="108" name="Freeform: Shape 107"/>
            <p:cNvSpPr>
              <a:spLocks/>
            </p:cNvSpPr>
            <p:nvPr userDrawn="1"/>
          </p:nvSpPr>
          <p:spPr bwMode="auto">
            <a:xfrm>
              <a:off x="5971967" y="0"/>
              <a:ext cx="6221233" cy="2661061"/>
            </a:xfrm>
            <a:custGeom>
              <a:avLst/>
              <a:gdLst>
                <a:gd name="connsiteX0" fmla="*/ 0 w 6221233"/>
                <a:gd name="connsiteY0" fmla="*/ 0 h 2661061"/>
                <a:gd name="connsiteX1" fmla="*/ 38482 w 6221233"/>
                <a:gd name="connsiteY1" fmla="*/ 0 h 2661061"/>
                <a:gd name="connsiteX2" fmla="*/ 6221233 w 6221233"/>
                <a:gd name="connsiteY2" fmla="*/ 2645019 h 2661061"/>
                <a:gd name="connsiteX3" fmla="*/ 6221233 w 6221233"/>
                <a:gd name="connsiteY3" fmla="*/ 2661061 h 2661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21233" h="2661061">
                  <a:moveTo>
                    <a:pt x="0" y="0"/>
                  </a:moveTo>
                  <a:lnTo>
                    <a:pt x="38482" y="0"/>
                  </a:lnTo>
                  <a:lnTo>
                    <a:pt x="6221233" y="2645019"/>
                  </a:lnTo>
                  <a:lnTo>
                    <a:pt x="6221233" y="2661061"/>
                  </a:lnTo>
                  <a:close/>
                </a:path>
              </a:pathLst>
            </a:custGeom>
            <a:solidFill>
              <a:srgbClr val="C1C3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06" name="Freeform: Shape 105"/>
            <p:cNvSpPr>
              <a:spLocks/>
            </p:cNvSpPr>
            <p:nvPr userDrawn="1"/>
          </p:nvSpPr>
          <p:spPr bwMode="auto">
            <a:xfrm>
              <a:off x="6239739" y="1"/>
              <a:ext cx="5953461" cy="2457299"/>
            </a:xfrm>
            <a:custGeom>
              <a:avLst/>
              <a:gdLst>
                <a:gd name="connsiteX0" fmla="*/ 0 w 5953461"/>
                <a:gd name="connsiteY0" fmla="*/ 0 h 2457299"/>
                <a:gd name="connsiteX1" fmla="*/ 36593 w 5953461"/>
                <a:gd name="connsiteY1" fmla="*/ 0 h 2457299"/>
                <a:gd name="connsiteX2" fmla="*/ 1445423 w 5953461"/>
                <a:gd name="connsiteY2" fmla="*/ 637927 h 2457299"/>
                <a:gd name="connsiteX3" fmla="*/ 2689583 w 5953461"/>
                <a:gd name="connsiteY3" fmla="*/ 1109504 h 2457299"/>
                <a:gd name="connsiteX4" fmla="*/ 3712662 w 5953461"/>
                <a:gd name="connsiteY4" fmla="*/ 1489513 h 2457299"/>
                <a:gd name="connsiteX5" fmla="*/ 5925012 w 5953461"/>
                <a:gd name="connsiteY5" fmla="*/ 2428089 h 2457299"/>
                <a:gd name="connsiteX6" fmla="*/ 5953461 w 5953461"/>
                <a:gd name="connsiteY6" fmla="*/ 2440341 h 2457299"/>
                <a:gd name="connsiteX7" fmla="*/ 5953461 w 5953461"/>
                <a:gd name="connsiteY7" fmla="*/ 2457299 h 2457299"/>
                <a:gd name="connsiteX8" fmla="*/ 5917389 w 5953461"/>
                <a:gd name="connsiteY8" fmla="*/ 2441825 h 2457299"/>
                <a:gd name="connsiteX9" fmla="*/ 3706563 w 5953461"/>
                <a:gd name="connsiteY9" fmla="*/ 1503248 h 2457299"/>
                <a:gd name="connsiteX10" fmla="*/ 2685009 w 5953461"/>
                <a:gd name="connsiteY10" fmla="*/ 1124765 h 2457299"/>
                <a:gd name="connsiteX11" fmla="*/ 1439324 w 5953461"/>
                <a:gd name="connsiteY11" fmla="*/ 651662 h 2457299"/>
                <a:gd name="connsiteX12" fmla="*/ 0 w 5953461"/>
                <a:gd name="connsiteY12" fmla="*/ 0 h 2457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3461" h="2457299">
                  <a:moveTo>
                    <a:pt x="0" y="0"/>
                  </a:moveTo>
                  <a:cubicBezTo>
                    <a:pt x="0" y="0"/>
                    <a:pt x="0" y="0"/>
                    <a:pt x="36593" y="0"/>
                  </a:cubicBezTo>
                  <a:cubicBezTo>
                    <a:pt x="501629" y="218238"/>
                    <a:pt x="972763" y="436476"/>
                    <a:pt x="1445423" y="637927"/>
                  </a:cubicBezTo>
                  <a:cubicBezTo>
                    <a:pt x="1854044" y="811907"/>
                    <a:pt x="2279437" y="962995"/>
                    <a:pt x="2689583" y="1109504"/>
                  </a:cubicBezTo>
                  <a:cubicBezTo>
                    <a:pt x="3026544" y="1230069"/>
                    <a:pt x="3375702" y="1353687"/>
                    <a:pt x="3712662" y="1489513"/>
                  </a:cubicBezTo>
                  <a:cubicBezTo>
                    <a:pt x="4455195" y="1788637"/>
                    <a:pt x="5202301" y="2113704"/>
                    <a:pt x="5925012" y="2428089"/>
                  </a:cubicBezTo>
                  <a:lnTo>
                    <a:pt x="5953461" y="2440341"/>
                  </a:lnTo>
                  <a:lnTo>
                    <a:pt x="5953461" y="2457299"/>
                  </a:lnTo>
                  <a:lnTo>
                    <a:pt x="5917389" y="2441825"/>
                  </a:lnTo>
                  <a:cubicBezTo>
                    <a:pt x="5196202" y="2127440"/>
                    <a:pt x="4449095" y="1802372"/>
                    <a:pt x="3706563" y="1503248"/>
                  </a:cubicBezTo>
                  <a:cubicBezTo>
                    <a:pt x="3369603" y="1367422"/>
                    <a:pt x="3021970" y="1243805"/>
                    <a:pt x="2685009" y="1124765"/>
                  </a:cubicBezTo>
                  <a:cubicBezTo>
                    <a:pt x="2273339" y="978256"/>
                    <a:pt x="1847945" y="825642"/>
                    <a:pt x="1439324" y="651662"/>
                  </a:cubicBezTo>
                  <a:cubicBezTo>
                    <a:pt x="955992" y="445633"/>
                    <a:pt x="474184" y="222817"/>
                    <a:pt x="0" y="0"/>
                  </a:cubicBezTo>
                  <a:close/>
                </a:path>
              </a:pathLst>
            </a:custGeom>
            <a:solidFill>
              <a:srgbClr val="C1C3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04" name="Freeform: Shape 103"/>
            <p:cNvSpPr>
              <a:spLocks/>
            </p:cNvSpPr>
            <p:nvPr userDrawn="1"/>
          </p:nvSpPr>
          <p:spPr bwMode="auto">
            <a:xfrm>
              <a:off x="6472236" y="1"/>
              <a:ext cx="5720965" cy="2253309"/>
            </a:xfrm>
            <a:custGeom>
              <a:avLst/>
              <a:gdLst>
                <a:gd name="connsiteX0" fmla="*/ 0 w 5720965"/>
                <a:gd name="connsiteY0" fmla="*/ 0 h 2253309"/>
                <a:gd name="connsiteX1" fmla="*/ 35073 w 5720965"/>
                <a:gd name="connsiteY1" fmla="*/ 0 h 2253309"/>
                <a:gd name="connsiteX2" fmla="*/ 1262628 w 5720965"/>
                <a:gd name="connsiteY2" fmla="*/ 585870 h 2253309"/>
                <a:gd name="connsiteX3" fmla="*/ 2485607 w 5720965"/>
                <a:gd name="connsiteY3" fmla="*/ 985604 h 2253309"/>
                <a:gd name="connsiteX4" fmla="*/ 3551521 w 5720965"/>
                <a:gd name="connsiteY4" fmla="*/ 1319733 h 2253309"/>
                <a:gd name="connsiteX5" fmla="*/ 4660895 w 5720965"/>
                <a:gd name="connsiteY5" fmla="*/ 1774583 h 2253309"/>
                <a:gd name="connsiteX6" fmla="*/ 5720965 w 5720965"/>
                <a:gd name="connsiteY6" fmla="*/ 2235408 h 2253309"/>
                <a:gd name="connsiteX7" fmla="*/ 5720965 w 5720965"/>
                <a:gd name="connsiteY7" fmla="*/ 2253309 h 2253309"/>
                <a:gd name="connsiteX8" fmla="*/ 4654223 w 5720965"/>
                <a:gd name="connsiteY8" fmla="*/ 1789268 h 2253309"/>
                <a:gd name="connsiteX9" fmla="*/ 3545421 w 5720965"/>
                <a:gd name="connsiteY9" fmla="*/ 1334990 h 2253309"/>
                <a:gd name="connsiteX10" fmla="*/ 2481032 w 5720965"/>
                <a:gd name="connsiteY10" fmla="*/ 1000861 h 2253309"/>
                <a:gd name="connsiteX11" fmla="*/ 1256528 w 5720965"/>
                <a:gd name="connsiteY11" fmla="*/ 601127 h 2253309"/>
                <a:gd name="connsiteX12" fmla="*/ 0 w 5720965"/>
                <a:gd name="connsiteY12" fmla="*/ 0 h 2253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0965" h="2253309">
                  <a:moveTo>
                    <a:pt x="0" y="0"/>
                  </a:moveTo>
                  <a:cubicBezTo>
                    <a:pt x="0" y="0"/>
                    <a:pt x="0" y="0"/>
                    <a:pt x="35073" y="0"/>
                  </a:cubicBezTo>
                  <a:cubicBezTo>
                    <a:pt x="437650" y="207496"/>
                    <a:pt x="847851" y="408888"/>
                    <a:pt x="1262628" y="585870"/>
                  </a:cubicBezTo>
                  <a:cubicBezTo>
                    <a:pt x="1659105" y="755223"/>
                    <a:pt x="2079980" y="872702"/>
                    <a:pt x="2485607" y="985604"/>
                  </a:cubicBezTo>
                  <a:cubicBezTo>
                    <a:pt x="2837862" y="1083249"/>
                    <a:pt x="3202316" y="1185471"/>
                    <a:pt x="3551521" y="1319733"/>
                  </a:cubicBezTo>
                  <a:cubicBezTo>
                    <a:pt x="3922075" y="1463912"/>
                    <a:pt x="4293010" y="1617626"/>
                    <a:pt x="4660895" y="1774583"/>
                  </a:cubicBezTo>
                  <a:lnTo>
                    <a:pt x="5720965" y="2235408"/>
                  </a:lnTo>
                  <a:lnTo>
                    <a:pt x="5720965" y="2253309"/>
                  </a:lnTo>
                  <a:lnTo>
                    <a:pt x="4654223" y="1789268"/>
                  </a:lnTo>
                  <a:cubicBezTo>
                    <a:pt x="4286529" y="1632502"/>
                    <a:pt x="3915975" y="1479169"/>
                    <a:pt x="3545421" y="1334990"/>
                  </a:cubicBezTo>
                  <a:cubicBezTo>
                    <a:pt x="3197741" y="1200728"/>
                    <a:pt x="2833287" y="1098506"/>
                    <a:pt x="2481032" y="1000861"/>
                  </a:cubicBezTo>
                  <a:cubicBezTo>
                    <a:pt x="2073881" y="886433"/>
                    <a:pt x="1654530" y="770480"/>
                    <a:pt x="1256528" y="601127"/>
                  </a:cubicBezTo>
                  <a:cubicBezTo>
                    <a:pt x="831077" y="419568"/>
                    <a:pt x="411727" y="212073"/>
                    <a:pt x="0" y="0"/>
                  </a:cubicBezTo>
                  <a:close/>
                </a:path>
              </a:pathLst>
            </a:custGeom>
            <a:solidFill>
              <a:srgbClr val="C0C2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00" name="Freeform: Shape 99"/>
            <p:cNvSpPr>
              <a:spLocks/>
            </p:cNvSpPr>
            <p:nvPr userDrawn="1"/>
          </p:nvSpPr>
          <p:spPr bwMode="auto">
            <a:xfrm>
              <a:off x="6687094" y="0"/>
              <a:ext cx="5506106" cy="2050042"/>
            </a:xfrm>
            <a:custGeom>
              <a:avLst/>
              <a:gdLst>
                <a:gd name="connsiteX0" fmla="*/ 0 w 5506106"/>
                <a:gd name="connsiteY0" fmla="*/ 0 h 2050042"/>
                <a:gd name="connsiteX1" fmla="*/ 33549 w 5506106"/>
                <a:gd name="connsiteY1" fmla="*/ 0 h 2050042"/>
                <a:gd name="connsiteX2" fmla="*/ 1088817 w 5506106"/>
                <a:gd name="connsiteY2" fmla="*/ 523538 h 2050042"/>
                <a:gd name="connsiteX3" fmla="*/ 2314880 w 5506106"/>
                <a:gd name="connsiteY3" fmla="*/ 863914 h 2050042"/>
                <a:gd name="connsiteX4" fmla="*/ 3406747 w 5506106"/>
                <a:gd name="connsiteY4" fmla="*/ 1150867 h 2050042"/>
                <a:gd name="connsiteX5" fmla="*/ 4514436 w 5506106"/>
                <a:gd name="connsiteY5" fmla="*/ 1599041 h 2050042"/>
                <a:gd name="connsiteX6" fmla="*/ 5506106 w 5506106"/>
                <a:gd name="connsiteY6" fmla="*/ 2033522 h 2050042"/>
                <a:gd name="connsiteX7" fmla="*/ 5506106 w 5506106"/>
                <a:gd name="connsiteY7" fmla="*/ 2050042 h 2050042"/>
                <a:gd name="connsiteX8" fmla="*/ 4508336 w 5506106"/>
                <a:gd name="connsiteY8" fmla="*/ 1614114 h 2050042"/>
                <a:gd name="connsiteX9" fmla="*/ 3400648 w 5506106"/>
                <a:gd name="connsiteY9" fmla="*/ 1166131 h 2050042"/>
                <a:gd name="connsiteX10" fmla="*/ 2311830 w 5506106"/>
                <a:gd name="connsiteY10" fmla="*/ 879177 h 2050042"/>
                <a:gd name="connsiteX11" fmla="*/ 1082718 w 5506106"/>
                <a:gd name="connsiteY11" fmla="*/ 537275 h 2050042"/>
                <a:gd name="connsiteX12" fmla="*/ 0 w 5506106"/>
                <a:gd name="connsiteY12" fmla="*/ 0 h 2050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506106" h="2050042">
                  <a:moveTo>
                    <a:pt x="0" y="0"/>
                  </a:moveTo>
                  <a:cubicBezTo>
                    <a:pt x="0" y="0"/>
                    <a:pt x="0" y="0"/>
                    <a:pt x="33549" y="0"/>
                  </a:cubicBezTo>
                  <a:cubicBezTo>
                    <a:pt x="378189" y="189267"/>
                    <a:pt x="728928" y="369377"/>
                    <a:pt x="1088817" y="523538"/>
                  </a:cubicBezTo>
                  <a:cubicBezTo>
                    <a:pt x="1485305" y="691436"/>
                    <a:pt x="1906193" y="778438"/>
                    <a:pt x="2314880" y="863914"/>
                  </a:cubicBezTo>
                  <a:cubicBezTo>
                    <a:pt x="2676294" y="938705"/>
                    <a:pt x="3051433" y="1016548"/>
                    <a:pt x="3406747" y="1150867"/>
                  </a:cubicBezTo>
                  <a:cubicBezTo>
                    <a:pt x="3777311" y="1290528"/>
                    <a:pt x="4147494" y="1442400"/>
                    <a:pt x="4514436" y="1599041"/>
                  </a:cubicBezTo>
                  <a:lnTo>
                    <a:pt x="5506106" y="2033522"/>
                  </a:lnTo>
                  <a:lnTo>
                    <a:pt x="5506106" y="2050042"/>
                  </a:lnTo>
                  <a:lnTo>
                    <a:pt x="4508336" y="1614114"/>
                  </a:lnTo>
                  <a:cubicBezTo>
                    <a:pt x="4141394" y="1457663"/>
                    <a:pt x="3771211" y="1305792"/>
                    <a:pt x="3400648" y="1166131"/>
                  </a:cubicBezTo>
                  <a:cubicBezTo>
                    <a:pt x="3046858" y="1033338"/>
                    <a:pt x="2673244" y="955494"/>
                    <a:pt x="2311830" y="879177"/>
                  </a:cubicBezTo>
                  <a:cubicBezTo>
                    <a:pt x="1903143" y="795228"/>
                    <a:pt x="1479206" y="706700"/>
                    <a:pt x="1082718" y="537275"/>
                  </a:cubicBezTo>
                  <a:cubicBezTo>
                    <a:pt x="713679" y="380061"/>
                    <a:pt x="352265" y="195373"/>
                    <a:pt x="0" y="0"/>
                  </a:cubicBezTo>
                  <a:close/>
                </a:path>
              </a:pathLst>
            </a:custGeom>
            <a:solidFill>
              <a:srgbClr val="C0C2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02" name="Freeform: Shape 101"/>
            <p:cNvSpPr>
              <a:spLocks/>
            </p:cNvSpPr>
            <p:nvPr userDrawn="1"/>
          </p:nvSpPr>
          <p:spPr bwMode="auto">
            <a:xfrm>
              <a:off x="7019004" y="0"/>
              <a:ext cx="5174196" cy="1848116"/>
            </a:xfrm>
            <a:custGeom>
              <a:avLst/>
              <a:gdLst>
                <a:gd name="connsiteX0" fmla="*/ 0 w 5174196"/>
                <a:gd name="connsiteY0" fmla="*/ 0 h 1848116"/>
                <a:gd name="connsiteX1" fmla="*/ 35068 w 5174196"/>
                <a:gd name="connsiteY1" fmla="*/ 0 h 1848116"/>
                <a:gd name="connsiteX2" fmla="*/ 817222 w 5174196"/>
                <a:gd name="connsiteY2" fmla="*/ 378424 h 1848116"/>
                <a:gd name="connsiteX3" fmla="*/ 2050677 w 5174196"/>
                <a:gd name="connsiteY3" fmla="*/ 708019 h 1848116"/>
                <a:gd name="connsiteX4" fmla="*/ 3146913 w 5174196"/>
                <a:gd name="connsiteY4" fmla="*/ 982682 h 1848116"/>
                <a:gd name="connsiteX5" fmla="*/ 4752602 w 5174196"/>
                <a:gd name="connsiteY5" fmla="*/ 1642730 h 1848116"/>
                <a:gd name="connsiteX6" fmla="*/ 5174196 w 5174196"/>
                <a:gd name="connsiteY6" fmla="*/ 1829780 h 1848116"/>
                <a:gd name="connsiteX7" fmla="*/ 5174196 w 5174196"/>
                <a:gd name="connsiteY7" fmla="*/ 1848116 h 1848116"/>
                <a:gd name="connsiteX8" fmla="*/ 4751244 w 5174196"/>
                <a:gd name="connsiteY8" fmla="*/ 1660564 h 1848116"/>
                <a:gd name="connsiteX9" fmla="*/ 3142339 w 5174196"/>
                <a:gd name="connsiteY9" fmla="*/ 997941 h 1848116"/>
                <a:gd name="connsiteX10" fmla="*/ 2047628 w 5174196"/>
                <a:gd name="connsiteY10" fmla="*/ 724804 h 1848116"/>
                <a:gd name="connsiteX11" fmla="*/ 811123 w 5174196"/>
                <a:gd name="connsiteY11" fmla="*/ 393683 h 1848116"/>
                <a:gd name="connsiteX12" fmla="*/ 0 w 5174196"/>
                <a:gd name="connsiteY12" fmla="*/ 0 h 1848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4196" h="1848116">
                  <a:moveTo>
                    <a:pt x="0" y="0"/>
                  </a:moveTo>
                  <a:cubicBezTo>
                    <a:pt x="0" y="0"/>
                    <a:pt x="0" y="0"/>
                    <a:pt x="35068" y="0"/>
                  </a:cubicBezTo>
                  <a:cubicBezTo>
                    <a:pt x="291212" y="135805"/>
                    <a:pt x="551930" y="265507"/>
                    <a:pt x="817222" y="378424"/>
                  </a:cubicBezTo>
                  <a:cubicBezTo>
                    <a:pt x="1215160" y="547799"/>
                    <a:pt x="1640542" y="628672"/>
                    <a:pt x="2050677" y="708019"/>
                  </a:cubicBezTo>
                  <a:cubicBezTo>
                    <a:pt x="2415073" y="778211"/>
                    <a:pt x="2791666" y="849928"/>
                    <a:pt x="3146913" y="982682"/>
                  </a:cubicBezTo>
                  <a:cubicBezTo>
                    <a:pt x="3686645" y="1182957"/>
                    <a:pt x="4224662" y="1410698"/>
                    <a:pt x="4752602" y="1642730"/>
                  </a:cubicBezTo>
                  <a:lnTo>
                    <a:pt x="5174196" y="1829780"/>
                  </a:lnTo>
                  <a:lnTo>
                    <a:pt x="5174196" y="1848116"/>
                  </a:lnTo>
                  <a:lnTo>
                    <a:pt x="4751244" y="1660564"/>
                  </a:lnTo>
                  <a:cubicBezTo>
                    <a:pt x="4221803" y="1427673"/>
                    <a:pt x="3682071" y="1198216"/>
                    <a:pt x="3142339" y="997941"/>
                  </a:cubicBezTo>
                  <a:cubicBezTo>
                    <a:pt x="2787092" y="865187"/>
                    <a:pt x="2410499" y="793470"/>
                    <a:pt x="2047628" y="724804"/>
                  </a:cubicBezTo>
                  <a:cubicBezTo>
                    <a:pt x="1635968" y="645457"/>
                    <a:pt x="1209061" y="563058"/>
                    <a:pt x="811123" y="393683"/>
                  </a:cubicBezTo>
                  <a:cubicBezTo>
                    <a:pt x="535158" y="276189"/>
                    <a:pt x="265292" y="141909"/>
                    <a:pt x="0" y="0"/>
                  </a:cubicBezTo>
                  <a:close/>
                </a:path>
              </a:pathLst>
            </a:custGeom>
            <a:solidFill>
              <a:srgbClr val="BFC1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98" name="Freeform: Shape 97"/>
            <p:cNvSpPr>
              <a:spLocks/>
            </p:cNvSpPr>
            <p:nvPr userDrawn="1"/>
          </p:nvSpPr>
          <p:spPr bwMode="auto">
            <a:xfrm>
              <a:off x="7431084" y="1"/>
              <a:ext cx="4762117" cy="1646199"/>
            </a:xfrm>
            <a:custGeom>
              <a:avLst/>
              <a:gdLst>
                <a:gd name="connsiteX0" fmla="*/ 0 w 4762117"/>
                <a:gd name="connsiteY0" fmla="*/ 0 h 1646199"/>
                <a:gd name="connsiteX1" fmla="*/ 38126 w 4762117"/>
                <a:gd name="connsiteY1" fmla="*/ 0 h 1646199"/>
                <a:gd name="connsiteX2" fmla="*/ 465129 w 4762117"/>
                <a:gd name="connsiteY2" fmla="*/ 195245 h 1646199"/>
                <a:gd name="connsiteX3" fmla="*/ 1711065 w 4762117"/>
                <a:gd name="connsiteY3" fmla="*/ 533873 h 1646199"/>
                <a:gd name="connsiteX4" fmla="*/ 2807549 w 4762117"/>
                <a:gd name="connsiteY4" fmla="*/ 813012 h 1646199"/>
                <a:gd name="connsiteX5" fmla="*/ 4357844 w 4762117"/>
                <a:gd name="connsiteY5" fmla="*/ 1449012 h 1646199"/>
                <a:gd name="connsiteX6" fmla="*/ 4762117 w 4762117"/>
                <a:gd name="connsiteY6" fmla="*/ 1627882 h 1646199"/>
                <a:gd name="connsiteX7" fmla="*/ 4762117 w 4762117"/>
                <a:gd name="connsiteY7" fmla="*/ 1646199 h 1646199"/>
                <a:gd name="connsiteX8" fmla="*/ 4356677 w 4762117"/>
                <a:gd name="connsiteY8" fmla="*/ 1466863 h 1646199"/>
                <a:gd name="connsiteX9" fmla="*/ 2801449 w 4762117"/>
                <a:gd name="connsiteY9" fmla="*/ 829791 h 1646199"/>
                <a:gd name="connsiteX10" fmla="*/ 1706490 w 4762117"/>
                <a:gd name="connsiteY10" fmla="*/ 550652 h 1646199"/>
                <a:gd name="connsiteX11" fmla="*/ 457504 w 4762117"/>
                <a:gd name="connsiteY11" fmla="*/ 210499 h 1646199"/>
                <a:gd name="connsiteX12" fmla="*/ 0 w 4762117"/>
                <a:gd name="connsiteY12" fmla="*/ 0 h 1646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762117" h="1646199">
                  <a:moveTo>
                    <a:pt x="0" y="0"/>
                  </a:moveTo>
                  <a:cubicBezTo>
                    <a:pt x="0" y="0"/>
                    <a:pt x="0" y="0"/>
                    <a:pt x="38126" y="0"/>
                  </a:cubicBezTo>
                  <a:cubicBezTo>
                    <a:pt x="178427" y="68641"/>
                    <a:pt x="320253" y="134231"/>
                    <a:pt x="465129" y="195245"/>
                  </a:cubicBezTo>
                  <a:cubicBezTo>
                    <a:pt x="866208" y="366084"/>
                    <a:pt x="1294736" y="451504"/>
                    <a:pt x="1711065" y="533873"/>
                  </a:cubicBezTo>
                  <a:cubicBezTo>
                    <a:pt x="2074018" y="607090"/>
                    <a:pt x="2450696" y="681832"/>
                    <a:pt x="2807549" y="813012"/>
                  </a:cubicBezTo>
                  <a:cubicBezTo>
                    <a:pt x="3327960" y="1006350"/>
                    <a:pt x="3847513" y="1225429"/>
                    <a:pt x="4357844" y="1449012"/>
                  </a:cubicBezTo>
                  <a:lnTo>
                    <a:pt x="4762117" y="1627882"/>
                  </a:lnTo>
                  <a:lnTo>
                    <a:pt x="4762117" y="1646199"/>
                  </a:lnTo>
                  <a:lnTo>
                    <a:pt x="4356677" y="1466863"/>
                  </a:lnTo>
                  <a:cubicBezTo>
                    <a:pt x="3845130" y="1242494"/>
                    <a:pt x="3324147" y="1021985"/>
                    <a:pt x="2801449" y="829791"/>
                  </a:cubicBezTo>
                  <a:cubicBezTo>
                    <a:pt x="2446121" y="697085"/>
                    <a:pt x="2070968" y="622343"/>
                    <a:pt x="1706490" y="550652"/>
                  </a:cubicBezTo>
                  <a:cubicBezTo>
                    <a:pt x="1290161" y="468283"/>
                    <a:pt x="860108" y="381338"/>
                    <a:pt x="457504" y="210499"/>
                  </a:cubicBezTo>
                  <a:cubicBezTo>
                    <a:pt x="303478" y="144908"/>
                    <a:pt x="150977" y="74742"/>
                    <a:pt x="0" y="0"/>
                  </a:cubicBezTo>
                  <a:close/>
                </a:path>
              </a:pathLst>
            </a:custGeom>
            <a:solidFill>
              <a:srgbClr val="BFC1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96" name="Freeform: Shape 95"/>
            <p:cNvSpPr>
              <a:spLocks/>
            </p:cNvSpPr>
            <p:nvPr userDrawn="1"/>
          </p:nvSpPr>
          <p:spPr bwMode="auto">
            <a:xfrm>
              <a:off x="7897682" y="0"/>
              <a:ext cx="4295519" cy="1446479"/>
            </a:xfrm>
            <a:custGeom>
              <a:avLst/>
              <a:gdLst>
                <a:gd name="connsiteX0" fmla="*/ 0 w 4295519"/>
                <a:gd name="connsiteY0" fmla="*/ 0 h 1446479"/>
                <a:gd name="connsiteX1" fmla="*/ 42701 w 4295519"/>
                <a:gd name="connsiteY1" fmla="*/ 0 h 1446479"/>
                <a:gd name="connsiteX2" fmla="*/ 50326 w 4295519"/>
                <a:gd name="connsiteY2" fmla="*/ 3053 h 1446479"/>
                <a:gd name="connsiteX3" fmla="*/ 1310004 w 4295519"/>
                <a:gd name="connsiteY3" fmla="*/ 355626 h 1446479"/>
                <a:gd name="connsiteX4" fmla="*/ 2414128 w 4295519"/>
                <a:gd name="connsiteY4" fmla="*/ 645621 h 1446479"/>
                <a:gd name="connsiteX5" fmla="*/ 3908684 w 4295519"/>
                <a:gd name="connsiteY5" fmla="*/ 1256685 h 1446479"/>
                <a:gd name="connsiteX6" fmla="*/ 4295519 w 4295519"/>
                <a:gd name="connsiteY6" fmla="*/ 1427524 h 1446479"/>
                <a:gd name="connsiteX7" fmla="*/ 4295519 w 4295519"/>
                <a:gd name="connsiteY7" fmla="*/ 1446479 h 1446479"/>
                <a:gd name="connsiteX8" fmla="*/ 3410546 w 4295519"/>
                <a:gd name="connsiteY8" fmla="*/ 1061153 h 1446479"/>
                <a:gd name="connsiteX9" fmla="*/ 2408027 w 4295519"/>
                <a:gd name="connsiteY9" fmla="*/ 660884 h 1446479"/>
                <a:gd name="connsiteX10" fmla="*/ 1306953 w 4295519"/>
                <a:gd name="connsiteY10" fmla="*/ 372415 h 1446479"/>
                <a:gd name="connsiteX11" fmla="*/ 44226 w 4295519"/>
                <a:gd name="connsiteY11" fmla="*/ 18316 h 1446479"/>
                <a:gd name="connsiteX12" fmla="*/ 0 w 4295519"/>
                <a:gd name="connsiteY12" fmla="*/ 0 h 1446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95519" h="1446479">
                  <a:moveTo>
                    <a:pt x="0" y="0"/>
                  </a:moveTo>
                  <a:cubicBezTo>
                    <a:pt x="0" y="0"/>
                    <a:pt x="0" y="0"/>
                    <a:pt x="42701" y="0"/>
                  </a:cubicBezTo>
                  <a:cubicBezTo>
                    <a:pt x="45751" y="1526"/>
                    <a:pt x="47276" y="1526"/>
                    <a:pt x="50326" y="3053"/>
                  </a:cubicBezTo>
                  <a:cubicBezTo>
                    <a:pt x="455985" y="175523"/>
                    <a:pt x="890619" y="267101"/>
                    <a:pt x="1310004" y="355626"/>
                  </a:cubicBezTo>
                  <a:cubicBezTo>
                    <a:pt x="1676012" y="431940"/>
                    <a:pt x="2055745" y="512833"/>
                    <a:pt x="2414128" y="645621"/>
                  </a:cubicBezTo>
                  <a:cubicBezTo>
                    <a:pt x="2915101" y="831065"/>
                    <a:pt x="3416075" y="1041407"/>
                    <a:pt x="3908684" y="1256685"/>
                  </a:cubicBezTo>
                  <a:lnTo>
                    <a:pt x="4295519" y="1427524"/>
                  </a:lnTo>
                  <a:lnTo>
                    <a:pt x="4295519" y="1446479"/>
                  </a:lnTo>
                  <a:lnTo>
                    <a:pt x="3410546" y="1061153"/>
                  </a:lnTo>
                  <a:cubicBezTo>
                    <a:pt x="3078280" y="920734"/>
                    <a:pt x="2743535" y="785276"/>
                    <a:pt x="2408027" y="660884"/>
                  </a:cubicBezTo>
                  <a:cubicBezTo>
                    <a:pt x="2049645" y="528096"/>
                    <a:pt x="1672961" y="448729"/>
                    <a:pt x="1306953" y="372415"/>
                  </a:cubicBezTo>
                  <a:cubicBezTo>
                    <a:pt x="886044" y="283890"/>
                    <a:pt x="451410" y="192313"/>
                    <a:pt x="44226" y="18316"/>
                  </a:cubicBezTo>
                  <a:cubicBezTo>
                    <a:pt x="28976" y="12210"/>
                    <a:pt x="15251" y="6105"/>
                    <a:pt x="0" y="0"/>
                  </a:cubicBezTo>
                  <a:close/>
                </a:path>
              </a:pathLst>
            </a:custGeom>
            <a:solidFill>
              <a:srgbClr val="BEC0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94" name="Freeform: Shape 93"/>
            <p:cNvSpPr>
              <a:spLocks/>
            </p:cNvSpPr>
            <p:nvPr userDrawn="1"/>
          </p:nvSpPr>
          <p:spPr bwMode="auto">
            <a:xfrm>
              <a:off x="8503776" y="1"/>
              <a:ext cx="3689425" cy="1246175"/>
            </a:xfrm>
            <a:custGeom>
              <a:avLst/>
              <a:gdLst>
                <a:gd name="connsiteX0" fmla="*/ 0 w 3689425"/>
                <a:gd name="connsiteY0" fmla="*/ 0 h 1246175"/>
                <a:gd name="connsiteX1" fmla="*/ 62516 w 3689425"/>
                <a:gd name="connsiteY1" fmla="*/ 0 h 1246175"/>
                <a:gd name="connsiteX2" fmla="*/ 766959 w 3689425"/>
                <a:gd name="connsiteY2" fmla="*/ 172406 h 1246175"/>
                <a:gd name="connsiteX3" fmla="*/ 1880040 w 3689425"/>
                <a:gd name="connsiteY3" fmla="*/ 476024 h 1246175"/>
                <a:gd name="connsiteX4" fmla="*/ 2842931 w 3689425"/>
                <a:gd name="connsiteY4" fmla="*/ 859933 h 1246175"/>
                <a:gd name="connsiteX5" fmla="*/ 3689425 w 3689425"/>
                <a:gd name="connsiteY5" fmla="*/ 1227826 h 1246175"/>
                <a:gd name="connsiteX6" fmla="*/ 3689425 w 3689425"/>
                <a:gd name="connsiteY6" fmla="*/ 1246175 h 1246175"/>
                <a:gd name="connsiteX7" fmla="*/ 2839882 w 3689425"/>
                <a:gd name="connsiteY7" fmla="*/ 877288 h 1246175"/>
                <a:gd name="connsiteX8" fmla="*/ 1873941 w 3689425"/>
                <a:gd name="connsiteY8" fmla="*/ 491282 h 1246175"/>
                <a:gd name="connsiteX9" fmla="*/ 763909 w 3689425"/>
                <a:gd name="connsiteY9" fmla="*/ 189189 h 1246175"/>
                <a:gd name="connsiteX10" fmla="*/ 0 w 3689425"/>
                <a:gd name="connsiteY10" fmla="*/ 0 h 1246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689425" h="1246175">
                  <a:moveTo>
                    <a:pt x="0" y="0"/>
                  </a:moveTo>
                  <a:cubicBezTo>
                    <a:pt x="0" y="0"/>
                    <a:pt x="0" y="0"/>
                    <a:pt x="62516" y="0"/>
                  </a:cubicBezTo>
                  <a:cubicBezTo>
                    <a:pt x="297330" y="65606"/>
                    <a:pt x="533669" y="119006"/>
                    <a:pt x="766959" y="172406"/>
                  </a:cubicBezTo>
                  <a:cubicBezTo>
                    <a:pt x="1135953" y="254795"/>
                    <a:pt x="1518670" y="340235"/>
                    <a:pt x="1880040" y="476024"/>
                  </a:cubicBezTo>
                  <a:cubicBezTo>
                    <a:pt x="2201766" y="595793"/>
                    <a:pt x="2523492" y="725479"/>
                    <a:pt x="2842931" y="859933"/>
                  </a:cubicBezTo>
                  <a:lnTo>
                    <a:pt x="3689425" y="1227826"/>
                  </a:lnTo>
                  <a:lnTo>
                    <a:pt x="3689425" y="1246175"/>
                  </a:lnTo>
                  <a:lnTo>
                    <a:pt x="2839882" y="877288"/>
                  </a:lnTo>
                  <a:cubicBezTo>
                    <a:pt x="2519681" y="742262"/>
                    <a:pt x="2197192" y="611813"/>
                    <a:pt x="1873941" y="491282"/>
                  </a:cubicBezTo>
                  <a:cubicBezTo>
                    <a:pt x="1512571" y="357018"/>
                    <a:pt x="1131379" y="271578"/>
                    <a:pt x="763909" y="189189"/>
                  </a:cubicBezTo>
                  <a:cubicBezTo>
                    <a:pt x="510798" y="131212"/>
                    <a:pt x="253112" y="73235"/>
                    <a:pt x="0" y="0"/>
                  </a:cubicBezTo>
                  <a:close/>
                </a:path>
              </a:pathLst>
            </a:custGeom>
            <a:solidFill>
              <a:srgbClr val="BEC0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92" name="Freeform: Shape 91"/>
            <p:cNvSpPr>
              <a:spLocks/>
            </p:cNvSpPr>
            <p:nvPr userDrawn="1"/>
          </p:nvSpPr>
          <p:spPr bwMode="auto">
            <a:xfrm>
              <a:off x="9318316" y="0"/>
              <a:ext cx="2874885" cy="1047517"/>
            </a:xfrm>
            <a:custGeom>
              <a:avLst/>
              <a:gdLst>
                <a:gd name="connsiteX0" fmla="*/ 0 w 2874885"/>
                <a:gd name="connsiteY0" fmla="*/ 0 h 1047517"/>
                <a:gd name="connsiteX1" fmla="*/ 74706 w 2874885"/>
                <a:gd name="connsiteY1" fmla="*/ 0 h 1047517"/>
                <a:gd name="connsiteX2" fmla="*/ 1137358 w 2874885"/>
                <a:gd name="connsiteY2" fmla="*/ 306963 h 1047517"/>
                <a:gd name="connsiteX3" fmla="*/ 2063176 w 2874885"/>
                <a:gd name="connsiteY3" fmla="*/ 677113 h 1047517"/>
                <a:gd name="connsiteX4" fmla="*/ 2874885 w 2874885"/>
                <a:gd name="connsiteY4" fmla="*/ 1029085 h 1047517"/>
                <a:gd name="connsiteX5" fmla="*/ 2874885 w 2874885"/>
                <a:gd name="connsiteY5" fmla="*/ 1047517 h 1047517"/>
                <a:gd name="connsiteX6" fmla="*/ 2060127 w 2874885"/>
                <a:gd name="connsiteY6" fmla="*/ 695057 h 1047517"/>
                <a:gd name="connsiteX7" fmla="*/ 1131259 w 2874885"/>
                <a:gd name="connsiteY7" fmla="*/ 322235 h 1047517"/>
                <a:gd name="connsiteX8" fmla="*/ 7623 w 2874885"/>
                <a:gd name="connsiteY8" fmla="*/ 1527 h 1047517"/>
                <a:gd name="connsiteX9" fmla="*/ 0 w 2874885"/>
                <a:gd name="connsiteY9" fmla="*/ 0 h 1047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74885" h="1047517">
                  <a:moveTo>
                    <a:pt x="0" y="0"/>
                  </a:moveTo>
                  <a:cubicBezTo>
                    <a:pt x="0" y="0"/>
                    <a:pt x="0" y="0"/>
                    <a:pt x="74706" y="0"/>
                  </a:cubicBezTo>
                  <a:cubicBezTo>
                    <a:pt x="428415" y="85522"/>
                    <a:pt x="791272" y="175626"/>
                    <a:pt x="1137358" y="306963"/>
                  </a:cubicBezTo>
                  <a:cubicBezTo>
                    <a:pt x="1446854" y="423029"/>
                    <a:pt x="1755968" y="547876"/>
                    <a:pt x="2063176" y="677113"/>
                  </a:cubicBezTo>
                  <a:lnTo>
                    <a:pt x="2874885" y="1029085"/>
                  </a:lnTo>
                  <a:lnTo>
                    <a:pt x="2874885" y="1047517"/>
                  </a:lnTo>
                  <a:lnTo>
                    <a:pt x="2060127" y="695057"/>
                  </a:lnTo>
                  <a:cubicBezTo>
                    <a:pt x="1751775" y="565438"/>
                    <a:pt x="1441517" y="439828"/>
                    <a:pt x="1131259" y="322235"/>
                  </a:cubicBezTo>
                  <a:cubicBezTo>
                    <a:pt x="765353" y="184789"/>
                    <a:pt x="379627" y="91631"/>
                    <a:pt x="7623" y="1527"/>
                  </a:cubicBezTo>
                  <a:cubicBezTo>
                    <a:pt x="4574" y="1527"/>
                    <a:pt x="3049" y="0"/>
                    <a:pt x="0" y="0"/>
                  </a:cubicBezTo>
                  <a:close/>
                </a:path>
              </a:pathLst>
            </a:custGeom>
            <a:solidFill>
              <a:srgbClr val="BDBF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88" name="Freeform: Shape 87"/>
            <p:cNvSpPr>
              <a:spLocks/>
            </p:cNvSpPr>
            <p:nvPr userDrawn="1"/>
          </p:nvSpPr>
          <p:spPr bwMode="auto">
            <a:xfrm>
              <a:off x="10070322" y="1"/>
              <a:ext cx="2122879" cy="848745"/>
            </a:xfrm>
            <a:custGeom>
              <a:avLst/>
              <a:gdLst>
                <a:gd name="connsiteX0" fmla="*/ 0 w 2122879"/>
                <a:gd name="connsiteY0" fmla="*/ 0 h 848745"/>
                <a:gd name="connsiteX1" fmla="*/ 59450 w 2122879"/>
                <a:gd name="connsiteY1" fmla="*/ 0 h 848745"/>
                <a:gd name="connsiteX2" fmla="*/ 457306 w 2122879"/>
                <a:gd name="connsiteY2" fmla="*/ 135875 h 848745"/>
                <a:gd name="connsiteX3" fmla="*/ 1346575 w 2122879"/>
                <a:gd name="connsiteY3" fmla="*/ 494263 h 848745"/>
                <a:gd name="connsiteX4" fmla="*/ 2122879 w 2122879"/>
                <a:gd name="connsiteY4" fmla="*/ 828990 h 848745"/>
                <a:gd name="connsiteX5" fmla="*/ 2122879 w 2122879"/>
                <a:gd name="connsiteY5" fmla="*/ 848745 h 848745"/>
                <a:gd name="connsiteX6" fmla="*/ 1343526 w 2122879"/>
                <a:gd name="connsiteY6" fmla="*/ 512010 h 848745"/>
                <a:gd name="connsiteX7" fmla="*/ 451208 w 2122879"/>
                <a:gd name="connsiteY7" fmla="*/ 152668 h 848745"/>
                <a:gd name="connsiteX8" fmla="*/ 0 w 2122879"/>
                <a:gd name="connsiteY8" fmla="*/ 0 h 848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22879" h="848745">
                  <a:moveTo>
                    <a:pt x="0" y="0"/>
                  </a:moveTo>
                  <a:cubicBezTo>
                    <a:pt x="0" y="0"/>
                    <a:pt x="0" y="0"/>
                    <a:pt x="59450" y="0"/>
                  </a:cubicBezTo>
                  <a:cubicBezTo>
                    <a:pt x="193593" y="41220"/>
                    <a:pt x="327736" y="85494"/>
                    <a:pt x="457306" y="135875"/>
                  </a:cubicBezTo>
                  <a:cubicBezTo>
                    <a:pt x="754555" y="249612"/>
                    <a:pt x="1051422" y="370220"/>
                    <a:pt x="1346575" y="494263"/>
                  </a:cubicBezTo>
                  <a:lnTo>
                    <a:pt x="2122879" y="828990"/>
                  </a:lnTo>
                  <a:lnTo>
                    <a:pt x="2122879" y="848745"/>
                  </a:lnTo>
                  <a:lnTo>
                    <a:pt x="1343526" y="512010"/>
                  </a:lnTo>
                  <a:cubicBezTo>
                    <a:pt x="1047230" y="387395"/>
                    <a:pt x="749219" y="266406"/>
                    <a:pt x="451208" y="152668"/>
                  </a:cubicBezTo>
                  <a:cubicBezTo>
                    <a:pt x="303346" y="96181"/>
                    <a:pt x="152435" y="45800"/>
                    <a:pt x="0" y="0"/>
                  </a:cubicBezTo>
                  <a:close/>
                </a:path>
              </a:pathLst>
            </a:custGeom>
            <a:solidFill>
              <a:srgbClr val="BDBF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90" name="Freeform: Shape 89"/>
            <p:cNvSpPr>
              <a:spLocks/>
            </p:cNvSpPr>
            <p:nvPr userDrawn="1"/>
          </p:nvSpPr>
          <p:spPr bwMode="auto">
            <a:xfrm>
              <a:off x="10636331" y="0"/>
              <a:ext cx="1556869" cy="650052"/>
            </a:xfrm>
            <a:custGeom>
              <a:avLst/>
              <a:gdLst>
                <a:gd name="connsiteX0" fmla="*/ 0 w 1556869"/>
                <a:gd name="connsiteY0" fmla="*/ 0 h 650052"/>
                <a:gd name="connsiteX1" fmla="*/ 48810 w 1556869"/>
                <a:gd name="connsiteY1" fmla="*/ 0 h 650052"/>
                <a:gd name="connsiteX2" fmla="*/ 858181 w 1556869"/>
                <a:gd name="connsiteY2" fmla="*/ 329785 h 650052"/>
                <a:gd name="connsiteX3" fmla="*/ 1556869 w 1556869"/>
                <a:gd name="connsiteY3" fmla="*/ 630286 h 650052"/>
                <a:gd name="connsiteX4" fmla="*/ 1556869 w 1556869"/>
                <a:gd name="connsiteY4" fmla="*/ 650052 h 650052"/>
                <a:gd name="connsiteX5" fmla="*/ 833776 w 1556869"/>
                <a:gd name="connsiteY5" fmla="*/ 338558 h 650052"/>
                <a:gd name="connsiteX6" fmla="*/ 0 w 1556869"/>
                <a:gd name="connsiteY6" fmla="*/ 0 h 650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56869" h="650052">
                  <a:moveTo>
                    <a:pt x="0" y="0"/>
                  </a:moveTo>
                  <a:cubicBezTo>
                    <a:pt x="0" y="0"/>
                    <a:pt x="0" y="0"/>
                    <a:pt x="48810" y="0"/>
                  </a:cubicBezTo>
                  <a:cubicBezTo>
                    <a:pt x="318791" y="106050"/>
                    <a:pt x="589154" y="216677"/>
                    <a:pt x="858181" y="329785"/>
                  </a:cubicBezTo>
                  <a:lnTo>
                    <a:pt x="1556869" y="630286"/>
                  </a:lnTo>
                  <a:lnTo>
                    <a:pt x="1556869" y="650052"/>
                  </a:lnTo>
                  <a:lnTo>
                    <a:pt x="833776" y="338558"/>
                  </a:lnTo>
                  <a:cubicBezTo>
                    <a:pt x="556741" y="222018"/>
                    <a:pt x="278371" y="108339"/>
                    <a:pt x="0" y="0"/>
                  </a:cubicBezTo>
                  <a:close/>
                </a:path>
              </a:pathLst>
            </a:custGeom>
            <a:solidFill>
              <a:srgbClr val="BCBE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86" name="Freeform: Shape 85"/>
            <p:cNvSpPr>
              <a:spLocks/>
            </p:cNvSpPr>
            <p:nvPr userDrawn="1"/>
          </p:nvSpPr>
          <p:spPr bwMode="auto">
            <a:xfrm>
              <a:off x="11128582" y="1"/>
              <a:ext cx="1064618" cy="451877"/>
            </a:xfrm>
            <a:custGeom>
              <a:avLst/>
              <a:gdLst>
                <a:gd name="connsiteX0" fmla="*/ 0 w 1064618"/>
                <a:gd name="connsiteY0" fmla="*/ 0 h 451877"/>
                <a:gd name="connsiteX1" fmla="*/ 47302 w 1064618"/>
                <a:gd name="connsiteY1" fmla="*/ 0 h 451877"/>
                <a:gd name="connsiteX2" fmla="*/ 609587 w 1064618"/>
                <a:gd name="connsiteY2" fmla="*/ 234961 h 451877"/>
                <a:gd name="connsiteX3" fmla="*/ 1064618 w 1064618"/>
                <a:gd name="connsiteY3" fmla="*/ 431330 h 451877"/>
                <a:gd name="connsiteX4" fmla="*/ 1064618 w 1064618"/>
                <a:gd name="connsiteY4" fmla="*/ 451877 h 451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4618" h="451877">
                  <a:moveTo>
                    <a:pt x="0" y="0"/>
                  </a:moveTo>
                  <a:cubicBezTo>
                    <a:pt x="0" y="0"/>
                    <a:pt x="0" y="0"/>
                    <a:pt x="47302" y="0"/>
                  </a:cubicBezTo>
                  <a:cubicBezTo>
                    <a:pt x="234985" y="76987"/>
                    <a:pt x="422667" y="155498"/>
                    <a:pt x="609587" y="234961"/>
                  </a:cubicBezTo>
                  <a:lnTo>
                    <a:pt x="1064618" y="431330"/>
                  </a:lnTo>
                  <a:lnTo>
                    <a:pt x="1064618" y="451877"/>
                  </a:lnTo>
                  <a:close/>
                </a:path>
              </a:pathLst>
            </a:custGeom>
            <a:solidFill>
              <a:srgbClr val="BCBE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81" name="Freeform: Shape 80"/>
            <p:cNvSpPr>
              <a:spLocks/>
            </p:cNvSpPr>
            <p:nvPr userDrawn="1"/>
          </p:nvSpPr>
          <p:spPr bwMode="auto">
            <a:xfrm>
              <a:off x="11599989" y="0"/>
              <a:ext cx="593211" cy="254233"/>
            </a:xfrm>
            <a:custGeom>
              <a:avLst/>
              <a:gdLst>
                <a:gd name="connsiteX0" fmla="*/ 0 w 593211"/>
                <a:gd name="connsiteY0" fmla="*/ 0 h 254233"/>
                <a:gd name="connsiteX1" fmla="*/ 47308 w 593211"/>
                <a:gd name="connsiteY1" fmla="*/ 0 h 254233"/>
                <a:gd name="connsiteX2" fmla="*/ 593211 w 593211"/>
                <a:gd name="connsiteY2" fmla="*/ 234288 h 254233"/>
                <a:gd name="connsiteX3" fmla="*/ 593211 w 593211"/>
                <a:gd name="connsiteY3" fmla="*/ 254233 h 254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3211" h="254233">
                  <a:moveTo>
                    <a:pt x="0" y="0"/>
                  </a:moveTo>
                  <a:cubicBezTo>
                    <a:pt x="0" y="0"/>
                    <a:pt x="0" y="0"/>
                    <a:pt x="47308" y="0"/>
                  </a:cubicBezTo>
                  <a:lnTo>
                    <a:pt x="593211" y="234288"/>
                  </a:lnTo>
                  <a:lnTo>
                    <a:pt x="593211" y="254233"/>
                  </a:lnTo>
                  <a:close/>
                </a:path>
              </a:pathLst>
            </a:custGeom>
            <a:solidFill>
              <a:srgbClr val="BBBD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83" name="Freeform: Shape 82"/>
            <p:cNvSpPr>
              <a:spLocks/>
            </p:cNvSpPr>
            <p:nvPr userDrawn="1"/>
          </p:nvSpPr>
          <p:spPr bwMode="auto">
            <a:xfrm>
              <a:off x="12063380" y="0"/>
              <a:ext cx="129821" cy="55510"/>
            </a:xfrm>
            <a:custGeom>
              <a:avLst/>
              <a:gdLst>
                <a:gd name="connsiteX0" fmla="*/ 0 w 129821"/>
                <a:gd name="connsiteY0" fmla="*/ 0 h 55510"/>
                <a:gd name="connsiteX1" fmla="*/ 47417 w 129821"/>
                <a:gd name="connsiteY1" fmla="*/ 0 h 55510"/>
                <a:gd name="connsiteX2" fmla="*/ 129821 w 129821"/>
                <a:gd name="connsiteY2" fmla="*/ 35410 h 55510"/>
                <a:gd name="connsiteX3" fmla="*/ 129821 w 129821"/>
                <a:gd name="connsiteY3" fmla="*/ 55510 h 55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821" h="55510">
                  <a:moveTo>
                    <a:pt x="0" y="0"/>
                  </a:moveTo>
                  <a:cubicBezTo>
                    <a:pt x="0" y="0"/>
                    <a:pt x="0" y="0"/>
                    <a:pt x="47417" y="0"/>
                  </a:cubicBezTo>
                  <a:lnTo>
                    <a:pt x="129821" y="35410"/>
                  </a:lnTo>
                  <a:lnTo>
                    <a:pt x="129821" y="55510"/>
                  </a:lnTo>
                  <a:close/>
                </a:path>
              </a:pathLst>
            </a:custGeom>
            <a:solidFill>
              <a:srgbClr val="BBBD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30" name="Freeform 19"/>
            <p:cNvSpPr>
              <a:spLocks/>
            </p:cNvSpPr>
            <p:nvPr userDrawn="1"/>
          </p:nvSpPr>
          <p:spPr bwMode="auto">
            <a:xfrm>
              <a:off x="-792" y="6070568"/>
              <a:ext cx="218066" cy="91396"/>
            </a:xfrm>
            <a:custGeom>
              <a:avLst/>
              <a:gdLst>
                <a:gd name="T0" fmla="*/ 0 w 143"/>
                <a:gd name="T1" fmla="*/ 0 h 60"/>
                <a:gd name="T2" fmla="*/ 0 w 143"/>
                <a:gd name="T3" fmla="*/ 2 h 60"/>
                <a:gd name="T4" fmla="*/ 138 w 143"/>
                <a:gd name="T5" fmla="*/ 60 h 60"/>
                <a:gd name="T6" fmla="*/ 143 w 143"/>
                <a:gd name="T7" fmla="*/ 59 h 60"/>
                <a:gd name="T8" fmla="*/ 0 w 143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60">
                  <a:moveTo>
                    <a:pt x="0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46" y="22"/>
                    <a:pt x="92" y="41"/>
                    <a:pt x="138" y="60"/>
                  </a:cubicBezTo>
                  <a:cubicBezTo>
                    <a:pt x="143" y="59"/>
                    <a:pt x="143" y="59"/>
                    <a:pt x="143" y="59"/>
                  </a:cubicBezTo>
                  <a:cubicBezTo>
                    <a:pt x="95" y="40"/>
                    <a:pt x="48" y="20"/>
                    <a:pt x="0" y="0"/>
                  </a:cubicBezTo>
                  <a:close/>
                </a:path>
              </a:pathLst>
            </a:custGeom>
            <a:solidFill>
              <a:srgbClr val="D6D8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1" name="Freeform 20"/>
            <p:cNvSpPr>
              <a:spLocks/>
            </p:cNvSpPr>
            <p:nvPr userDrawn="1"/>
          </p:nvSpPr>
          <p:spPr bwMode="auto">
            <a:xfrm>
              <a:off x="-792" y="5838072"/>
              <a:ext cx="582044" cy="259755"/>
            </a:xfrm>
            <a:custGeom>
              <a:avLst/>
              <a:gdLst>
                <a:gd name="T0" fmla="*/ 77 w 381"/>
                <a:gd name="T1" fmla="*/ 35 h 170"/>
                <a:gd name="T2" fmla="*/ 0 w 381"/>
                <a:gd name="T3" fmla="*/ 0 h 170"/>
                <a:gd name="T4" fmla="*/ 0 w 381"/>
                <a:gd name="T5" fmla="*/ 3 h 170"/>
                <a:gd name="T6" fmla="*/ 75 w 381"/>
                <a:gd name="T7" fmla="*/ 37 h 170"/>
                <a:gd name="T8" fmla="*/ 376 w 381"/>
                <a:gd name="T9" fmla="*/ 170 h 170"/>
                <a:gd name="T10" fmla="*/ 381 w 381"/>
                <a:gd name="T11" fmla="*/ 170 h 170"/>
                <a:gd name="T12" fmla="*/ 77 w 381"/>
                <a:gd name="T13" fmla="*/ 35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1" h="170">
                  <a:moveTo>
                    <a:pt x="77" y="35"/>
                  </a:moveTo>
                  <a:cubicBezTo>
                    <a:pt x="51" y="23"/>
                    <a:pt x="26" y="12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6" y="14"/>
                    <a:pt x="51" y="26"/>
                    <a:pt x="75" y="37"/>
                  </a:cubicBezTo>
                  <a:cubicBezTo>
                    <a:pt x="174" y="82"/>
                    <a:pt x="274" y="127"/>
                    <a:pt x="376" y="170"/>
                  </a:cubicBezTo>
                  <a:cubicBezTo>
                    <a:pt x="381" y="170"/>
                    <a:pt x="381" y="170"/>
                    <a:pt x="381" y="170"/>
                  </a:cubicBezTo>
                  <a:cubicBezTo>
                    <a:pt x="278" y="126"/>
                    <a:pt x="177" y="80"/>
                    <a:pt x="77" y="35"/>
                  </a:cubicBezTo>
                  <a:close/>
                </a:path>
              </a:pathLst>
            </a:custGeom>
            <a:solidFill>
              <a:srgbClr val="D6D7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2" name="Freeform 21"/>
            <p:cNvSpPr>
              <a:spLocks/>
            </p:cNvSpPr>
            <p:nvPr userDrawn="1"/>
          </p:nvSpPr>
          <p:spPr bwMode="auto">
            <a:xfrm>
              <a:off x="-792" y="5637644"/>
              <a:ext cx="920366" cy="400856"/>
            </a:xfrm>
            <a:custGeom>
              <a:avLst/>
              <a:gdLst>
                <a:gd name="T0" fmla="*/ 116 w 603"/>
                <a:gd name="T1" fmla="*/ 53 h 263"/>
                <a:gd name="T2" fmla="*/ 0 w 603"/>
                <a:gd name="T3" fmla="*/ 0 h 263"/>
                <a:gd name="T4" fmla="*/ 0 w 603"/>
                <a:gd name="T5" fmla="*/ 3 h 263"/>
                <a:gd name="T6" fmla="*/ 115 w 603"/>
                <a:gd name="T7" fmla="*/ 56 h 263"/>
                <a:gd name="T8" fmla="*/ 597 w 603"/>
                <a:gd name="T9" fmla="*/ 263 h 263"/>
                <a:gd name="T10" fmla="*/ 603 w 603"/>
                <a:gd name="T11" fmla="*/ 262 h 263"/>
                <a:gd name="T12" fmla="*/ 116 w 603"/>
                <a:gd name="T13" fmla="*/ 53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3" h="263">
                  <a:moveTo>
                    <a:pt x="116" y="53"/>
                  </a:moveTo>
                  <a:cubicBezTo>
                    <a:pt x="78" y="36"/>
                    <a:pt x="39" y="18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9" y="21"/>
                    <a:pt x="77" y="38"/>
                    <a:pt x="115" y="56"/>
                  </a:cubicBezTo>
                  <a:cubicBezTo>
                    <a:pt x="273" y="128"/>
                    <a:pt x="434" y="202"/>
                    <a:pt x="597" y="263"/>
                  </a:cubicBezTo>
                  <a:cubicBezTo>
                    <a:pt x="603" y="262"/>
                    <a:pt x="603" y="262"/>
                    <a:pt x="603" y="262"/>
                  </a:cubicBezTo>
                  <a:cubicBezTo>
                    <a:pt x="438" y="201"/>
                    <a:pt x="275" y="126"/>
                    <a:pt x="116" y="53"/>
                  </a:cubicBezTo>
                  <a:close/>
                </a:path>
              </a:pathLst>
            </a:custGeom>
            <a:solidFill>
              <a:srgbClr val="D5D7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3" name="Freeform 22"/>
            <p:cNvSpPr>
              <a:spLocks/>
            </p:cNvSpPr>
            <p:nvPr userDrawn="1"/>
          </p:nvSpPr>
          <p:spPr bwMode="auto">
            <a:xfrm>
              <a:off x="-792" y="5435612"/>
              <a:ext cx="1308395" cy="535544"/>
            </a:xfrm>
            <a:custGeom>
              <a:avLst/>
              <a:gdLst>
                <a:gd name="T0" fmla="*/ 158 w 858"/>
                <a:gd name="T1" fmla="*/ 72 h 351"/>
                <a:gd name="T2" fmla="*/ 0 w 858"/>
                <a:gd name="T3" fmla="*/ 0 h 351"/>
                <a:gd name="T4" fmla="*/ 0 w 858"/>
                <a:gd name="T5" fmla="*/ 4 h 351"/>
                <a:gd name="T6" fmla="*/ 157 w 858"/>
                <a:gd name="T7" fmla="*/ 75 h 351"/>
                <a:gd name="T8" fmla="*/ 850 w 858"/>
                <a:gd name="T9" fmla="*/ 351 h 351"/>
                <a:gd name="T10" fmla="*/ 858 w 858"/>
                <a:gd name="T11" fmla="*/ 350 h 351"/>
                <a:gd name="T12" fmla="*/ 158 w 858"/>
                <a:gd name="T13" fmla="*/ 72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8" h="351">
                  <a:moveTo>
                    <a:pt x="158" y="72"/>
                  </a:moveTo>
                  <a:cubicBezTo>
                    <a:pt x="106" y="48"/>
                    <a:pt x="53" y="24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53" y="27"/>
                    <a:pt x="105" y="51"/>
                    <a:pt x="157" y="75"/>
                  </a:cubicBezTo>
                  <a:cubicBezTo>
                    <a:pt x="382" y="179"/>
                    <a:pt x="614" y="287"/>
                    <a:pt x="850" y="351"/>
                  </a:cubicBezTo>
                  <a:cubicBezTo>
                    <a:pt x="858" y="350"/>
                    <a:pt x="858" y="350"/>
                    <a:pt x="858" y="350"/>
                  </a:cubicBezTo>
                  <a:cubicBezTo>
                    <a:pt x="619" y="286"/>
                    <a:pt x="385" y="177"/>
                    <a:pt x="158" y="72"/>
                  </a:cubicBezTo>
                  <a:close/>
                </a:path>
              </a:pathLst>
            </a:custGeom>
            <a:solidFill>
              <a:srgbClr val="D5D6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4" name="Freeform 23"/>
            <p:cNvSpPr>
              <a:spLocks/>
            </p:cNvSpPr>
            <p:nvPr userDrawn="1"/>
          </p:nvSpPr>
          <p:spPr bwMode="auto">
            <a:xfrm>
              <a:off x="-792" y="5233581"/>
              <a:ext cx="1858370" cy="642973"/>
            </a:xfrm>
            <a:custGeom>
              <a:avLst/>
              <a:gdLst>
                <a:gd name="T0" fmla="*/ 944 w 1218"/>
                <a:gd name="T1" fmla="*/ 377 h 421"/>
                <a:gd name="T2" fmla="*/ 201 w 1218"/>
                <a:gd name="T3" fmla="*/ 92 h 421"/>
                <a:gd name="T4" fmla="*/ 0 w 1218"/>
                <a:gd name="T5" fmla="*/ 0 h 421"/>
                <a:gd name="T6" fmla="*/ 0 w 1218"/>
                <a:gd name="T7" fmla="*/ 4 h 421"/>
                <a:gd name="T8" fmla="*/ 199 w 1218"/>
                <a:gd name="T9" fmla="*/ 95 h 421"/>
                <a:gd name="T10" fmla="*/ 943 w 1218"/>
                <a:gd name="T11" fmla="*/ 380 h 421"/>
                <a:gd name="T12" fmla="*/ 1205 w 1218"/>
                <a:gd name="T13" fmla="*/ 421 h 421"/>
                <a:gd name="T14" fmla="*/ 1218 w 1218"/>
                <a:gd name="T15" fmla="*/ 418 h 421"/>
                <a:gd name="T16" fmla="*/ 944 w 1218"/>
                <a:gd name="T17" fmla="*/ 377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18" h="421">
                  <a:moveTo>
                    <a:pt x="944" y="377"/>
                  </a:moveTo>
                  <a:cubicBezTo>
                    <a:pt x="691" y="321"/>
                    <a:pt x="442" y="204"/>
                    <a:pt x="201" y="92"/>
                  </a:cubicBezTo>
                  <a:cubicBezTo>
                    <a:pt x="135" y="61"/>
                    <a:pt x="67" y="3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67" y="33"/>
                    <a:pt x="134" y="65"/>
                    <a:pt x="199" y="95"/>
                  </a:cubicBezTo>
                  <a:cubicBezTo>
                    <a:pt x="441" y="208"/>
                    <a:pt x="690" y="324"/>
                    <a:pt x="943" y="380"/>
                  </a:cubicBezTo>
                  <a:cubicBezTo>
                    <a:pt x="1030" y="399"/>
                    <a:pt x="1117" y="412"/>
                    <a:pt x="1205" y="421"/>
                  </a:cubicBezTo>
                  <a:cubicBezTo>
                    <a:pt x="1218" y="418"/>
                    <a:pt x="1218" y="418"/>
                    <a:pt x="1218" y="418"/>
                  </a:cubicBezTo>
                  <a:cubicBezTo>
                    <a:pt x="1126" y="410"/>
                    <a:pt x="1034" y="397"/>
                    <a:pt x="944" y="377"/>
                  </a:cubicBezTo>
                  <a:close/>
                </a:path>
              </a:pathLst>
            </a:custGeom>
            <a:solidFill>
              <a:srgbClr val="D4D6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5" name="Freeform 24"/>
            <p:cNvSpPr>
              <a:spLocks/>
            </p:cNvSpPr>
            <p:nvPr userDrawn="1"/>
          </p:nvSpPr>
          <p:spPr bwMode="auto">
            <a:xfrm>
              <a:off x="-792" y="5034756"/>
              <a:ext cx="3202040" cy="710317"/>
            </a:xfrm>
            <a:custGeom>
              <a:avLst/>
              <a:gdLst>
                <a:gd name="T0" fmla="*/ 2068 w 2100"/>
                <a:gd name="T1" fmla="*/ 397 h 466"/>
                <a:gd name="T2" fmla="*/ 994 w 2100"/>
                <a:gd name="T3" fmla="*/ 394 h 466"/>
                <a:gd name="T4" fmla="*/ 245 w 2100"/>
                <a:gd name="T5" fmla="*/ 111 h 466"/>
                <a:gd name="T6" fmla="*/ 0 w 2100"/>
                <a:gd name="T7" fmla="*/ 0 h 466"/>
                <a:gd name="T8" fmla="*/ 0 w 2100"/>
                <a:gd name="T9" fmla="*/ 3 h 466"/>
                <a:gd name="T10" fmla="*/ 243 w 2100"/>
                <a:gd name="T11" fmla="*/ 114 h 466"/>
                <a:gd name="T12" fmla="*/ 994 w 2100"/>
                <a:gd name="T13" fmla="*/ 397 h 466"/>
                <a:gd name="T14" fmla="*/ 2059 w 2100"/>
                <a:gd name="T15" fmla="*/ 402 h 466"/>
                <a:gd name="T16" fmla="*/ 2100 w 2100"/>
                <a:gd name="T17" fmla="*/ 394 h 466"/>
                <a:gd name="T18" fmla="*/ 2068 w 2100"/>
                <a:gd name="T19" fmla="*/ 397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00" h="466">
                  <a:moveTo>
                    <a:pt x="2068" y="397"/>
                  </a:moveTo>
                  <a:cubicBezTo>
                    <a:pt x="1712" y="430"/>
                    <a:pt x="1344" y="463"/>
                    <a:pt x="994" y="394"/>
                  </a:cubicBezTo>
                  <a:cubicBezTo>
                    <a:pt x="740" y="343"/>
                    <a:pt x="488" y="225"/>
                    <a:pt x="245" y="111"/>
                  </a:cubicBezTo>
                  <a:cubicBezTo>
                    <a:pt x="164" y="74"/>
                    <a:pt x="81" y="35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81" y="38"/>
                    <a:pt x="163" y="77"/>
                    <a:pt x="243" y="114"/>
                  </a:cubicBezTo>
                  <a:cubicBezTo>
                    <a:pt x="487" y="229"/>
                    <a:pt x="738" y="347"/>
                    <a:pt x="994" y="397"/>
                  </a:cubicBezTo>
                  <a:cubicBezTo>
                    <a:pt x="1340" y="466"/>
                    <a:pt x="1705" y="434"/>
                    <a:pt x="2059" y="402"/>
                  </a:cubicBezTo>
                  <a:cubicBezTo>
                    <a:pt x="2100" y="394"/>
                    <a:pt x="2100" y="394"/>
                    <a:pt x="2100" y="394"/>
                  </a:cubicBezTo>
                  <a:cubicBezTo>
                    <a:pt x="2089" y="395"/>
                    <a:pt x="2078" y="396"/>
                    <a:pt x="2068" y="397"/>
                  </a:cubicBezTo>
                  <a:close/>
                </a:path>
              </a:pathLst>
            </a:custGeom>
            <a:solidFill>
              <a:srgbClr val="D4D5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8" name="Freeform: Shape 77"/>
            <p:cNvSpPr>
              <a:spLocks/>
            </p:cNvSpPr>
            <p:nvPr userDrawn="1"/>
          </p:nvSpPr>
          <p:spPr bwMode="auto">
            <a:xfrm>
              <a:off x="-1" y="29070"/>
              <a:ext cx="10203407" cy="4377143"/>
            </a:xfrm>
            <a:custGeom>
              <a:avLst/>
              <a:gdLst>
                <a:gd name="connsiteX0" fmla="*/ 0 w 10204800"/>
                <a:gd name="connsiteY0" fmla="*/ 0 h 4377740"/>
                <a:gd name="connsiteX1" fmla="*/ 12323 w 10204800"/>
                <a:gd name="connsiteY1" fmla="*/ 5280 h 4377740"/>
                <a:gd name="connsiteX2" fmla="*/ 1762640 w 10204800"/>
                <a:gd name="connsiteY2" fmla="*/ 755145 h 4377740"/>
                <a:gd name="connsiteX3" fmla="*/ 2185053 w 10204800"/>
                <a:gd name="connsiteY3" fmla="*/ 952075 h 4377740"/>
                <a:gd name="connsiteX4" fmla="*/ 3302846 w 10204800"/>
                <a:gd name="connsiteY4" fmla="*/ 1368834 h 4377740"/>
                <a:gd name="connsiteX5" fmla="*/ 4754605 w 10204800"/>
                <a:gd name="connsiteY5" fmla="*/ 1139845 h 4377740"/>
                <a:gd name="connsiteX6" fmla="*/ 5045872 w 10204800"/>
                <a:gd name="connsiteY6" fmla="*/ 1051303 h 4377740"/>
                <a:gd name="connsiteX7" fmla="*/ 5103820 w 10204800"/>
                <a:gd name="connsiteY7" fmla="*/ 1034511 h 4377740"/>
                <a:gd name="connsiteX8" fmla="*/ 6657751 w 10204800"/>
                <a:gd name="connsiteY8" fmla="*/ 930703 h 4377740"/>
                <a:gd name="connsiteX9" fmla="*/ 7763344 w 10204800"/>
                <a:gd name="connsiteY9" fmla="*/ 2187085 h 4377740"/>
                <a:gd name="connsiteX10" fmla="*/ 7827393 w 10204800"/>
                <a:gd name="connsiteY10" fmla="*/ 2300053 h 4377740"/>
                <a:gd name="connsiteX11" fmla="*/ 7960064 w 10204800"/>
                <a:gd name="connsiteY11" fmla="*/ 2535147 h 4377740"/>
                <a:gd name="connsiteX12" fmla="*/ 8937561 w 10204800"/>
                <a:gd name="connsiteY12" fmla="*/ 3800690 h 4377740"/>
                <a:gd name="connsiteX13" fmla="*/ 10005031 w 10204800"/>
                <a:gd name="connsiteY13" fmla="*/ 4296831 h 4377740"/>
                <a:gd name="connsiteX14" fmla="*/ 10204800 w 10204800"/>
                <a:gd name="connsiteY14" fmla="*/ 4373160 h 4377740"/>
                <a:gd name="connsiteX15" fmla="*/ 10181926 w 10204800"/>
                <a:gd name="connsiteY15" fmla="*/ 4377740 h 4377740"/>
                <a:gd name="connsiteX16" fmla="*/ 10000456 w 10204800"/>
                <a:gd name="connsiteY16" fmla="*/ 4307517 h 4377740"/>
                <a:gd name="connsiteX17" fmla="*/ 8931461 w 10204800"/>
                <a:gd name="connsiteY17" fmla="*/ 3809849 h 4377740"/>
                <a:gd name="connsiteX18" fmla="*/ 7949389 w 10204800"/>
                <a:gd name="connsiteY18" fmla="*/ 2541254 h 4377740"/>
                <a:gd name="connsiteX19" fmla="*/ 7816718 w 10204800"/>
                <a:gd name="connsiteY19" fmla="*/ 2306159 h 4377740"/>
                <a:gd name="connsiteX20" fmla="*/ 7752670 w 10204800"/>
                <a:gd name="connsiteY20" fmla="*/ 2193192 h 4377740"/>
                <a:gd name="connsiteX21" fmla="*/ 6653176 w 10204800"/>
                <a:gd name="connsiteY21" fmla="*/ 941389 h 4377740"/>
                <a:gd name="connsiteX22" fmla="*/ 5106870 w 10204800"/>
                <a:gd name="connsiteY22" fmla="*/ 1045197 h 4377740"/>
                <a:gd name="connsiteX23" fmla="*/ 5048921 w 10204800"/>
                <a:gd name="connsiteY23" fmla="*/ 1063516 h 4377740"/>
                <a:gd name="connsiteX24" fmla="*/ 4759180 w 10204800"/>
                <a:gd name="connsiteY24" fmla="*/ 1152058 h 4377740"/>
                <a:gd name="connsiteX25" fmla="*/ 3299796 w 10204800"/>
                <a:gd name="connsiteY25" fmla="*/ 1381046 h 4377740"/>
                <a:gd name="connsiteX26" fmla="*/ 2180478 w 10204800"/>
                <a:gd name="connsiteY26" fmla="*/ 962761 h 4377740"/>
                <a:gd name="connsiteX27" fmla="*/ 1758065 w 10204800"/>
                <a:gd name="connsiteY27" fmla="*/ 765831 h 4377740"/>
                <a:gd name="connsiteX28" fmla="*/ 292956 w 10204800"/>
                <a:gd name="connsiteY28" fmla="*/ 138154 h 4377740"/>
                <a:gd name="connsiteX29" fmla="*/ 0 w 10204800"/>
                <a:gd name="connsiteY29" fmla="*/ 12647 h 4377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204800" h="4377740">
                  <a:moveTo>
                    <a:pt x="0" y="0"/>
                  </a:moveTo>
                  <a:lnTo>
                    <a:pt x="12323" y="5280"/>
                  </a:lnTo>
                  <a:cubicBezTo>
                    <a:pt x="95671" y="40988"/>
                    <a:pt x="429065" y="183819"/>
                    <a:pt x="1762640" y="755145"/>
                  </a:cubicBezTo>
                  <a:cubicBezTo>
                    <a:pt x="1899886" y="813155"/>
                    <a:pt x="2038657" y="880325"/>
                    <a:pt x="2185053" y="952075"/>
                  </a:cubicBezTo>
                  <a:cubicBezTo>
                    <a:pt x="2551042" y="1127633"/>
                    <a:pt x="2929232" y="1310823"/>
                    <a:pt x="3302846" y="1368834"/>
                  </a:cubicBezTo>
                  <a:cubicBezTo>
                    <a:pt x="3784732" y="1443636"/>
                    <a:pt x="4278818" y="1289451"/>
                    <a:pt x="4754605" y="1139845"/>
                  </a:cubicBezTo>
                  <a:cubicBezTo>
                    <a:pt x="4855252" y="1109313"/>
                    <a:pt x="4949799" y="1078782"/>
                    <a:pt x="5045872" y="1051303"/>
                  </a:cubicBezTo>
                  <a:cubicBezTo>
                    <a:pt x="5045872" y="1051303"/>
                    <a:pt x="5045872" y="1051303"/>
                    <a:pt x="5103820" y="1034511"/>
                  </a:cubicBezTo>
                  <a:cubicBezTo>
                    <a:pt x="5602481" y="887958"/>
                    <a:pt x="6169765" y="723087"/>
                    <a:pt x="6657751" y="930703"/>
                  </a:cubicBezTo>
                  <a:cubicBezTo>
                    <a:pt x="7173186" y="1149005"/>
                    <a:pt x="7487327" y="1700103"/>
                    <a:pt x="7763344" y="2187085"/>
                  </a:cubicBezTo>
                  <a:cubicBezTo>
                    <a:pt x="7784694" y="2225250"/>
                    <a:pt x="7806043" y="2263415"/>
                    <a:pt x="7827393" y="2300053"/>
                  </a:cubicBezTo>
                  <a:cubicBezTo>
                    <a:pt x="7871616" y="2376382"/>
                    <a:pt x="7914315" y="2454238"/>
                    <a:pt x="7960064" y="2535147"/>
                  </a:cubicBezTo>
                  <a:cubicBezTo>
                    <a:pt x="8223881" y="3012970"/>
                    <a:pt x="8498373" y="3506058"/>
                    <a:pt x="8937561" y="3800690"/>
                  </a:cubicBezTo>
                  <a:cubicBezTo>
                    <a:pt x="9250177" y="4011359"/>
                    <a:pt x="9632941" y="4156385"/>
                    <a:pt x="10005031" y="4296831"/>
                  </a:cubicBezTo>
                  <a:cubicBezTo>
                    <a:pt x="10072129" y="4322783"/>
                    <a:pt x="10139227" y="4347208"/>
                    <a:pt x="10204800" y="4373160"/>
                  </a:cubicBezTo>
                  <a:cubicBezTo>
                    <a:pt x="10204800" y="4373160"/>
                    <a:pt x="10204800" y="4373160"/>
                    <a:pt x="10181926" y="4377740"/>
                  </a:cubicBezTo>
                  <a:cubicBezTo>
                    <a:pt x="10122452" y="4354841"/>
                    <a:pt x="10061454" y="4331943"/>
                    <a:pt x="10000456" y="4307517"/>
                  </a:cubicBezTo>
                  <a:cubicBezTo>
                    <a:pt x="9628366" y="4167071"/>
                    <a:pt x="9244077" y="4022045"/>
                    <a:pt x="8931461" y="3809849"/>
                  </a:cubicBezTo>
                  <a:cubicBezTo>
                    <a:pt x="8489224" y="3513691"/>
                    <a:pt x="8214732" y="3019076"/>
                    <a:pt x="7949389" y="2541254"/>
                  </a:cubicBezTo>
                  <a:cubicBezTo>
                    <a:pt x="7903641" y="2460345"/>
                    <a:pt x="7860942" y="2382489"/>
                    <a:pt x="7816718" y="2306159"/>
                  </a:cubicBezTo>
                  <a:cubicBezTo>
                    <a:pt x="7795369" y="2269521"/>
                    <a:pt x="7774019" y="2231356"/>
                    <a:pt x="7752670" y="2193192"/>
                  </a:cubicBezTo>
                  <a:cubicBezTo>
                    <a:pt x="7478178" y="1707736"/>
                    <a:pt x="7165561" y="1158164"/>
                    <a:pt x="6653176" y="941389"/>
                  </a:cubicBezTo>
                  <a:cubicBezTo>
                    <a:pt x="6168240" y="735299"/>
                    <a:pt x="5604006" y="900171"/>
                    <a:pt x="5106870" y="1045197"/>
                  </a:cubicBezTo>
                  <a:cubicBezTo>
                    <a:pt x="5106870" y="1045197"/>
                    <a:pt x="5106870" y="1045197"/>
                    <a:pt x="5048921" y="1063516"/>
                  </a:cubicBezTo>
                  <a:cubicBezTo>
                    <a:pt x="4954374" y="1090995"/>
                    <a:pt x="4858302" y="1120000"/>
                    <a:pt x="4759180" y="1152058"/>
                  </a:cubicBezTo>
                  <a:cubicBezTo>
                    <a:pt x="4280343" y="1301664"/>
                    <a:pt x="3786257" y="1455849"/>
                    <a:pt x="3299796" y="1381046"/>
                  </a:cubicBezTo>
                  <a:cubicBezTo>
                    <a:pt x="2926182" y="1323036"/>
                    <a:pt x="2546468" y="1139845"/>
                    <a:pt x="2180478" y="962761"/>
                  </a:cubicBezTo>
                  <a:cubicBezTo>
                    <a:pt x="2032557" y="891011"/>
                    <a:pt x="1895311" y="823841"/>
                    <a:pt x="1758065" y="765831"/>
                  </a:cubicBezTo>
                  <a:cubicBezTo>
                    <a:pt x="1758065" y="765831"/>
                    <a:pt x="1758065" y="765831"/>
                    <a:pt x="292956" y="138154"/>
                  </a:cubicBezTo>
                  <a:lnTo>
                    <a:pt x="0" y="12647"/>
                  </a:lnTo>
                  <a:close/>
                </a:path>
              </a:pathLst>
            </a:custGeom>
            <a:solidFill>
              <a:srgbClr val="C8C9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37" name="Freeform 26"/>
            <p:cNvSpPr>
              <a:spLocks/>
            </p:cNvSpPr>
            <p:nvPr userDrawn="1"/>
          </p:nvSpPr>
          <p:spPr bwMode="auto">
            <a:xfrm>
              <a:off x="366392" y="0"/>
              <a:ext cx="10178543" cy="4345283"/>
            </a:xfrm>
            <a:custGeom>
              <a:avLst/>
              <a:gdLst>
                <a:gd name="T0" fmla="*/ 6673 w 6676"/>
                <a:gd name="T1" fmla="*/ 2843 h 2847"/>
                <a:gd name="T2" fmla="*/ 6368 w 6676"/>
                <a:gd name="T3" fmla="*/ 2722 h 2847"/>
                <a:gd name="T4" fmla="*/ 5668 w 6676"/>
                <a:gd name="T5" fmla="*/ 2398 h 2847"/>
                <a:gd name="T6" fmla="*/ 5018 w 6676"/>
                <a:gd name="T7" fmla="*/ 1599 h 2847"/>
                <a:gd name="T8" fmla="*/ 4934 w 6676"/>
                <a:gd name="T9" fmla="*/ 1458 h 2847"/>
                <a:gd name="T10" fmla="*/ 4897 w 6676"/>
                <a:gd name="T11" fmla="*/ 1398 h 2847"/>
                <a:gd name="T12" fmla="*/ 4161 w 6676"/>
                <a:gd name="T13" fmla="*/ 597 h 2847"/>
                <a:gd name="T14" fmla="*/ 3146 w 6676"/>
                <a:gd name="T15" fmla="*/ 634 h 2847"/>
                <a:gd name="T16" fmla="*/ 3109 w 6676"/>
                <a:gd name="T17" fmla="*/ 643 h 2847"/>
                <a:gd name="T18" fmla="*/ 2921 w 6676"/>
                <a:gd name="T19" fmla="*/ 692 h 2847"/>
                <a:gd name="T20" fmla="*/ 1972 w 6676"/>
                <a:gd name="T21" fmla="*/ 806 h 2847"/>
                <a:gd name="T22" fmla="*/ 1241 w 6676"/>
                <a:gd name="T23" fmla="*/ 531 h 2847"/>
                <a:gd name="T24" fmla="*/ 963 w 6676"/>
                <a:gd name="T25" fmla="*/ 403 h 2847"/>
                <a:gd name="T26" fmla="*/ 21 w 6676"/>
                <a:gd name="T27" fmla="*/ 0 h 2847"/>
                <a:gd name="T28" fmla="*/ 0 w 6676"/>
                <a:gd name="T29" fmla="*/ 0 h 2847"/>
                <a:gd name="T30" fmla="*/ 960 w 6676"/>
                <a:gd name="T31" fmla="*/ 410 h 2847"/>
                <a:gd name="T32" fmla="*/ 1238 w 6676"/>
                <a:gd name="T33" fmla="*/ 539 h 2847"/>
                <a:gd name="T34" fmla="*/ 1971 w 6676"/>
                <a:gd name="T35" fmla="*/ 814 h 2847"/>
                <a:gd name="T36" fmla="*/ 2923 w 6676"/>
                <a:gd name="T37" fmla="*/ 699 h 2847"/>
                <a:gd name="T38" fmla="*/ 3111 w 6676"/>
                <a:gd name="T39" fmla="*/ 651 h 2847"/>
                <a:gd name="T40" fmla="*/ 3148 w 6676"/>
                <a:gd name="T41" fmla="*/ 642 h 2847"/>
                <a:gd name="T42" fmla="*/ 4158 w 6676"/>
                <a:gd name="T43" fmla="*/ 604 h 2847"/>
                <a:gd name="T44" fmla="*/ 4890 w 6676"/>
                <a:gd name="T45" fmla="*/ 1402 h 2847"/>
                <a:gd name="T46" fmla="*/ 4927 w 6676"/>
                <a:gd name="T47" fmla="*/ 1463 h 2847"/>
                <a:gd name="T48" fmla="*/ 5011 w 6676"/>
                <a:gd name="T49" fmla="*/ 1603 h 2847"/>
                <a:gd name="T50" fmla="*/ 5663 w 6676"/>
                <a:gd name="T51" fmla="*/ 2405 h 2847"/>
                <a:gd name="T52" fmla="*/ 6365 w 6676"/>
                <a:gd name="T53" fmla="*/ 2730 h 2847"/>
                <a:gd name="T54" fmla="*/ 6661 w 6676"/>
                <a:gd name="T55" fmla="*/ 2847 h 2847"/>
                <a:gd name="T56" fmla="*/ 6676 w 6676"/>
                <a:gd name="T57" fmla="*/ 2845 h 2847"/>
                <a:gd name="T58" fmla="*/ 6673 w 6676"/>
                <a:gd name="T59" fmla="*/ 2843 h 28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676" h="2847">
                  <a:moveTo>
                    <a:pt x="6673" y="2843"/>
                  </a:moveTo>
                  <a:cubicBezTo>
                    <a:pt x="6575" y="2801"/>
                    <a:pt x="6474" y="2763"/>
                    <a:pt x="6368" y="2722"/>
                  </a:cubicBezTo>
                  <a:cubicBezTo>
                    <a:pt x="6125" y="2630"/>
                    <a:pt x="5875" y="2535"/>
                    <a:pt x="5668" y="2398"/>
                  </a:cubicBezTo>
                  <a:cubicBezTo>
                    <a:pt x="5381" y="2210"/>
                    <a:pt x="5196" y="1899"/>
                    <a:pt x="5018" y="1599"/>
                  </a:cubicBezTo>
                  <a:cubicBezTo>
                    <a:pt x="4990" y="1552"/>
                    <a:pt x="4962" y="1504"/>
                    <a:pt x="4934" y="1458"/>
                  </a:cubicBezTo>
                  <a:cubicBezTo>
                    <a:pt x="4921" y="1438"/>
                    <a:pt x="4909" y="1418"/>
                    <a:pt x="4897" y="1398"/>
                  </a:cubicBezTo>
                  <a:cubicBezTo>
                    <a:pt x="4710" y="1089"/>
                    <a:pt x="4498" y="739"/>
                    <a:pt x="4161" y="597"/>
                  </a:cubicBezTo>
                  <a:cubicBezTo>
                    <a:pt x="3844" y="462"/>
                    <a:pt x="3473" y="553"/>
                    <a:pt x="3146" y="634"/>
                  </a:cubicBezTo>
                  <a:cubicBezTo>
                    <a:pt x="3109" y="643"/>
                    <a:pt x="3109" y="643"/>
                    <a:pt x="3109" y="643"/>
                  </a:cubicBezTo>
                  <a:cubicBezTo>
                    <a:pt x="3047" y="658"/>
                    <a:pt x="2983" y="675"/>
                    <a:pt x="2921" y="692"/>
                  </a:cubicBezTo>
                  <a:cubicBezTo>
                    <a:pt x="2608" y="774"/>
                    <a:pt x="2285" y="859"/>
                    <a:pt x="1972" y="806"/>
                  </a:cubicBezTo>
                  <a:cubicBezTo>
                    <a:pt x="1727" y="765"/>
                    <a:pt x="1480" y="646"/>
                    <a:pt x="1241" y="531"/>
                  </a:cubicBezTo>
                  <a:cubicBezTo>
                    <a:pt x="1145" y="485"/>
                    <a:pt x="1054" y="441"/>
                    <a:pt x="963" y="403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60" y="410"/>
                    <a:pt x="960" y="410"/>
                    <a:pt x="960" y="410"/>
                  </a:cubicBezTo>
                  <a:cubicBezTo>
                    <a:pt x="1050" y="449"/>
                    <a:pt x="1141" y="492"/>
                    <a:pt x="1238" y="539"/>
                  </a:cubicBezTo>
                  <a:cubicBezTo>
                    <a:pt x="1477" y="654"/>
                    <a:pt x="1725" y="772"/>
                    <a:pt x="1971" y="814"/>
                  </a:cubicBezTo>
                  <a:cubicBezTo>
                    <a:pt x="2286" y="868"/>
                    <a:pt x="2610" y="782"/>
                    <a:pt x="2923" y="699"/>
                  </a:cubicBezTo>
                  <a:cubicBezTo>
                    <a:pt x="2985" y="683"/>
                    <a:pt x="3049" y="666"/>
                    <a:pt x="3111" y="651"/>
                  </a:cubicBezTo>
                  <a:cubicBezTo>
                    <a:pt x="3148" y="642"/>
                    <a:pt x="3148" y="642"/>
                    <a:pt x="3148" y="642"/>
                  </a:cubicBezTo>
                  <a:cubicBezTo>
                    <a:pt x="3474" y="561"/>
                    <a:pt x="3843" y="470"/>
                    <a:pt x="4158" y="604"/>
                  </a:cubicBezTo>
                  <a:cubicBezTo>
                    <a:pt x="4492" y="746"/>
                    <a:pt x="4703" y="1094"/>
                    <a:pt x="4890" y="1402"/>
                  </a:cubicBezTo>
                  <a:cubicBezTo>
                    <a:pt x="4902" y="1422"/>
                    <a:pt x="4915" y="1443"/>
                    <a:pt x="4927" y="1463"/>
                  </a:cubicBezTo>
                  <a:cubicBezTo>
                    <a:pt x="4955" y="1508"/>
                    <a:pt x="4983" y="1556"/>
                    <a:pt x="5011" y="1603"/>
                  </a:cubicBezTo>
                  <a:cubicBezTo>
                    <a:pt x="5190" y="1904"/>
                    <a:pt x="5375" y="2216"/>
                    <a:pt x="5663" y="2405"/>
                  </a:cubicBezTo>
                  <a:cubicBezTo>
                    <a:pt x="5871" y="2542"/>
                    <a:pt x="6122" y="2637"/>
                    <a:pt x="6365" y="2730"/>
                  </a:cubicBezTo>
                  <a:cubicBezTo>
                    <a:pt x="6468" y="2769"/>
                    <a:pt x="6566" y="2807"/>
                    <a:pt x="6661" y="2847"/>
                  </a:cubicBezTo>
                  <a:cubicBezTo>
                    <a:pt x="6676" y="2845"/>
                    <a:pt x="6676" y="2845"/>
                    <a:pt x="6676" y="2845"/>
                  </a:cubicBezTo>
                  <a:lnTo>
                    <a:pt x="6673" y="2843"/>
                  </a:lnTo>
                  <a:close/>
                </a:path>
              </a:pathLst>
            </a:custGeom>
            <a:solidFill>
              <a:srgbClr val="C7C9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8" name="Freeform 27"/>
            <p:cNvSpPr>
              <a:spLocks/>
            </p:cNvSpPr>
            <p:nvPr userDrawn="1"/>
          </p:nvSpPr>
          <p:spPr bwMode="auto">
            <a:xfrm>
              <a:off x="834592" y="0"/>
              <a:ext cx="10042252" cy="4285956"/>
            </a:xfrm>
            <a:custGeom>
              <a:avLst/>
              <a:gdLst>
                <a:gd name="T0" fmla="*/ 6413 w 6586"/>
                <a:gd name="T1" fmla="*/ 2732 h 2809"/>
                <a:gd name="T2" fmla="*/ 6108 w 6586"/>
                <a:gd name="T3" fmla="*/ 2611 h 2809"/>
                <a:gd name="T4" fmla="*/ 5408 w 6586"/>
                <a:gd name="T5" fmla="*/ 2288 h 2809"/>
                <a:gd name="T6" fmla="*/ 4731 w 6586"/>
                <a:gd name="T7" fmla="*/ 1470 h 2809"/>
                <a:gd name="T8" fmla="*/ 3894 w 6586"/>
                <a:gd name="T9" fmla="*/ 572 h 2809"/>
                <a:gd name="T10" fmla="*/ 2695 w 6586"/>
                <a:gd name="T11" fmla="*/ 601 h 2809"/>
                <a:gd name="T12" fmla="*/ 1712 w 6586"/>
                <a:gd name="T13" fmla="*/ 697 h 2809"/>
                <a:gd name="T14" fmla="*/ 983 w 6586"/>
                <a:gd name="T15" fmla="*/ 420 h 2809"/>
                <a:gd name="T16" fmla="*/ 704 w 6586"/>
                <a:gd name="T17" fmla="*/ 292 h 2809"/>
                <a:gd name="T18" fmla="*/ 21 w 6586"/>
                <a:gd name="T19" fmla="*/ 0 h 2809"/>
                <a:gd name="T20" fmla="*/ 0 w 6586"/>
                <a:gd name="T21" fmla="*/ 0 h 2809"/>
                <a:gd name="T22" fmla="*/ 700 w 6586"/>
                <a:gd name="T23" fmla="*/ 299 h 2809"/>
                <a:gd name="T24" fmla="*/ 979 w 6586"/>
                <a:gd name="T25" fmla="*/ 428 h 2809"/>
                <a:gd name="T26" fmla="*/ 1711 w 6586"/>
                <a:gd name="T27" fmla="*/ 705 h 2809"/>
                <a:gd name="T28" fmla="*/ 2696 w 6586"/>
                <a:gd name="T29" fmla="*/ 609 h 2809"/>
                <a:gd name="T30" fmla="*/ 3891 w 6586"/>
                <a:gd name="T31" fmla="*/ 579 h 2809"/>
                <a:gd name="T32" fmla="*/ 4724 w 6586"/>
                <a:gd name="T33" fmla="*/ 1475 h 2809"/>
                <a:gd name="T34" fmla="*/ 5403 w 6586"/>
                <a:gd name="T35" fmla="*/ 2295 h 2809"/>
                <a:gd name="T36" fmla="*/ 6105 w 6586"/>
                <a:gd name="T37" fmla="*/ 2618 h 2809"/>
                <a:gd name="T38" fmla="*/ 6410 w 6586"/>
                <a:gd name="T39" fmla="*/ 2740 h 2809"/>
                <a:gd name="T40" fmla="*/ 6571 w 6586"/>
                <a:gd name="T41" fmla="*/ 2809 h 2809"/>
                <a:gd name="T42" fmla="*/ 6586 w 6586"/>
                <a:gd name="T43" fmla="*/ 2806 h 2809"/>
                <a:gd name="T44" fmla="*/ 6413 w 6586"/>
                <a:gd name="T45" fmla="*/ 2732 h 2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586" h="2809">
                  <a:moveTo>
                    <a:pt x="6413" y="2732"/>
                  </a:moveTo>
                  <a:cubicBezTo>
                    <a:pt x="6315" y="2690"/>
                    <a:pt x="6209" y="2650"/>
                    <a:pt x="6108" y="2611"/>
                  </a:cubicBezTo>
                  <a:cubicBezTo>
                    <a:pt x="5867" y="2518"/>
                    <a:pt x="5617" y="2423"/>
                    <a:pt x="5408" y="2288"/>
                  </a:cubicBezTo>
                  <a:cubicBezTo>
                    <a:pt x="5110" y="2097"/>
                    <a:pt x="4917" y="1778"/>
                    <a:pt x="4731" y="1470"/>
                  </a:cubicBezTo>
                  <a:cubicBezTo>
                    <a:pt x="4513" y="1111"/>
                    <a:pt x="4288" y="739"/>
                    <a:pt x="3894" y="572"/>
                  </a:cubicBezTo>
                  <a:cubicBezTo>
                    <a:pt x="3512" y="409"/>
                    <a:pt x="3096" y="507"/>
                    <a:pt x="2695" y="601"/>
                  </a:cubicBezTo>
                  <a:cubicBezTo>
                    <a:pt x="2368" y="678"/>
                    <a:pt x="2031" y="757"/>
                    <a:pt x="1712" y="697"/>
                  </a:cubicBezTo>
                  <a:cubicBezTo>
                    <a:pt x="1467" y="651"/>
                    <a:pt x="1221" y="534"/>
                    <a:pt x="983" y="420"/>
                  </a:cubicBezTo>
                  <a:cubicBezTo>
                    <a:pt x="886" y="374"/>
                    <a:pt x="795" y="331"/>
                    <a:pt x="704" y="292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00" y="299"/>
                    <a:pt x="700" y="299"/>
                    <a:pt x="700" y="299"/>
                  </a:cubicBezTo>
                  <a:cubicBezTo>
                    <a:pt x="792" y="338"/>
                    <a:pt x="883" y="382"/>
                    <a:pt x="979" y="428"/>
                  </a:cubicBezTo>
                  <a:cubicBezTo>
                    <a:pt x="1218" y="541"/>
                    <a:pt x="1464" y="659"/>
                    <a:pt x="1711" y="705"/>
                  </a:cubicBezTo>
                  <a:cubicBezTo>
                    <a:pt x="2031" y="765"/>
                    <a:pt x="2370" y="686"/>
                    <a:pt x="2696" y="609"/>
                  </a:cubicBezTo>
                  <a:cubicBezTo>
                    <a:pt x="3097" y="515"/>
                    <a:pt x="3511" y="418"/>
                    <a:pt x="3891" y="579"/>
                  </a:cubicBezTo>
                  <a:cubicBezTo>
                    <a:pt x="4282" y="745"/>
                    <a:pt x="4507" y="1116"/>
                    <a:pt x="4724" y="1475"/>
                  </a:cubicBezTo>
                  <a:cubicBezTo>
                    <a:pt x="4910" y="1783"/>
                    <a:pt x="5104" y="2103"/>
                    <a:pt x="5403" y="2295"/>
                  </a:cubicBezTo>
                  <a:cubicBezTo>
                    <a:pt x="5613" y="2430"/>
                    <a:pt x="5863" y="2526"/>
                    <a:pt x="6105" y="2618"/>
                  </a:cubicBezTo>
                  <a:cubicBezTo>
                    <a:pt x="6206" y="2658"/>
                    <a:pt x="6312" y="2698"/>
                    <a:pt x="6410" y="2740"/>
                  </a:cubicBezTo>
                  <a:cubicBezTo>
                    <a:pt x="6571" y="2809"/>
                    <a:pt x="6571" y="2809"/>
                    <a:pt x="6571" y="2809"/>
                  </a:cubicBezTo>
                  <a:cubicBezTo>
                    <a:pt x="6586" y="2806"/>
                    <a:pt x="6586" y="2806"/>
                    <a:pt x="6586" y="2806"/>
                  </a:cubicBezTo>
                  <a:lnTo>
                    <a:pt x="6413" y="2732"/>
                  </a:lnTo>
                  <a:close/>
                </a:path>
              </a:pathLst>
            </a:custGeom>
            <a:solidFill>
              <a:srgbClr val="C7C8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9" name="Freeform 28"/>
            <p:cNvSpPr>
              <a:spLocks/>
            </p:cNvSpPr>
            <p:nvPr userDrawn="1"/>
          </p:nvSpPr>
          <p:spPr bwMode="auto">
            <a:xfrm>
              <a:off x="1301189" y="0"/>
              <a:ext cx="9905961" cy="4228233"/>
            </a:xfrm>
            <a:custGeom>
              <a:avLst/>
              <a:gdLst>
                <a:gd name="T0" fmla="*/ 6154 w 6497"/>
                <a:gd name="T1" fmla="*/ 2621 h 2771"/>
                <a:gd name="T2" fmla="*/ 5848 w 6497"/>
                <a:gd name="T3" fmla="*/ 2499 h 2771"/>
                <a:gd name="T4" fmla="*/ 5149 w 6497"/>
                <a:gd name="T5" fmla="*/ 2178 h 2771"/>
                <a:gd name="T6" fmla="*/ 4468 w 6497"/>
                <a:gd name="T7" fmla="*/ 1404 h 2771"/>
                <a:gd name="T8" fmla="*/ 3633 w 6497"/>
                <a:gd name="T9" fmla="*/ 552 h 2771"/>
                <a:gd name="T10" fmla="*/ 2435 w 6497"/>
                <a:gd name="T11" fmla="*/ 536 h 2771"/>
                <a:gd name="T12" fmla="*/ 1454 w 6497"/>
                <a:gd name="T13" fmla="*/ 588 h 2771"/>
                <a:gd name="T14" fmla="*/ 726 w 6497"/>
                <a:gd name="T15" fmla="*/ 309 h 2771"/>
                <a:gd name="T16" fmla="*/ 445 w 6497"/>
                <a:gd name="T17" fmla="*/ 181 h 2771"/>
                <a:gd name="T18" fmla="*/ 21 w 6497"/>
                <a:gd name="T19" fmla="*/ 0 h 2771"/>
                <a:gd name="T20" fmla="*/ 0 w 6497"/>
                <a:gd name="T21" fmla="*/ 0 h 2771"/>
                <a:gd name="T22" fmla="*/ 442 w 6497"/>
                <a:gd name="T23" fmla="*/ 189 h 2771"/>
                <a:gd name="T24" fmla="*/ 722 w 6497"/>
                <a:gd name="T25" fmla="*/ 317 h 2771"/>
                <a:gd name="T26" fmla="*/ 1452 w 6497"/>
                <a:gd name="T27" fmla="*/ 596 h 2771"/>
                <a:gd name="T28" fmla="*/ 2436 w 6497"/>
                <a:gd name="T29" fmla="*/ 544 h 2771"/>
                <a:gd name="T30" fmla="*/ 3630 w 6497"/>
                <a:gd name="T31" fmla="*/ 560 h 2771"/>
                <a:gd name="T32" fmla="*/ 4461 w 6497"/>
                <a:gd name="T33" fmla="*/ 1409 h 2771"/>
                <a:gd name="T34" fmla="*/ 5145 w 6497"/>
                <a:gd name="T35" fmla="*/ 2186 h 2771"/>
                <a:gd name="T36" fmla="*/ 5845 w 6497"/>
                <a:gd name="T37" fmla="*/ 2507 h 2771"/>
                <a:gd name="T38" fmla="*/ 6151 w 6497"/>
                <a:gd name="T39" fmla="*/ 2629 h 2771"/>
                <a:gd name="T40" fmla="*/ 6482 w 6497"/>
                <a:gd name="T41" fmla="*/ 2771 h 2771"/>
                <a:gd name="T42" fmla="*/ 6497 w 6497"/>
                <a:gd name="T43" fmla="*/ 2768 h 2771"/>
                <a:gd name="T44" fmla="*/ 6154 w 6497"/>
                <a:gd name="T45" fmla="*/ 2621 h 27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497" h="2771">
                  <a:moveTo>
                    <a:pt x="6154" y="2621"/>
                  </a:moveTo>
                  <a:cubicBezTo>
                    <a:pt x="6056" y="2579"/>
                    <a:pt x="5950" y="2538"/>
                    <a:pt x="5848" y="2499"/>
                  </a:cubicBezTo>
                  <a:cubicBezTo>
                    <a:pt x="5609" y="2406"/>
                    <a:pt x="5361" y="2311"/>
                    <a:pt x="5149" y="2178"/>
                  </a:cubicBezTo>
                  <a:cubicBezTo>
                    <a:pt x="4856" y="1995"/>
                    <a:pt x="4659" y="1695"/>
                    <a:pt x="4468" y="1404"/>
                  </a:cubicBezTo>
                  <a:cubicBezTo>
                    <a:pt x="4245" y="1065"/>
                    <a:pt x="4016" y="715"/>
                    <a:pt x="3633" y="552"/>
                  </a:cubicBezTo>
                  <a:cubicBezTo>
                    <a:pt x="3253" y="391"/>
                    <a:pt x="2837" y="465"/>
                    <a:pt x="2435" y="536"/>
                  </a:cubicBezTo>
                  <a:cubicBezTo>
                    <a:pt x="2109" y="594"/>
                    <a:pt x="1771" y="654"/>
                    <a:pt x="1454" y="588"/>
                  </a:cubicBezTo>
                  <a:cubicBezTo>
                    <a:pt x="1208" y="537"/>
                    <a:pt x="963" y="421"/>
                    <a:pt x="726" y="309"/>
                  </a:cubicBezTo>
                  <a:cubicBezTo>
                    <a:pt x="629" y="264"/>
                    <a:pt x="537" y="220"/>
                    <a:pt x="445" y="181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42" y="189"/>
                    <a:pt x="442" y="189"/>
                    <a:pt x="442" y="189"/>
                  </a:cubicBezTo>
                  <a:cubicBezTo>
                    <a:pt x="534" y="228"/>
                    <a:pt x="625" y="271"/>
                    <a:pt x="722" y="317"/>
                  </a:cubicBezTo>
                  <a:cubicBezTo>
                    <a:pt x="960" y="429"/>
                    <a:pt x="1205" y="545"/>
                    <a:pt x="1452" y="596"/>
                  </a:cubicBezTo>
                  <a:cubicBezTo>
                    <a:pt x="1771" y="662"/>
                    <a:pt x="2109" y="602"/>
                    <a:pt x="2436" y="544"/>
                  </a:cubicBezTo>
                  <a:cubicBezTo>
                    <a:pt x="2837" y="473"/>
                    <a:pt x="3252" y="399"/>
                    <a:pt x="3630" y="560"/>
                  </a:cubicBezTo>
                  <a:cubicBezTo>
                    <a:pt x="4010" y="722"/>
                    <a:pt x="4239" y="1071"/>
                    <a:pt x="4461" y="1409"/>
                  </a:cubicBezTo>
                  <a:cubicBezTo>
                    <a:pt x="4652" y="1700"/>
                    <a:pt x="4850" y="2002"/>
                    <a:pt x="5145" y="2186"/>
                  </a:cubicBezTo>
                  <a:cubicBezTo>
                    <a:pt x="5357" y="2318"/>
                    <a:pt x="5605" y="2414"/>
                    <a:pt x="5845" y="2507"/>
                  </a:cubicBezTo>
                  <a:cubicBezTo>
                    <a:pt x="5947" y="2546"/>
                    <a:pt x="6052" y="2587"/>
                    <a:pt x="6151" y="2629"/>
                  </a:cubicBezTo>
                  <a:cubicBezTo>
                    <a:pt x="6482" y="2771"/>
                    <a:pt x="6482" y="2771"/>
                    <a:pt x="6482" y="2771"/>
                  </a:cubicBezTo>
                  <a:cubicBezTo>
                    <a:pt x="6497" y="2768"/>
                    <a:pt x="6497" y="2768"/>
                    <a:pt x="6497" y="2768"/>
                  </a:cubicBezTo>
                  <a:lnTo>
                    <a:pt x="6154" y="2621"/>
                  </a:lnTo>
                  <a:close/>
                </a:path>
              </a:pathLst>
            </a:custGeom>
            <a:solidFill>
              <a:srgbClr val="C6C8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0" name="Rectangle 29"/>
            <p:cNvSpPr>
              <a:spLocks noChangeArrowheads="1"/>
            </p:cNvSpPr>
            <p:nvPr userDrawn="1"/>
          </p:nvSpPr>
          <p:spPr bwMode="auto">
            <a:xfrm>
              <a:off x="12295875" y="4489591"/>
              <a:ext cx="1604" cy="14431"/>
            </a:xfrm>
            <a:prstGeom prst="rect">
              <a:avLst/>
            </a:prstGeom>
            <a:solidFill>
              <a:srgbClr val="C6C7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1" name="Freeform 30"/>
            <p:cNvSpPr>
              <a:spLocks/>
            </p:cNvSpPr>
            <p:nvPr userDrawn="1"/>
          </p:nvSpPr>
          <p:spPr bwMode="auto">
            <a:xfrm>
              <a:off x="1767786" y="0"/>
              <a:ext cx="9769670" cy="4168906"/>
            </a:xfrm>
            <a:custGeom>
              <a:avLst/>
              <a:gdLst>
                <a:gd name="T0" fmla="*/ 5896 w 6408"/>
                <a:gd name="T1" fmla="*/ 2511 h 2732"/>
                <a:gd name="T2" fmla="*/ 5589 w 6408"/>
                <a:gd name="T3" fmla="*/ 2387 h 2732"/>
                <a:gd name="T4" fmla="*/ 4891 w 6408"/>
                <a:gd name="T5" fmla="*/ 2069 h 2732"/>
                <a:gd name="T6" fmla="*/ 4206 w 6408"/>
                <a:gd name="T7" fmla="*/ 1340 h 2732"/>
                <a:gd name="T8" fmla="*/ 3376 w 6408"/>
                <a:gd name="T9" fmla="*/ 538 h 2732"/>
                <a:gd name="T10" fmla="*/ 2177 w 6408"/>
                <a:gd name="T11" fmla="*/ 474 h 2732"/>
                <a:gd name="T12" fmla="*/ 1195 w 6408"/>
                <a:gd name="T13" fmla="*/ 480 h 2732"/>
                <a:gd name="T14" fmla="*/ 469 w 6408"/>
                <a:gd name="T15" fmla="*/ 199 h 2732"/>
                <a:gd name="T16" fmla="*/ 186 w 6408"/>
                <a:gd name="T17" fmla="*/ 70 h 2732"/>
                <a:gd name="T18" fmla="*/ 22 w 6408"/>
                <a:gd name="T19" fmla="*/ 0 h 2732"/>
                <a:gd name="T20" fmla="*/ 0 w 6408"/>
                <a:gd name="T21" fmla="*/ 0 h 2732"/>
                <a:gd name="T22" fmla="*/ 183 w 6408"/>
                <a:gd name="T23" fmla="*/ 78 h 2732"/>
                <a:gd name="T24" fmla="*/ 465 w 6408"/>
                <a:gd name="T25" fmla="*/ 206 h 2732"/>
                <a:gd name="T26" fmla="*/ 1194 w 6408"/>
                <a:gd name="T27" fmla="*/ 488 h 2732"/>
                <a:gd name="T28" fmla="*/ 2178 w 6408"/>
                <a:gd name="T29" fmla="*/ 482 h 2732"/>
                <a:gd name="T30" fmla="*/ 3372 w 6408"/>
                <a:gd name="T31" fmla="*/ 546 h 2732"/>
                <a:gd name="T32" fmla="*/ 4199 w 6408"/>
                <a:gd name="T33" fmla="*/ 1345 h 2732"/>
                <a:gd name="T34" fmla="*/ 4886 w 6408"/>
                <a:gd name="T35" fmla="*/ 2076 h 2732"/>
                <a:gd name="T36" fmla="*/ 5586 w 6408"/>
                <a:gd name="T37" fmla="*/ 2395 h 2732"/>
                <a:gd name="T38" fmla="*/ 5892 w 6408"/>
                <a:gd name="T39" fmla="*/ 2518 h 2732"/>
                <a:gd name="T40" fmla="*/ 6393 w 6408"/>
                <a:gd name="T41" fmla="*/ 2732 h 2732"/>
                <a:gd name="T42" fmla="*/ 6408 w 6408"/>
                <a:gd name="T43" fmla="*/ 2730 h 2732"/>
                <a:gd name="T44" fmla="*/ 5896 w 6408"/>
                <a:gd name="T45" fmla="*/ 2511 h 27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408" h="2732">
                  <a:moveTo>
                    <a:pt x="5896" y="2511"/>
                  </a:moveTo>
                  <a:cubicBezTo>
                    <a:pt x="5796" y="2468"/>
                    <a:pt x="5691" y="2427"/>
                    <a:pt x="5589" y="2387"/>
                  </a:cubicBezTo>
                  <a:cubicBezTo>
                    <a:pt x="5351" y="2294"/>
                    <a:pt x="5105" y="2198"/>
                    <a:pt x="4891" y="2069"/>
                  </a:cubicBezTo>
                  <a:cubicBezTo>
                    <a:pt x="4603" y="1895"/>
                    <a:pt x="4401" y="1613"/>
                    <a:pt x="4206" y="1340"/>
                  </a:cubicBezTo>
                  <a:cubicBezTo>
                    <a:pt x="3980" y="1023"/>
                    <a:pt x="3746" y="695"/>
                    <a:pt x="3376" y="538"/>
                  </a:cubicBezTo>
                  <a:cubicBezTo>
                    <a:pt x="2997" y="377"/>
                    <a:pt x="2580" y="426"/>
                    <a:pt x="2177" y="474"/>
                  </a:cubicBezTo>
                  <a:cubicBezTo>
                    <a:pt x="1850" y="512"/>
                    <a:pt x="1512" y="552"/>
                    <a:pt x="1195" y="480"/>
                  </a:cubicBezTo>
                  <a:cubicBezTo>
                    <a:pt x="949" y="423"/>
                    <a:pt x="705" y="309"/>
                    <a:pt x="469" y="199"/>
                  </a:cubicBezTo>
                  <a:cubicBezTo>
                    <a:pt x="376" y="155"/>
                    <a:pt x="280" y="110"/>
                    <a:pt x="186" y="7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83" y="78"/>
                    <a:pt x="183" y="78"/>
                    <a:pt x="183" y="78"/>
                  </a:cubicBezTo>
                  <a:cubicBezTo>
                    <a:pt x="276" y="118"/>
                    <a:pt x="372" y="163"/>
                    <a:pt x="465" y="206"/>
                  </a:cubicBezTo>
                  <a:cubicBezTo>
                    <a:pt x="702" y="317"/>
                    <a:pt x="946" y="432"/>
                    <a:pt x="1194" y="488"/>
                  </a:cubicBezTo>
                  <a:cubicBezTo>
                    <a:pt x="1512" y="561"/>
                    <a:pt x="1851" y="521"/>
                    <a:pt x="2178" y="482"/>
                  </a:cubicBezTo>
                  <a:cubicBezTo>
                    <a:pt x="2580" y="434"/>
                    <a:pt x="2996" y="385"/>
                    <a:pt x="3372" y="546"/>
                  </a:cubicBezTo>
                  <a:cubicBezTo>
                    <a:pt x="3740" y="702"/>
                    <a:pt x="3974" y="1029"/>
                    <a:pt x="4199" y="1345"/>
                  </a:cubicBezTo>
                  <a:cubicBezTo>
                    <a:pt x="4395" y="1618"/>
                    <a:pt x="4597" y="1901"/>
                    <a:pt x="4886" y="2076"/>
                  </a:cubicBezTo>
                  <a:cubicBezTo>
                    <a:pt x="5101" y="2206"/>
                    <a:pt x="5347" y="2302"/>
                    <a:pt x="5586" y="2395"/>
                  </a:cubicBezTo>
                  <a:cubicBezTo>
                    <a:pt x="5688" y="2435"/>
                    <a:pt x="5793" y="2476"/>
                    <a:pt x="5892" y="2518"/>
                  </a:cubicBezTo>
                  <a:cubicBezTo>
                    <a:pt x="6393" y="2732"/>
                    <a:pt x="6393" y="2732"/>
                    <a:pt x="6393" y="2732"/>
                  </a:cubicBezTo>
                  <a:cubicBezTo>
                    <a:pt x="6408" y="2730"/>
                    <a:pt x="6408" y="2730"/>
                    <a:pt x="6408" y="2730"/>
                  </a:cubicBezTo>
                  <a:lnTo>
                    <a:pt x="5896" y="2511"/>
                  </a:lnTo>
                  <a:close/>
                </a:path>
              </a:pathLst>
            </a:custGeom>
            <a:solidFill>
              <a:srgbClr val="C6C7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2" name="Freeform 31"/>
            <p:cNvSpPr>
              <a:spLocks/>
            </p:cNvSpPr>
            <p:nvPr userDrawn="1"/>
          </p:nvSpPr>
          <p:spPr bwMode="auto">
            <a:xfrm>
              <a:off x="12295875" y="4293973"/>
              <a:ext cx="0" cy="9621"/>
            </a:xfrm>
            <a:custGeom>
              <a:avLst/>
              <a:gdLst>
                <a:gd name="T0" fmla="*/ 6 h 6"/>
                <a:gd name="T1" fmla="*/ 0 h 6"/>
                <a:gd name="T2" fmla="*/ 6 h 6"/>
                <a:gd name="T3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C5C7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3" name="Freeform 32"/>
            <p:cNvSpPr>
              <a:spLocks/>
            </p:cNvSpPr>
            <p:nvPr userDrawn="1"/>
          </p:nvSpPr>
          <p:spPr bwMode="auto">
            <a:xfrm>
              <a:off x="2232779" y="0"/>
              <a:ext cx="9636585" cy="4111183"/>
            </a:xfrm>
            <a:custGeom>
              <a:avLst/>
              <a:gdLst>
                <a:gd name="T0" fmla="*/ 5638 w 6320"/>
                <a:gd name="T1" fmla="*/ 2400 h 2694"/>
                <a:gd name="T2" fmla="*/ 5330 w 6320"/>
                <a:gd name="T3" fmla="*/ 2275 h 2694"/>
                <a:gd name="T4" fmla="*/ 4634 w 6320"/>
                <a:gd name="T5" fmla="*/ 1960 h 2694"/>
                <a:gd name="T6" fmla="*/ 3947 w 6320"/>
                <a:gd name="T7" fmla="*/ 1278 h 2694"/>
                <a:gd name="T8" fmla="*/ 3122 w 6320"/>
                <a:gd name="T9" fmla="*/ 527 h 2694"/>
                <a:gd name="T10" fmla="*/ 1923 w 6320"/>
                <a:gd name="T11" fmla="*/ 413 h 2694"/>
                <a:gd name="T12" fmla="*/ 939 w 6320"/>
                <a:gd name="T13" fmla="*/ 372 h 2694"/>
                <a:gd name="T14" fmla="*/ 214 w 6320"/>
                <a:gd name="T15" fmla="*/ 88 h 2694"/>
                <a:gd name="T16" fmla="*/ 21 w 6320"/>
                <a:gd name="T17" fmla="*/ 0 h 2694"/>
                <a:gd name="T18" fmla="*/ 0 w 6320"/>
                <a:gd name="T19" fmla="*/ 0 h 2694"/>
                <a:gd name="T20" fmla="*/ 210 w 6320"/>
                <a:gd name="T21" fmla="*/ 96 h 2694"/>
                <a:gd name="T22" fmla="*/ 936 w 6320"/>
                <a:gd name="T23" fmla="*/ 380 h 2694"/>
                <a:gd name="T24" fmla="*/ 1923 w 6320"/>
                <a:gd name="T25" fmla="*/ 422 h 2694"/>
                <a:gd name="T26" fmla="*/ 3119 w 6320"/>
                <a:gd name="T27" fmla="*/ 535 h 2694"/>
                <a:gd name="T28" fmla="*/ 3940 w 6320"/>
                <a:gd name="T29" fmla="*/ 1283 h 2694"/>
                <a:gd name="T30" fmla="*/ 4629 w 6320"/>
                <a:gd name="T31" fmla="*/ 1967 h 2694"/>
                <a:gd name="T32" fmla="*/ 5327 w 6320"/>
                <a:gd name="T33" fmla="*/ 2283 h 2694"/>
                <a:gd name="T34" fmla="*/ 5635 w 6320"/>
                <a:gd name="T35" fmla="*/ 2408 h 2694"/>
                <a:gd name="T36" fmla="*/ 6305 w 6320"/>
                <a:gd name="T37" fmla="*/ 2694 h 2694"/>
                <a:gd name="T38" fmla="*/ 6320 w 6320"/>
                <a:gd name="T39" fmla="*/ 2691 h 2694"/>
                <a:gd name="T40" fmla="*/ 5638 w 6320"/>
                <a:gd name="T41" fmla="*/ 2400 h 2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320" h="2694">
                  <a:moveTo>
                    <a:pt x="5638" y="2400"/>
                  </a:moveTo>
                  <a:cubicBezTo>
                    <a:pt x="5538" y="2357"/>
                    <a:pt x="5432" y="2315"/>
                    <a:pt x="5330" y="2275"/>
                  </a:cubicBezTo>
                  <a:cubicBezTo>
                    <a:pt x="5094" y="2182"/>
                    <a:pt x="4849" y="2086"/>
                    <a:pt x="4634" y="1960"/>
                  </a:cubicBezTo>
                  <a:cubicBezTo>
                    <a:pt x="4352" y="1795"/>
                    <a:pt x="4146" y="1532"/>
                    <a:pt x="3947" y="1278"/>
                  </a:cubicBezTo>
                  <a:cubicBezTo>
                    <a:pt x="3717" y="983"/>
                    <a:pt x="3479" y="679"/>
                    <a:pt x="3122" y="527"/>
                  </a:cubicBezTo>
                  <a:cubicBezTo>
                    <a:pt x="2744" y="366"/>
                    <a:pt x="2326" y="390"/>
                    <a:pt x="1923" y="413"/>
                  </a:cubicBezTo>
                  <a:cubicBezTo>
                    <a:pt x="1595" y="432"/>
                    <a:pt x="1255" y="452"/>
                    <a:pt x="939" y="372"/>
                  </a:cubicBezTo>
                  <a:cubicBezTo>
                    <a:pt x="692" y="310"/>
                    <a:pt x="449" y="197"/>
                    <a:pt x="214" y="88"/>
                  </a:cubicBezTo>
                  <a:cubicBezTo>
                    <a:pt x="150" y="58"/>
                    <a:pt x="86" y="29"/>
                    <a:pt x="2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0" y="31"/>
                    <a:pt x="141" y="64"/>
                    <a:pt x="210" y="96"/>
                  </a:cubicBezTo>
                  <a:cubicBezTo>
                    <a:pt x="445" y="205"/>
                    <a:pt x="689" y="318"/>
                    <a:pt x="936" y="380"/>
                  </a:cubicBezTo>
                  <a:cubicBezTo>
                    <a:pt x="1254" y="460"/>
                    <a:pt x="1594" y="441"/>
                    <a:pt x="1923" y="422"/>
                  </a:cubicBezTo>
                  <a:cubicBezTo>
                    <a:pt x="2326" y="399"/>
                    <a:pt x="2743" y="374"/>
                    <a:pt x="3119" y="535"/>
                  </a:cubicBezTo>
                  <a:cubicBezTo>
                    <a:pt x="3473" y="686"/>
                    <a:pt x="3710" y="990"/>
                    <a:pt x="3940" y="1283"/>
                  </a:cubicBezTo>
                  <a:cubicBezTo>
                    <a:pt x="4140" y="1538"/>
                    <a:pt x="4346" y="1801"/>
                    <a:pt x="4629" y="1967"/>
                  </a:cubicBezTo>
                  <a:cubicBezTo>
                    <a:pt x="4846" y="2094"/>
                    <a:pt x="5090" y="2190"/>
                    <a:pt x="5327" y="2283"/>
                  </a:cubicBezTo>
                  <a:cubicBezTo>
                    <a:pt x="5429" y="2323"/>
                    <a:pt x="5535" y="2365"/>
                    <a:pt x="5635" y="2408"/>
                  </a:cubicBezTo>
                  <a:cubicBezTo>
                    <a:pt x="6305" y="2694"/>
                    <a:pt x="6305" y="2694"/>
                    <a:pt x="6305" y="2694"/>
                  </a:cubicBezTo>
                  <a:cubicBezTo>
                    <a:pt x="6320" y="2691"/>
                    <a:pt x="6320" y="2691"/>
                    <a:pt x="6320" y="2691"/>
                  </a:cubicBezTo>
                  <a:lnTo>
                    <a:pt x="5638" y="2400"/>
                  </a:lnTo>
                  <a:close/>
                </a:path>
              </a:pathLst>
            </a:custGeom>
            <a:solidFill>
              <a:srgbClr val="C5C7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4" name="Freeform 33"/>
            <p:cNvSpPr>
              <a:spLocks/>
            </p:cNvSpPr>
            <p:nvPr userDrawn="1"/>
          </p:nvSpPr>
          <p:spPr bwMode="auto">
            <a:xfrm>
              <a:off x="2676927" y="0"/>
              <a:ext cx="9524346" cy="4053460"/>
            </a:xfrm>
            <a:custGeom>
              <a:avLst/>
              <a:gdLst>
                <a:gd name="T0" fmla="*/ 5394 w 6246"/>
                <a:gd name="T1" fmla="*/ 2289 h 2656"/>
                <a:gd name="T2" fmla="*/ 5084 w 6246"/>
                <a:gd name="T3" fmla="*/ 2163 h 2656"/>
                <a:gd name="T4" fmla="*/ 4389 w 6246"/>
                <a:gd name="T5" fmla="*/ 1851 h 2656"/>
                <a:gd name="T6" fmla="*/ 3702 w 6246"/>
                <a:gd name="T7" fmla="*/ 1217 h 2656"/>
                <a:gd name="T8" fmla="*/ 2884 w 6246"/>
                <a:gd name="T9" fmla="*/ 519 h 2656"/>
                <a:gd name="T10" fmla="*/ 1682 w 6246"/>
                <a:gd name="T11" fmla="*/ 354 h 2656"/>
                <a:gd name="T12" fmla="*/ 695 w 6246"/>
                <a:gd name="T13" fmla="*/ 264 h 2656"/>
                <a:gd name="T14" fmla="*/ 21 w 6246"/>
                <a:gd name="T15" fmla="*/ 0 h 2656"/>
                <a:gd name="T16" fmla="*/ 0 w 6246"/>
                <a:gd name="T17" fmla="*/ 0 h 2656"/>
                <a:gd name="T18" fmla="*/ 692 w 6246"/>
                <a:gd name="T19" fmla="*/ 273 h 2656"/>
                <a:gd name="T20" fmla="*/ 1682 w 6246"/>
                <a:gd name="T21" fmla="*/ 363 h 2656"/>
                <a:gd name="T22" fmla="*/ 2880 w 6246"/>
                <a:gd name="T23" fmla="*/ 527 h 2656"/>
                <a:gd name="T24" fmla="*/ 3696 w 6246"/>
                <a:gd name="T25" fmla="*/ 1223 h 2656"/>
                <a:gd name="T26" fmla="*/ 4385 w 6246"/>
                <a:gd name="T27" fmla="*/ 1858 h 2656"/>
                <a:gd name="T28" fmla="*/ 5081 w 6246"/>
                <a:gd name="T29" fmla="*/ 2171 h 2656"/>
                <a:gd name="T30" fmla="*/ 5390 w 6246"/>
                <a:gd name="T31" fmla="*/ 2297 h 2656"/>
                <a:gd name="T32" fmla="*/ 6230 w 6246"/>
                <a:gd name="T33" fmla="*/ 2656 h 2656"/>
                <a:gd name="T34" fmla="*/ 6246 w 6246"/>
                <a:gd name="T35" fmla="*/ 2653 h 2656"/>
                <a:gd name="T36" fmla="*/ 5394 w 6246"/>
                <a:gd name="T37" fmla="*/ 2289 h 2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246" h="2656">
                  <a:moveTo>
                    <a:pt x="5394" y="2289"/>
                  </a:moveTo>
                  <a:cubicBezTo>
                    <a:pt x="5292" y="2246"/>
                    <a:pt x="5186" y="2204"/>
                    <a:pt x="5084" y="2163"/>
                  </a:cubicBezTo>
                  <a:cubicBezTo>
                    <a:pt x="4849" y="2070"/>
                    <a:pt x="4607" y="1974"/>
                    <a:pt x="4389" y="1851"/>
                  </a:cubicBezTo>
                  <a:cubicBezTo>
                    <a:pt x="4115" y="1695"/>
                    <a:pt x="3905" y="1452"/>
                    <a:pt x="3702" y="1217"/>
                  </a:cubicBezTo>
                  <a:cubicBezTo>
                    <a:pt x="3468" y="946"/>
                    <a:pt x="3226" y="666"/>
                    <a:pt x="2884" y="519"/>
                  </a:cubicBezTo>
                  <a:cubicBezTo>
                    <a:pt x="2505" y="357"/>
                    <a:pt x="2087" y="355"/>
                    <a:pt x="1682" y="354"/>
                  </a:cubicBezTo>
                  <a:cubicBezTo>
                    <a:pt x="1353" y="353"/>
                    <a:pt x="1012" y="352"/>
                    <a:pt x="695" y="264"/>
                  </a:cubicBezTo>
                  <a:cubicBezTo>
                    <a:pt x="466" y="201"/>
                    <a:pt x="240" y="100"/>
                    <a:pt x="2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25" y="103"/>
                    <a:pt x="457" y="208"/>
                    <a:pt x="692" y="273"/>
                  </a:cubicBezTo>
                  <a:cubicBezTo>
                    <a:pt x="1011" y="361"/>
                    <a:pt x="1352" y="362"/>
                    <a:pt x="1682" y="363"/>
                  </a:cubicBezTo>
                  <a:cubicBezTo>
                    <a:pt x="2086" y="364"/>
                    <a:pt x="2503" y="366"/>
                    <a:pt x="2880" y="527"/>
                  </a:cubicBezTo>
                  <a:cubicBezTo>
                    <a:pt x="3221" y="673"/>
                    <a:pt x="3462" y="952"/>
                    <a:pt x="3696" y="1223"/>
                  </a:cubicBezTo>
                  <a:cubicBezTo>
                    <a:pt x="3899" y="1458"/>
                    <a:pt x="4109" y="1702"/>
                    <a:pt x="4385" y="1858"/>
                  </a:cubicBezTo>
                  <a:cubicBezTo>
                    <a:pt x="4603" y="1982"/>
                    <a:pt x="4846" y="2078"/>
                    <a:pt x="5081" y="2171"/>
                  </a:cubicBezTo>
                  <a:cubicBezTo>
                    <a:pt x="5183" y="2212"/>
                    <a:pt x="5289" y="2254"/>
                    <a:pt x="5390" y="2297"/>
                  </a:cubicBezTo>
                  <a:cubicBezTo>
                    <a:pt x="6230" y="2656"/>
                    <a:pt x="6230" y="2656"/>
                    <a:pt x="6230" y="2656"/>
                  </a:cubicBezTo>
                  <a:cubicBezTo>
                    <a:pt x="6246" y="2653"/>
                    <a:pt x="6246" y="2653"/>
                    <a:pt x="6246" y="2653"/>
                  </a:cubicBezTo>
                  <a:lnTo>
                    <a:pt x="5394" y="2289"/>
                  </a:lnTo>
                  <a:close/>
                </a:path>
              </a:pathLst>
            </a:custGeom>
            <a:solidFill>
              <a:srgbClr val="C5C6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20" name="Freeform: Shape 119"/>
            <p:cNvSpPr>
              <a:spLocks/>
            </p:cNvSpPr>
            <p:nvPr userDrawn="1"/>
          </p:nvSpPr>
          <p:spPr bwMode="auto">
            <a:xfrm>
              <a:off x="3133904" y="0"/>
              <a:ext cx="9059296" cy="3860342"/>
            </a:xfrm>
            <a:custGeom>
              <a:avLst/>
              <a:gdLst>
                <a:gd name="connsiteX0" fmla="*/ 0 w 9059296"/>
                <a:gd name="connsiteY0" fmla="*/ 0 h 3860342"/>
                <a:gd name="connsiteX1" fmla="*/ 35068 w 9059296"/>
                <a:gd name="connsiteY1" fmla="*/ 0 h 3860342"/>
                <a:gd name="connsiteX2" fmla="*/ 676971 w 9059296"/>
                <a:gd name="connsiteY2" fmla="*/ 238014 h 3860342"/>
                <a:gd name="connsiteX3" fmla="*/ 2189481 w 9059296"/>
                <a:gd name="connsiteY3" fmla="*/ 451616 h 3860342"/>
                <a:gd name="connsiteX4" fmla="*/ 4025230 w 9059296"/>
                <a:gd name="connsiteY4" fmla="*/ 781173 h 3860342"/>
                <a:gd name="connsiteX5" fmla="*/ 5260243 w 9059296"/>
                <a:gd name="connsiteY5" fmla="*/ 1763743 h 3860342"/>
                <a:gd name="connsiteX6" fmla="*/ 6309242 w 9059296"/>
                <a:gd name="connsiteY6" fmla="*/ 2657820 h 3860342"/>
                <a:gd name="connsiteX7" fmla="*/ 7365865 w 9059296"/>
                <a:gd name="connsiteY7" fmla="*/ 3129271 h 3860342"/>
                <a:gd name="connsiteX8" fmla="*/ 7840049 w 9059296"/>
                <a:gd name="connsiteY8" fmla="*/ 3323038 h 3860342"/>
                <a:gd name="connsiteX9" fmla="*/ 8929279 w 9059296"/>
                <a:gd name="connsiteY9" fmla="*/ 3789445 h 3860342"/>
                <a:gd name="connsiteX10" fmla="*/ 9059296 w 9059296"/>
                <a:gd name="connsiteY10" fmla="*/ 3845119 h 3860342"/>
                <a:gd name="connsiteX11" fmla="*/ 9059296 w 9059296"/>
                <a:gd name="connsiteY11" fmla="*/ 3860342 h 3860342"/>
                <a:gd name="connsiteX12" fmla="*/ 8995968 w 9059296"/>
                <a:gd name="connsiteY12" fmla="*/ 3833204 h 3860342"/>
                <a:gd name="connsiteX13" fmla="*/ 7833950 w 9059296"/>
                <a:gd name="connsiteY13" fmla="*/ 3335244 h 3860342"/>
                <a:gd name="connsiteX14" fmla="*/ 7361290 w 9059296"/>
                <a:gd name="connsiteY14" fmla="*/ 3141477 h 3860342"/>
                <a:gd name="connsiteX15" fmla="*/ 6303144 w 9059296"/>
                <a:gd name="connsiteY15" fmla="*/ 2670026 h 3860342"/>
                <a:gd name="connsiteX16" fmla="*/ 5249570 w 9059296"/>
                <a:gd name="connsiteY16" fmla="*/ 1774423 h 3860342"/>
                <a:gd name="connsiteX17" fmla="*/ 4019131 w 9059296"/>
                <a:gd name="connsiteY17" fmla="*/ 794905 h 3860342"/>
                <a:gd name="connsiteX18" fmla="*/ 2187956 w 9059296"/>
                <a:gd name="connsiteY18" fmla="*/ 465347 h 3860342"/>
                <a:gd name="connsiteX19" fmla="*/ 673921 w 9059296"/>
                <a:gd name="connsiteY19" fmla="*/ 251745 h 3860342"/>
                <a:gd name="connsiteX20" fmla="*/ 0 w 9059296"/>
                <a:gd name="connsiteY20" fmla="*/ 0 h 3860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059296" h="3860342">
                  <a:moveTo>
                    <a:pt x="0" y="0"/>
                  </a:moveTo>
                  <a:cubicBezTo>
                    <a:pt x="0" y="0"/>
                    <a:pt x="0" y="0"/>
                    <a:pt x="35068" y="0"/>
                  </a:cubicBezTo>
                  <a:cubicBezTo>
                    <a:pt x="247003" y="90018"/>
                    <a:pt x="460462" y="173933"/>
                    <a:pt x="676971" y="238014"/>
                  </a:cubicBezTo>
                  <a:cubicBezTo>
                    <a:pt x="1163352" y="384484"/>
                    <a:pt x="1684803" y="419576"/>
                    <a:pt x="2189481" y="451616"/>
                  </a:cubicBezTo>
                  <a:cubicBezTo>
                    <a:pt x="2806988" y="491285"/>
                    <a:pt x="3444316" y="532480"/>
                    <a:pt x="4025230" y="781173"/>
                  </a:cubicBezTo>
                  <a:cubicBezTo>
                    <a:pt x="4525334" y="996301"/>
                    <a:pt x="4898887" y="1386888"/>
                    <a:pt x="5260243" y="1763743"/>
                  </a:cubicBezTo>
                  <a:cubicBezTo>
                    <a:pt x="5575858" y="2093301"/>
                    <a:pt x="5900620" y="2433538"/>
                    <a:pt x="6309242" y="2657820"/>
                  </a:cubicBezTo>
                  <a:cubicBezTo>
                    <a:pt x="6644678" y="2839382"/>
                    <a:pt x="7010608" y="2987378"/>
                    <a:pt x="7365865" y="3129271"/>
                  </a:cubicBezTo>
                  <a:cubicBezTo>
                    <a:pt x="7522910" y="3191826"/>
                    <a:pt x="7684529" y="3255906"/>
                    <a:pt x="7840049" y="3323038"/>
                  </a:cubicBezTo>
                  <a:cubicBezTo>
                    <a:pt x="7840049" y="3323038"/>
                    <a:pt x="7840049" y="3323038"/>
                    <a:pt x="8929279" y="3789445"/>
                  </a:cubicBezTo>
                  <a:lnTo>
                    <a:pt x="9059296" y="3845119"/>
                  </a:lnTo>
                  <a:lnTo>
                    <a:pt x="9059296" y="3860342"/>
                  </a:lnTo>
                  <a:lnTo>
                    <a:pt x="8995968" y="3833204"/>
                  </a:lnTo>
                  <a:cubicBezTo>
                    <a:pt x="8829966" y="3762067"/>
                    <a:pt x="8497961" y="3619793"/>
                    <a:pt x="7833950" y="3335244"/>
                  </a:cubicBezTo>
                  <a:cubicBezTo>
                    <a:pt x="7678430" y="3269638"/>
                    <a:pt x="7516811" y="3204031"/>
                    <a:pt x="7361290" y="3141477"/>
                  </a:cubicBezTo>
                  <a:cubicBezTo>
                    <a:pt x="7006034" y="2999584"/>
                    <a:pt x="6638579" y="2853114"/>
                    <a:pt x="6303144" y="2670026"/>
                  </a:cubicBezTo>
                  <a:cubicBezTo>
                    <a:pt x="5892997" y="2445744"/>
                    <a:pt x="5565184" y="2103981"/>
                    <a:pt x="5249570" y="1774423"/>
                  </a:cubicBezTo>
                  <a:cubicBezTo>
                    <a:pt x="4889739" y="1397568"/>
                    <a:pt x="4516186" y="1008507"/>
                    <a:pt x="4019131" y="794905"/>
                  </a:cubicBezTo>
                  <a:cubicBezTo>
                    <a:pt x="3441266" y="546211"/>
                    <a:pt x="2803938" y="505016"/>
                    <a:pt x="2187956" y="465347"/>
                  </a:cubicBezTo>
                  <a:cubicBezTo>
                    <a:pt x="1683278" y="433307"/>
                    <a:pt x="1161828" y="398215"/>
                    <a:pt x="673921" y="251745"/>
                  </a:cubicBezTo>
                  <a:cubicBezTo>
                    <a:pt x="446740" y="183088"/>
                    <a:pt x="221083" y="94595"/>
                    <a:pt x="0" y="0"/>
                  </a:cubicBezTo>
                  <a:close/>
                </a:path>
              </a:pathLst>
            </a:custGeom>
            <a:solidFill>
              <a:srgbClr val="C4C6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16" name="Freeform: Shape 115"/>
            <p:cNvSpPr>
              <a:spLocks/>
            </p:cNvSpPr>
            <p:nvPr userDrawn="1"/>
          </p:nvSpPr>
          <p:spPr bwMode="auto">
            <a:xfrm>
              <a:off x="3630966" y="1"/>
              <a:ext cx="8562234" cy="3661559"/>
            </a:xfrm>
            <a:custGeom>
              <a:avLst/>
              <a:gdLst>
                <a:gd name="connsiteX0" fmla="*/ 0 w 8562234"/>
                <a:gd name="connsiteY0" fmla="*/ 0 h 3661559"/>
                <a:gd name="connsiteX1" fmla="*/ 39643 w 8562234"/>
                <a:gd name="connsiteY1" fmla="*/ 0 h 3661559"/>
                <a:gd name="connsiteX2" fmla="*/ 254626 w 8562234"/>
                <a:gd name="connsiteY2" fmla="*/ 74782 h 3661559"/>
                <a:gd name="connsiteX3" fmla="*/ 1773234 w 8562234"/>
                <a:gd name="connsiteY3" fmla="*/ 363226 h 3661559"/>
                <a:gd name="connsiteX4" fmla="*/ 3612031 w 8562234"/>
                <a:gd name="connsiteY4" fmla="*/ 772237 h 3661559"/>
                <a:gd name="connsiteX5" fmla="*/ 4834846 w 8562234"/>
                <a:gd name="connsiteY5" fmla="*/ 1672671 h 3661559"/>
                <a:gd name="connsiteX6" fmla="*/ 5886894 w 8562234"/>
                <a:gd name="connsiteY6" fmla="*/ 2492219 h 3661559"/>
                <a:gd name="connsiteX7" fmla="*/ 6937417 w 8562234"/>
                <a:gd name="connsiteY7" fmla="*/ 2957698 h 3661559"/>
                <a:gd name="connsiteX8" fmla="*/ 7414650 w 8562234"/>
                <a:gd name="connsiteY8" fmla="*/ 3154572 h 3661559"/>
                <a:gd name="connsiteX9" fmla="*/ 8444833 w 8562234"/>
                <a:gd name="connsiteY9" fmla="*/ 3595961 h 3661559"/>
                <a:gd name="connsiteX10" fmla="*/ 8562234 w 8562234"/>
                <a:gd name="connsiteY10" fmla="*/ 3646262 h 3661559"/>
                <a:gd name="connsiteX11" fmla="*/ 8562234 w 8562234"/>
                <a:gd name="connsiteY11" fmla="*/ 3661559 h 3661559"/>
                <a:gd name="connsiteX12" fmla="*/ 8508056 w 8562234"/>
                <a:gd name="connsiteY12" fmla="*/ 3638365 h 3661559"/>
                <a:gd name="connsiteX13" fmla="*/ 7410076 w 8562234"/>
                <a:gd name="connsiteY13" fmla="*/ 3168308 h 3661559"/>
                <a:gd name="connsiteX14" fmla="*/ 6932843 w 8562234"/>
                <a:gd name="connsiteY14" fmla="*/ 2971433 h 3661559"/>
                <a:gd name="connsiteX15" fmla="*/ 5879270 w 8562234"/>
                <a:gd name="connsiteY15" fmla="*/ 2504428 h 3661559"/>
                <a:gd name="connsiteX16" fmla="*/ 4825698 w 8562234"/>
                <a:gd name="connsiteY16" fmla="*/ 1683354 h 3661559"/>
                <a:gd name="connsiteX17" fmla="*/ 3605932 w 8562234"/>
                <a:gd name="connsiteY17" fmla="*/ 785972 h 3661559"/>
                <a:gd name="connsiteX18" fmla="*/ 1771710 w 8562234"/>
                <a:gd name="connsiteY18" fmla="*/ 378488 h 3661559"/>
                <a:gd name="connsiteX19" fmla="*/ 250052 w 8562234"/>
                <a:gd name="connsiteY19" fmla="*/ 88517 h 3661559"/>
                <a:gd name="connsiteX20" fmla="*/ 0 w 8562234"/>
                <a:gd name="connsiteY20" fmla="*/ 0 h 3661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8562234" h="3661559">
                  <a:moveTo>
                    <a:pt x="0" y="0"/>
                  </a:moveTo>
                  <a:cubicBezTo>
                    <a:pt x="0" y="0"/>
                    <a:pt x="0" y="0"/>
                    <a:pt x="39643" y="0"/>
                  </a:cubicBezTo>
                  <a:cubicBezTo>
                    <a:pt x="111304" y="25945"/>
                    <a:pt x="182965" y="51890"/>
                    <a:pt x="254626" y="74782"/>
                  </a:cubicBezTo>
                  <a:cubicBezTo>
                    <a:pt x="744057" y="233503"/>
                    <a:pt x="1267032" y="300654"/>
                    <a:pt x="1773234" y="363226"/>
                  </a:cubicBezTo>
                  <a:cubicBezTo>
                    <a:pt x="2390741" y="441060"/>
                    <a:pt x="3028068" y="521947"/>
                    <a:pt x="3612031" y="772237"/>
                  </a:cubicBezTo>
                  <a:cubicBezTo>
                    <a:pt x="4090789" y="978269"/>
                    <a:pt x="4468917" y="1330812"/>
                    <a:pt x="4834846" y="1672671"/>
                  </a:cubicBezTo>
                  <a:cubicBezTo>
                    <a:pt x="5155034" y="1973325"/>
                    <a:pt x="5487420" y="2283135"/>
                    <a:pt x="5886894" y="2492219"/>
                  </a:cubicBezTo>
                  <a:cubicBezTo>
                    <a:pt x="6222330" y="2669254"/>
                    <a:pt x="6586734" y="2815765"/>
                    <a:pt x="6937417" y="2957698"/>
                  </a:cubicBezTo>
                  <a:cubicBezTo>
                    <a:pt x="7095986" y="3021797"/>
                    <a:pt x="7257606" y="3087421"/>
                    <a:pt x="7414650" y="3154572"/>
                  </a:cubicBezTo>
                  <a:cubicBezTo>
                    <a:pt x="7414650" y="3154572"/>
                    <a:pt x="7414650" y="3154572"/>
                    <a:pt x="8444833" y="3595961"/>
                  </a:cubicBezTo>
                  <a:lnTo>
                    <a:pt x="8562234" y="3646262"/>
                  </a:lnTo>
                  <a:lnTo>
                    <a:pt x="8562234" y="3661559"/>
                  </a:lnTo>
                  <a:lnTo>
                    <a:pt x="8508056" y="3638365"/>
                  </a:lnTo>
                  <a:cubicBezTo>
                    <a:pt x="8351202" y="3571214"/>
                    <a:pt x="8037493" y="3436912"/>
                    <a:pt x="7410076" y="3168308"/>
                  </a:cubicBezTo>
                  <a:cubicBezTo>
                    <a:pt x="7253032" y="3099631"/>
                    <a:pt x="7089888" y="3034006"/>
                    <a:pt x="6932843" y="2971433"/>
                  </a:cubicBezTo>
                  <a:cubicBezTo>
                    <a:pt x="6580636" y="2827974"/>
                    <a:pt x="6216230" y="2681463"/>
                    <a:pt x="5879270" y="2504428"/>
                  </a:cubicBezTo>
                  <a:cubicBezTo>
                    <a:pt x="5479797" y="2293818"/>
                    <a:pt x="5147411" y="1984008"/>
                    <a:pt x="4825698" y="1683354"/>
                  </a:cubicBezTo>
                  <a:cubicBezTo>
                    <a:pt x="4459768" y="1343021"/>
                    <a:pt x="4081641" y="990478"/>
                    <a:pt x="3605932" y="785972"/>
                  </a:cubicBezTo>
                  <a:cubicBezTo>
                    <a:pt x="3025019" y="535682"/>
                    <a:pt x="2387691" y="456322"/>
                    <a:pt x="1771710" y="378488"/>
                  </a:cubicBezTo>
                  <a:cubicBezTo>
                    <a:pt x="1265507" y="314389"/>
                    <a:pt x="741008" y="247238"/>
                    <a:pt x="250052" y="88517"/>
                  </a:cubicBezTo>
                  <a:cubicBezTo>
                    <a:pt x="166193" y="61046"/>
                    <a:pt x="82335" y="30523"/>
                    <a:pt x="0" y="0"/>
                  </a:cubicBezTo>
                  <a:close/>
                </a:path>
              </a:pathLst>
            </a:custGeom>
            <a:solidFill>
              <a:srgbClr val="C4C5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18" name="Freeform: Shape 117"/>
            <p:cNvSpPr>
              <a:spLocks/>
            </p:cNvSpPr>
            <p:nvPr userDrawn="1"/>
          </p:nvSpPr>
          <p:spPr bwMode="auto">
            <a:xfrm>
              <a:off x="4188958" y="1"/>
              <a:ext cx="8004242" cy="3467965"/>
            </a:xfrm>
            <a:custGeom>
              <a:avLst/>
              <a:gdLst>
                <a:gd name="connsiteX0" fmla="*/ 0 w 8004242"/>
                <a:gd name="connsiteY0" fmla="*/ 0 h 3467965"/>
                <a:gd name="connsiteX1" fmla="*/ 50316 w 8004242"/>
                <a:gd name="connsiteY1" fmla="*/ 0 h 3467965"/>
                <a:gd name="connsiteX2" fmla="*/ 1299059 w 8004242"/>
                <a:gd name="connsiteY2" fmla="*/ 276214 h 3467965"/>
                <a:gd name="connsiteX3" fmla="*/ 3136342 w 8004242"/>
                <a:gd name="connsiteY3" fmla="*/ 761495 h 3467965"/>
                <a:gd name="connsiteX4" fmla="*/ 4346967 w 8004242"/>
                <a:gd name="connsiteY4" fmla="*/ 1579454 h 3467965"/>
                <a:gd name="connsiteX5" fmla="*/ 5402071 w 8004242"/>
                <a:gd name="connsiteY5" fmla="*/ 2325689 h 3467965"/>
                <a:gd name="connsiteX6" fmla="*/ 7582416 w 8004242"/>
                <a:gd name="connsiteY6" fmla="*/ 3279466 h 3467965"/>
                <a:gd name="connsiteX7" fmla="*/ 8004242 w 8004242"/>
                <a:gd name="connsiteY7" fmla="*/ 3452516 h 3467965"/>
                <a:gd name="connsiteX8" fmla="*/ 8004242 w 8004242"/>
                <a:gd name="connsiteY8" fmla="*/ 3467965 h 3467965"/>
                <a:gd name="connsiteX9" fmla="*/ 7576316 w 8004242"/>
                <a:gd name="connsiteY9" fmla="*/ 3293200 h 3467965"/>
                <a:gd name="connsiteX10" fmla="*/ 5394447 w 8004242"/>
                <a:gd name="connsiteY10" fmla="*/ 2337897 h 3467965"/>
                <a:gd name="connsiteX11" fmla="*/ 4337818 w 8004242"/>
                <a:gd name="connsiteY11" fmla="*/ 1591663 h 3467965"/>
                <a:gd name="connsiteX12" fmla="*/ 3130243 w 8004242"/>
                <a:gd name="connsiteY12" fmla="*/ 775230 h 3467965"/>
                <a:gd name="connsiteX13" fmla="*/ 1296009 w 8004242"/>
                <a:gd name="connsiteY13" fmla="*/ 289948 h 3467965"/>
                <a:gd name="connsiteX14" fmla="*/ 0 w 8004242"/>
                <a:gd name="connsiteY14" fmla="*/ 0 h 3467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004242" h="3467965">
                  <a:moveTo>
                    <a:pt x="0" y="0"/>
                  </a:moveTo>
                  <a:cubicBezTo>
                    <a:pt x="0" y="0"/>
                    <a:pt x="0" y="0"/>
                    <a:pt x="50316" y="0"/>
                  </a:cubicBezTo>
                  <a:cubicBezTo>
                    <a:pt x="460465" y="119031"/>
                    <a:pt x="885861" y="198386"/>
                    <a:pt x="1299059" y="276214"/>
                  </a:cubicBezTo>
                  <a:cubicBezTo>
                    <a:pt x="1913519" y="390667"/>
                    <a:pt x="2550851" y="509698"/>
                    <a:pt x="3136342" y="761495"/>
                  </a:cubicBezTo>
                  <a:cubicBezTo>
                    <a:pt x="3593757" y="958355"/>
                    <a:pt x="3976461" y="1274246"/>
                    <a:pt x="4346967" y="1579454"/>
                  </a:cubicBezTo>
                  <a:cubicBezTo>
                    <a:pt x="4673256" y="1849564"/>
                    <a:pt x="5011744" y="2130356"/>
                    <a:pt x="5402071" y="2325689"/>
                  </a:cubicBezTo>
                  <a:cubicBezTo>
                    <a:pt x="6104965" y="2679731"/>
                    <a:pt x="6856650" y="2984939"/>
                    <a:pt x="7582416" y="3279466"/>
                  </a:cubicBezTo>
                  <a:lnTo>
                    <a:pt x="8004242" y="3452516"/>
                  </a:lnTo>
                  <a:lnTo>
                    <a:pt x="8004242" y="3467965"/>
                  </a:lnTo>
                  <a:lnTo>
                    <a:pt x="7576316" y="3293200"/>
                  </a:lnTo>
                  <a:cubicBezTo>
                    <a:pt x="6850552" y="2998674"/>
                    <a:pt x="6100391" y="2693465"/>
                    <a:pt x="5394447" y="2337897"/>
                  </a:cubicBezTo>
                  <a:cubicBezTo>
                    <a:pt x="5004120" y="2142564"/>
                    <a:pt x="4665632" y="1861772"/>
                    <a:pt x="4337818" y="1591663"/>
                  </a:cubicBezTo>
                  <a:cubicBezTo>
                    <a:pt x="3968837" y="1286454"/>
                    <a:pt x="3586133" y="970563"/>
                    <a:pt x="3130243" y="775230"/>
                  </a:cubicBezTo>
                  <a:cubicBezTo>
                    <a:pt x="2546277" y="523433"/>
                    <a:pt x="1910470" y="405927"/>
                    <a:pt x="1296009" y="289948"/>
                  </a:cubicBezTo>
                  <a:cubicBezTo>
                    <a:pt x="867564" y="210594"/>
                    <a:pt x="425396" y="128188"/>
                    <a:pt x="0" y="0"/>
                  </a:cubicBezTo>
                  <a:close/>
                </a:path>
              </a:pathLst>
            </a:custGeom>
            <a:solidFill>
              <a:srgbClr val="C3C5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14" name="Freeform: Shape 113"/>
            <p:cNvSpPr>
              <a:spLocks/>
            </p:cNvSpPr>
            <p:nvPr userDrawn="1"/>
          </p:nvSpPr>
          <p:spPr bwMode="auto">
            <a:xfrm>
              <a:off x="4780622" y="1"/>
              <a:ext cx="7412579" cy="3266743"/>
            </a:xfrm>
            <a:custGeom>
              <a:avLst/>
              <a:gdLst>
                <a:gd name="connsiteX0" fmla="*/ 0 w 7412579"/>
                <a:gd name="connsiteY0" fmla="*/ 0 h 3266743"/>
                <a:gd name="connsiteX1" fmla="*/ 54890 w 7412579"/>
                <a:gd name="connsiteY1" fmla="*/ 0 h 3266743"/>
                <a:gd name="connsiteX2" fmla="*/ 792845 w 7412579"/>
                <a:gd name="connsiteY2" fmla="*/ 189200 h 3266743"/>
                <a:gd name="connsiteX3" fmla="*/ 2625536 w 7412579"/>
                <a:gd name="connsiteY3" fmla="*/ 749170 h 3266743"/>
                <a:gd name="connsiteX4" fmla="*/ 3822427 w 7412579"/>
                <a:gd name="connsiteY4" fmla="*/ 1484608 h 3266743"/>
                <a:gd name="connsiteX5" fmla="*/ 4882095 w 7412579"/>
                <a:gd name="connsiteY5" fmla="*/ 2159014 h 3266743"/>
                <a:gd name="connsiteX6" fmla="*/ 7057843 w 7412579"/>
                <a:gd name="connsiteY6" fmla="*/ 3103487 h 3266743"/>
                <a:gd name="connsiteX7" fmla="*/ 7412579 w 7412579"/>
                <a:gd name="connsiteY7" fmla="*/ 3250217 h 3266743"/>
                <a:gd name="connsiteX8" fmla="*/ 7412579 w 7412579"/>
                <a:gd name="connsiteY8" fmla="*/ 3266743 h 3266743"/>
                <a:gd name="connsiteX9" fmla="*/ 7053269 w 7412579"/>
                <a:gd name="connsiteY9" fmla="*/ 3117219 h 3266743"/>
                <a:gd name="connsiteX10" fmla="*/ 4875995 w 7412579"/>
                <a:gd name="connsiteY10" fmla="*/ 2171220 h 3266743"/>
                <a:gd name="connsiteX11" fmla="*/ 3814803 w 7412579"/>
                <a:gd name="connsiteY11" fmla="*/ 1496814 h 3266743"/>
                <a:gd name="connsiteX12" fmla="*/ 2620962 w 7412579"/>
                <a:gd name="connsiteY12" fmla="*/ 761377 h 3266743"/>
                <a:gd name="connsiteX13" fmla="*/ 789796 w 7412579"/>
                <a:gd name="connsiteY13" fmla="*/ 202932 h 3266743"/>
                <a:gd name="connsiteX14" fmla="*/ 0 w 7412579"/>
                <a:gd name="connsiteY14" fmla="*/ 0 h 3266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412579" h="3266743">
                  <a:moveTo>
                    <a:pt x="0" y="0"/>
                  </a:moveTo>
                  <a:cubicBezTo>
                    <a:pt x="0" y="0"/>
                    <a:pt x="0" y="0"/>
                    <a:pt x="54890" y="0"/>
                  </a:cubicBezTo>
                  <a:cubicBezTo>
                    <a:pt x="301891" y="67135"/>
                    <a:pt x="548893" y="128168"/>
                    <a:pt x="792845" y="189200"/>
                  </a:cubicBezTo>
                  <a:cubicBezTo>
                    <a:pt x="1404250" y="340254"/>
                    <a:pt x="2037001" y="495887"/>
                    <a:pt x="2625536" y="749170"/>
                  </a:cubicBezTo>
                  <a:cubicBezTo>
                    <a:pt x="3063126" y="936844"/>
                    <a:pt x="3448875" y="1214541"/>
                    <a:pt x="3822427" y="1484608"/>
                  </a:cubicBezTo>
                  <a:cubicBezTo>
                    <a:pt x="4156337" y="1725685"/>
                    <a:pt x="4502443" y="1975917"/>
                    <a:pt x="4882095" y="2159014"/>
                  </a:cubicBezTo>
                  <a:cubicBezTo>
                    <a:pt x="5592605" y="2500794"/>
                    <a:pt x="6338185" y="2807480"/>
                    <a:pt x="7057843" y="3103487"/>
                  </a:cubicBezTo>
                  <a:lnTo>
                    <a:pt x="7412579" y="3250217"/>
                  </a:lnTo>
                  <a:lnTo>
                    <a:pt x="7412579" y="3266743"/>
                  </a:lnTo>
                  <a:lnTo>
                    <a:pt x="7053269" y="3117219"/>
                  </a:lnTo>
                  <a:cubicBezTo>
                    <a:pt x="6332085" y="2821213"/>
                    <a:pt x="5586507" y="2513000"/>
                    <a:pt x="4875995" y="2171220"/>
                  </a:cubicBezTo>
                  <a:cubicBezTo>
                    <a:pt x="4494820" y="1988123"/>
                    <a:pt x="4148713" y="1737892"/>
                    <a:pt x="3814803" y="1496814"/>
                  </a:cubicBezTo>
                  <a:cubicBezTo>
                    <a:pt x="3441252" y="1226747"/>
                    <a:pt x="3055502" y="949051"/>
                    <a:pt x="2620962" y="761377"/>
                  </a:cubicBezTo>
                  <a:cubicBezTo>
                    <a:pt x="2030903" y="509619"/>
                    <a:pt x="1399676" y="353987"/>
                    <a:pt x="789796" y="202932"/>
                  </a:cubicBezTo>
                  <a:cubicBezTo>
                    <a:pt x="529072" y="138848"/>
                    <a:pt x="263774" y="73239"/>
                    <a:pt x="0" y="0"/>
                  </a:cubicBezTo>
                  <a:close/>
                </a:path>
              </a:pathLst>
            </a:custGeom>
            <a:solidFill>
              <a:srgbClr val="C3C4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12" name="Freeform: Shape 111"/>
            <p:cNvSpPr>
              <a:spLocks/>
            </p:cNvSpPr>
            <p:nvPr userDrawn="1"/>
          </p:nvSpPr>
          <p:spPr bwMode="auto">
            <a:xfrm>
              <a:off x="5279287" y="1"/>
              <a:ext cx="6913913" cy="3065889"/>
            </a:xfrm>
            <a:custGeom>
              <a:avLst/>
              <a:gdLst>
                <a:gd name="connsiteX0" fmla="*/ 0 w 6913913"/>
                <a:gd name="connsiteY0" fmla="*/ 0 h 3065889"/>
                <a:gd name="connsiteX1" fmla="*/ 50315 w 6913913"/>
                <a:gd name="connsiteY1" fmla="*/ 0 h 3065889"/>
                <a:gd name="connsiteX2" fmla="*/ 385745 w 6913913"/>
                <a:gd name="connsiteY2" fmla="*/ 102261 h 3065889"/>
                <a:gd name="connsiteX3" fmla="*/ 2204691 w 6913913"/>
                <a:gd name="connsiteY3" fmla="*/ 731090 h 3065889"/>
                <a:gd name="connsiteX4" fmla="*/ 3387845 w 6913913"/>
                <a:gd name="connsiteY4" fmla="*/ 1387393 h 3065889"/>
                <a:gd name="connsiteX5" fmla="*/ 4456647 w 6913913"/>
                <a:gd name="connsiteY5" fmla="*/ 1993328 h 3065889"/>
                <a:gd name="connsiteX6" fmla="*/ 6621696 w 6913913"/>
                <a:gd name="connsiteY6" fmla="*/ 2927414 h 3065889"/>
                <a:gd name="connsiteX7" fmla="*/ 6913913 w 6913913"/>
                <a:gd name="connsiteY7" fmla="*/ 3049393 h 3065889"/>
                <a:gd name="connsiteX8" fmla="*/ 6913913 w 6913913"/>
                <a:gd name="connsiteY8" fmla="*/ 3065889 h 3065889"/>
                <a:gd name="connsiteX9" fmla="*/ 6617122 w 6913913"/>
                <a:gd name="connsiteY9" fmla="*/ 2941151 h 3065889"/>
                <a:gd name="connsiteX10" fmla="*/ 4450549 w 6913913"/>
                <a:gd name="connsiteY10" fmla="*/ 2005538 h 3065889"/>
                <a:gd name="connsiteX11" fmla="*/ 3380221 w 6913913"/>
                <a:gd name="connsiteY11" fmla="*/ 1399603 h 3065889"/>
                <a:gd name="connsiteX12" fmla="*/ 2200117 w 6913913"/>
                <a:gd name="connsiteY12" fmla="*/ 744827 h 3065889"/>
                <a:gd name="connsiteX13" fmla="*/ 381171 w 6913913"/>
                <a:gd name="connsiteY13" fmla="*/ 117524 h 3065889"/>
                <a:gd name="connsiteX14" fmla="*/ 0 w 6913913"/>
                <a:gd name="connsiteY14" fmla="*/ 0 h 3065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913913" h="3065889">
                  <a:moveTo>
                    <a:pt x="0" y="0"/>
                  </a:moveTo>
                  <a:cubicBezTo>
                    <a:pt x="0" y="0"/>
                    <a:pt x="0" y="0"/>
                    <a:pt x="50315" y="0"/>
                  </a:cubicBezTo>
                  <a:cubicBezTo>
                    <a:pt x="163141" y="35105"/>
                    <a:pt x="274443" y="68683"/>
                    <a:pt x="385745" y="102261"/>
                  </a:cubicBezTo>
                  <a:cubicBezTo>
                    <a:pt x="989519" y="286942"/>
                    <a:pt x="1614639" y="477727"/>
                    <a:pt x="2204691" y="731090"/>
                  </a:cubicBezTo>
                  <a:cubicBezTo>
                    <a:pt x="2622454" y="911192"/>
                    <a:pt x="3011248" y="1152345"/>
                    <a:pt x="3387845" y="1387393"/>
                  </a:cubicBezTo>
                  <a:cubicBezTo>
                    <a:pt x="3729373" y="1601073"/>
                    <a:pt x="4083100" y="1820858"/>
                    <a:pt x="4456647" y="1993328"/>
                  </a:cubicBezTo>
                  <a:cubicBezTo>
                    <a:pt x="5170199" y="2319953"/>
                    <a:pt x="5908145" y="2629789"/>
                    <a:pt x="6621696" y="2927414"/>
                  </a:cubicBezTo>
                  <a:lnTo>
                    <a:pt x="6913913" y="3049393"/>
                  </a:lnTo>
                  <a:lnTo>
                    <a:pt x="6913913" y="3065889"/>
                  </a:lnTo>
                  <a:lnTo>
                    <a:pt x="6617122" y="2941151"/>
                  </a:lnTo>
                  <a:cubicBezTo>
                    <a:pt x="5902046" y="2641999"/>
                    <a:pt x="5164099" y="2333689"/>
                    <a:pt x="4450549" y="2005538"/>
                  </a:cubicBezTo>
                  <a:cubicBezTo>
                    <a:pt x="4075477" y="1834594"/>
                    <a:pt x="3721750" y="1613283"/>
                    <a:pt x="3380221" y="1399603"/>
                  </a:cubicBezTo>
                  <a:cubicBezTo>
                    <a:pt x="3005149" y="1166082"/>
                    <a:pt x="2616355" y="923402"/>
                    <a:pt x="2200117" y="744827"/>
                  </a:cubicBezTo>
                  <a:cubicBezTo>
                    <a:pt x="1608540" y="491464"/>
                    <a:pt x="984945" y="300678"/>
                    <a:pt x="381171" y="117524"/>
                  </a:cubicBezTo>
                  <a:cubicBezTo>
                    <a:pt x="254622" y="77841"/>
                    <a:pt x="128074" y="39683"/>
                    <a:pt x="0" y="0"/>
                  </a:cubicBezTo>
                  <a:close/>
                </a:path>
              </a:pathLst>
            </a:custGeom>
            <a:solidFill>
              <a:srgbClr val="C2C4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10" name="Freeform: Shape 109"/>
            <p:cNvSpPr>
              <a:spLocks/>
            </p:cNvSpPr>
            <p:nvPr userDrawn="1"/>
          </p:nvSpPr>
          <p:spPr bwMode="auto">
            <a:xfrm>
              <a:off x="5667316" y="1"/>
              <a:ext cx="6525884" cy="2863221"/>
            </a:xfrm>
            <a:custGeom>
              <a:avLst/>
              <a:gdLst>
                <a:gd name="connsiteX0" fmla="*/ 0 w 6525884"/>
                <a:gd name="connsiteY0" fmla="*/ 0 h 2863221"/>
                <a:gd name="connsiteX1" fmla="*/ 44221 w 6525884"/>
                <a:gd name="connsiteY1" fmla="*/ 0 h 2863221"/>
                <a:gd name="connsiteX2" fmla="*/ 109790 w 6525884"/>
                <a:gd name="connsiteY2" fmla="*/ 24416 h 2863221"/>
                <a:gd name="connsiteX3" fmla="*/ 1889300 w 6525884"/>
                <a:gd name="connsiteY3" fmla="*/ 708059 h 2863221"/>
                <a:gd name="connsiteX4" fmla="*/ 3051242 w 6525884"/>
                <a:gd name="connsiteY4" fmla="*/ 1281831 h 2863221"/>
                <a:gd name="connsiteX5" fmla="*/ 4141516 w 6525884"/>
                <a:gd name="connsiteY5" fmla="*/ 1825084 h 2863221"/>
                <a:gd name="connsiteX6" fmla="*/ 6273268 w 6525884"/>
                <a:gd name="connsiteY6" fmla="*/ 2739151 h 2863221"/>
                <a:gd name="connsiteX7" fmla="*/ 6525884 w 6525884"/>
                <a:gd name="connsiteY7" fmla="*/ 2846566 h 2863221"/>
                <a:gd name="connsiteX8" fmla="*/ 6525884 w 6525884"/>
                <a:gd name="connsiteY8" fmla="*/ 2863221 h 2863221"/>
                <a:gd name="connsiteX9" fmla="*/ 6267168 w 6525884"/>
                <a:gd name="connsiteY9" fmla="*/ 2752885 h 2863221"/>
                <a:gd name="connsiteX10" fmla="*/ 4135416 w 6525884"/>
                <a:gd name="connsiteY10" fmla="*/ 1838818 h 2863221"/>
                <a:gd name="connsiteX11" fmla="*/ 3045142 w 6525884"/>
                <a:gd name="connsiteY11" fmla="*/ 1295565 h 2863221"/>
                <a:gd name="connsiteX12" fmla="*/ 1883200 w 6525884"/>
                <a:gd name="connsiteY12" fmla="*/ 721793 h 2863221"/>
                <a:gd name="connsiteX13" fmla="*/ 105215 w 6525884"/>
                <a:gd name="connsiteY13" fmla="*/ 38150 h 2863221"/>
                <a:gd name="connsiteX14" fmla="*/ 0 w 6525884"/>
                <a:gd name="connsiteY14" fmla="*/ 0 h 2863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525884" h="2863221">
                  <a:moveTo>
                    <a:pt x="0" y="0"/>
                  </a:moveTo>
                  <a:cubicBezTo>
                    <a:pt x="0" y="0"/>
                    <a:pt x="0" y="0"/>
                    <a:pt x="44221" y="0"/>
                  </a:cubicBezTo>
                  <a:cubicBezTo>
                    <a:pt x="65569" y="7630"/>
                    <a:pt x="88442" y="15260"/>
                    <a:pt x="109790" y="24416"/>
                  </a:cubicBezTo>
                  <a:cubicBezTo>
                    <a:pt x="698385" y="238054"/>
                    <a:pt x="1305279" y="457797"/>
                    <a:pt x="1889300" y="708059"/>
                  </a:cubicBezTo>
                  <a:cubicBezTo>
                    <a:pt x="2288813" y="878970"/>
                    <a:pt x="2676127" y="1083453"/>
                    <a:pt x="3051242" y="1281831"/>
                  </a:cubicBezTo>
                  <a:cubicBezTo>
                    <a:pt x="3403484" y="1469528"/>
                    <a:pt x="3769450" y="1661803"/>
                    <a:pt x="4141516" y="1825084"/>
                  </a:cubicBezTo>
                  <a:cubicBezTo>
                    <a:pt x="4849050" y="2136385"/>
                    <a:pt x="5573358" y="2443109"/>
                    <a:pt x="6273268" y="2739151"/>
                  </a:cubicBezTo>
                  <a:lnTo>
                    <a:pt x="6525884" y="2846566"/>
                  </a:lnTo>
                  <a:lnTo>
                    <a:pt x="6525884" y="2863221"/>
                  </a:lnTo>
                  <a:lnTo>
                    <a:pt x="6267168" y="2752885"/>
                  </a:lnTo>
                  <a:cubicBezTo>
                    <a:pt x="5567258" y="2456843"/>
                    <a:pt x="4842950" y="2150119"/>
                    <a:pt x="4135416" y="1838818"/>
                  </a:cubicBezTo>
                  <a:cubicBezTo>
                    <a:pt x="3761826" y="1675537"/>
                    <a:pt x="3397385" y="1481736"/>
                    <a:pt x="3045142" y="1295565"/>
                  </a:cubicBezTo>
                  <a:cubicBezTo>
                    <a:pt x="2670027" y="1097187"/>
                    <a:pt x="2281188" y="892704"/>
                    <a:pt x="1883200" y="721793"/>
                  </a:cubicBezTo>
                  <a:cubicBezTo>
                    <a:pt x="1299180" y="471531"/>
                    <a:pt x="692286" y="251788"/>
                    <a:pt x="105215" y="38150"/>
                  </a:cubicBezTo>
                  <a:cubicBezTo>
                    <a:pt x="70144" y="25942"/>
                    <a:pt x="35072" y="12208"/>
                    <a:pt x="0" y="0"/>
                  </a:cubicBezTo>
                  <a:close/>
                </a:path>
              </a:pathLst>
            </a:custGeom>
            <a:solidFill>
              <a:srgbClr val="C2C3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51" name="Freeform 40"/>
            <p:cNvSpPr>
              <a:spLocks/>
            </p:cNvSpPr>
            <p:nvPr userDrawn="1"/>
          </p:nvSpPr>
          <p:spPr bwMode="auto">
            <a:xfrm>
              <a:off x="-792" y="4832724"/>
              <a:ext cx="5053996" cy="732765"/>
            </a:xfrm>
            <a:custGeom>
              <a:avLst/>
              <a:gdLst>
                <a:gd name="T0" fmla="*/ 2531 w 3314"/>
                <a:gd name="T1" fmla="*/ 341 h 480"/>
                <a:gd name="T2" fmla="*/ 2388 w 3314"/>
                <a:gd name="T3" fmla="*/ 357 h 480"/>
                <a:gd name="T4" fmla="*/ 2141 w 3314"/>
                <a:gd name="T5" fmla="*/ 386 h 480"/>
                <a:gd name="T6" fmla="*/ 1044 w 3314"/>
                <a:gd name="T7" fmla="*/ 413 h 480"/>
                <a:gd name="T8" fmla="*/ 290 w 3314"/>
                <a:gd name="T9" fmla="*/ 132 h 480"/>
                <a:gd name="T10" fmla="*/ 18 w 3314"/>
                <a:gd name="T11" fmla="*/ 8 h 480"/>
                <a:gd name="T12" fmla="*/ 0 w 3314"/>
                <a:gd name="T13" fmla="*/ 0 h 480"/>
                <a:gd name="T14" fmla="*/ 0 w 3314"/>
                <a:gd name="T15" fmla="*/ 4 h 480"/>
                <a:gd name="T16" fmla="*/ 17 w 3314"/>
                <a:gd name="T17" fmla="*/ 11 h 480"/>
                <a:gd name="T18" fmla="*/ 288 w 3314"/>
                <a:gd name="T19" fmla="*/ 135 h 480"/>
                <a:gd name="T20" fmla="*/ 1043 w 3314"/>
                <a:gd name="T21" fmla="*/ 416 h 480"/>
                <a:gd name="T22" fmla="*/ 2142 w 3314"/>
                <a:gd name="T23" fmla="*/ 390 h 480"/>
                <a:gd name="T24" fmla="*/ 2388 w 3314"/>
                <a:gd name="T25" fmla="*/ 361 h 480"/>
                <a:gd name="T26" fmla="*/ 2532 w 3314"/>
                <a:gd name="T27" fmla="*/ 345 h 480"/>
                <a:gd name="T28" fmla="*/ 3302 w 3314"/>
                <a:gd name="T29" fmla="*/ 315 h 480"/>
                <a:gd name="T30" fmla="*/ 3314 w 3314"/>
                <a:gd name="T31" fmla="*/ 313 h 480"/>
                <a:gd name="T32" fmla="*/ 2531 w 3314"/>
                <a:gd name="T33" fmla="*/ 341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14" h="480">
                  <a:moveTo>
                    <a:pt x="2531" y="341"/>
                  </a:moveTo>
                  <a:cubicBezTo>
                    <a:pt x="2481" y="347"/>
                    <a:pt x="2434" y="352"/>
                    <a:pt x="2388" y="357"/>
                  </a:cubicBezTo>
                  <a:cubicBezTo>
                    <a:pt x="2306" y="366"/>
                    <a:pt x="2222" y="376"/>
                    <a:pt x="2141" y="386"/>
                  </a:cubicBezTo>
                  <a:cubicBezTo>
                    <a:pt x="1778" y="431"/>
                    <a:pt x="1402" y="477"/>
                    <a:pt x="1044" y="413"/>
                  </a:cubicBezTo>
                  <a:cubicBezTo>
                    <a:pt x="788" y="367"/>
                    <a:pt x="535" y="247"/>
                    <a:pt x="290" y="132"/>
                  </a:cubicBezTo>
                  <a:cubicBezTo>
                    <a:pt x="196" y="88"/>
                    <a:pt x="107" y="46"/>
                    <a:pt x="18" y="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06" y="49"/>
                    <a:pt x="194" y="91"/>
                    <a:pt x="288" y="135"/>
                  </a:cubicBezTo>
                  <a:cubicBezTo>
                    <a:pt x="533" y="251"/>
                    <a:pt x="787" y="370"/>
                    <a:pt x="1043" y="416"/>
                  </a:cubicBezTo>
                  <a:cubicBezTo>
                    <a:pt x="1402" y="480"/>
                    <a:pt x="1778" y="434"/>
                    <a:pt x="2142" y="390"/>
                  </a:cubicBezTo>
                  <a:cubicBezTo>
                    <a:pt x="2223" y="380"/>
                    <a:pt x="2307" y="370"/>
                    <a:pt x="2388" y="361"/>
                  </a:cubicBezTo>
                  <a:cubicBezTo>
                    <a:pt x="2434" y="356"/>
                    <a:pt x="2482" y="351"/>
                    <a:pt x="2532" y="345"/>
                  </a:cubicBezTo>
                  <a:cubicBezTo>
                    <a:pt x="2781" y="315"/>
                    <a:pt x="3053" y="284"/>
                    <a:pt x="3302" y="315"/>
                  </a:cubicBezTo>
                  <a:cubicBezTo>
                    <a:pt x="3314" y="313"/>
                    <a:pt x="3314" y="313"/>
                    <a:pt x="3314" y="313"/>
                  </a:cubicBezTo>
                  <a:cubicBezTo>
                    <a:pt x="3062" y="279"/>
                    <a:pt x="2785" y="311"/>
                    <a:pt x="2531" y="341"/>
                  </a:cubicBezTo>
                  <a:close/>
                </a:path>
              </a:pathLst>
            </a:custGeom>
            <a:solidFill>
              <a:srgbClr val="D3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2" name="Freeform 41"/>
            <p:cNvSpPr>
              <a:spLocks/>
            </p:cNvSpPr>
            <p:nvPr userDrawn="1"/>
          </p:nvSpPr>
          <p:spPr bwMode="auto">
            <a:xfrm>
              <a:off x="-792" y="4632296"/>
              <a:ext cx="5714608" cy="755213"/>
            </a:xfrm>
            <a:custGeom>
              <a:avLst/>
              <a:gdLst>
                <a:gd name="T0" fmla="*/ 3707 w 3747"/>
                <a:gd name="T1" fmla="*/ 348 h 495"/>
                <a:gd name="T2" fmla="*/ 2619 w 3747"/>
                <a:gd name="T3" fmla="*/ 320 h 495"/>
                <a:gd name="T4" fmla="*/ 2467 w 3747"/>
                <a:gd name="T5" fmla="*/ 342 h 495"/>
                <a:gd name="T6" fmla="*/ 2211 w 3747"/>
                <a:gd name="T7" fmla="*/ 379 h 495"/>
                <a:gd name="T8" fmla="*/ 1093 w 3747"/>
                <a:gd name="T9" fmla="*/ 431 h 495"/>
                <a:gd name="T10" fmla="*/ 336 w 3747"/>
                <a:gd name="T11" fmla="*/ 152 h 495"/>
                <a:gd name="T12" fmla="*/ 66 w 3747"/>
                <a:gd name="T13" fmla="*/ 28 h 495"/>
                <a:gd name="T14" fmla="*/ 0 w 3747"/>
                <a:gd name="T15" fmla="*/ 0 h 495"/>
                <a:gd name="T16" fmla="*/ 0 w 3747"/>
                <a:gd name="T17" fmla="*/ 4 h 495"/>
                <a:gd name="T18" fmla="*/ 64 w 3747"/>
                <a:gd name="T19" fmla="*/ 31 h 495"/>
                <a:gd name="T20" fmla="*/ 334 w 3747"/>
                <a:gd name="T21" fmla="*/ 155 h 495"/>
                <a:gd name="T22" fmla="*/ 1092 w 3747"/>
                <a:gd name="T23" fmla="*/ 435 h 495"/>
                <a:gd name="T24" fmla="*/ 2212 w 3747"/>
                <a:gd name="T25" fmla="*/ 382 h 495"/>
                <a:gd name="T26" fmla="*/ 2468 w 3747"/>
                <a:gd name="T27" fmla="*/ 346 h 495"/>
                <a:gd name="T28" fmla="*/ 2620 w 3747"/>
                <a:gd name="T29" fmla="*/ 324 h 495"/>
                <a:gd name="T30" fmla="*/ 3705 w 3747"/>
                <a:gd name="T31" fmla="*/ 351 h 495"/>
                <a:gd name="T32" fmla="*/ 3741 w 3747"/>
                <a:gd name="T33" fmla="*/ 368 h 495"/>
                <a:gd name="T34" fmla="*/ 3747 w 3747"/>
                <a:gd name="T35" fmla="*/ 367 h 495"/>
                <a:gd name="T36" fmla="*/ 3707 w 3747"/>
                <a:gd name="T37" fmla="*/ 348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747" h="495">
                  <a:moveTo>
                    <a:pt x="3707" y="348"/>
                  </a:moveTo>
                  <a:cubicBezTo>
                    <a:pt x="3390" y="209"/>
                    <a:pt x="2962" y="271"/>
                    <a:pt x="2619" y="320"/>
                  </a:cubicBezTo>
                  <a:cubicBezTo>
                    <a:pt x="2566" y="328"/>
                    <a:pt x="2516" y="335"/>
                    <a:pt x="2467" y="342"/>
                  </a:cubicBezTo>
                  <a:cubicBezTo>
                    <a:pt x="2383" y="353"/>
                    <a:pt x="2296" y="366"/>
                    <a:pt x="2211" y="379"/>
                  </a:cubicBezTo>
                  <a:cubicBezTo>
                    <a:pt x="1841" y="434"/>
                    <a:pt x="1458" y="491"/>
                    <a:pt x="1093" y="431"/>
                  </a:cubicBezTo>
                  <a:cubicBezTo>
                    <a:pt x="837" y="389"/>
                    <a:pt x="582" y="268"/>
                    <a:pt x="336" y="152"/>
                  </a:cubicBezTo>
                  <a:cubicBezTo>
                    <a:pt x="242" y="107"/>
                    <a:pt x="154" y="66"/>
                    <a:pt x="66" y="2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64" y="31"/>
                    <a:pt x="64" y="31"/>
                    <a:pt x="64" y="31"/>
                  </a:cubicBezTo>
                  <a:cubicBezTo>
                    <a:pt x="153" y="69"/>
                    <a:pt x="241" y="111"/>
                    <a:pt x="334" y="155"/>
                  </a:cubicBezTo>
                  <a:cubicBezTo>
                    <a:pt x="580" y="272"/>
                    <a:pt x="835" y="392"/>
                    <a:pt x="1092" y="435"/>
                  </a:cubicBezTo>
                  <a:cubicBezTo>
                    <a:pt x="1458" y="495"/>
                    <a:pt x="1841" y="438"/>
                    <a:pt x="2212" y="382"/>
                  </a:cubicBezTo>
                  <a:cubicBezTo>
                    <a:pt x="2296" y="370"/>
                    <a:pt x="2384" y="357"/>
                    <a:pt x="2468" y="346"/>
                  </a:cubicBezTo>
                  <a:cubicBezTo>
                    <a:pt x="2517" y="339"/>
                    <a:pt x="2567" y="332"/>
                    <a:pt x="2620" y="324"/>
                  </a:cubicBezTo>
                  <a:cubicBezTo>
                    <a:pt x="2962" y="275"/>
                    <a:pt x="3389" y="213"/>
                    <a:pt x="3705" y="351"/>
                  </a:cubicBezTo>
                  <a:cubicBezTo>
                    <a:pt x="3717" y="357"/>
                    <a:pt x="3729" y="362"/>
                    <a:pt x="3741" y="368"/>
                  </a:cubicBezTo>
                  <a:cubicBezTo>
                    <a:pt x="3747" y="367"/>
                    <a:pt x="3747" y="367"/>
                    <a:pt x="3747" y="367"/>
                  </a:cubicBezTo>
                  <a:cubicBezTo>
                    <a:pt x="3734" y="361"/>
                    <a:pt x="3720" y="354"/>
                    <a:pt x="3707" y="348"/>
                  </a:cubicBezTo>
                  <a:close/>
                </a:path>
              </a:pathLst>
            </a:custGeom>
            <a:solidFill>
              <a:srgbClr val="D3D4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3" name="Freeform 42"/>
            <p:cNvSpPr>
              <a:spLocks/>
            </p:cNvSpPr>
            <p:nvPr userDrawn="1"/>
          </p:nvSpPr>
          <p:spPr bwMode="auto">
            <a:xfrm>
              <a:off x="-792" y="4433471"/>
              <a:ext cx="6110654" cy="780868"/>
            </a:xfrm>
            <a:custGeom>
              <a:avLst/>
              <a:gdLst>
                <a:gd name="T0" fmla="*/ 3801 w 4007"/>
                <a:gd name="T1" fmla="*/ 317 h 512"/>
                <a:gd name="T2" fmla="*/ 2697 w 4007"/>
                <a:gd name="T3" fmla="*/ 307 h 512"/>
                <a:gd name="T4" fmla="*/ 2542 w 4007"/>
                <a:gd name="T5" fmla="*/ 332 h 512"/>
                <a:gd name="T6" fmla="*/ 2277 w 4007"/>
                <a:gd name="T7" fmla="*/ 376 h 512"/>
                <a:gd name="T8" fmla="*/ 1141 w 4007"/>
                <a:gd name="T9" fmla="*/ 450 h 512"/>
                <a:gd name="T10" fmla="*/ 383 w 4007"/>
                <a:gd name="T11" fmla="*/ 172 h 512"/>
                <a:gd name="T12" fmla="*/ 113 w 4007"/>
                <a:gd name="T13" fmla="*/ 48 h 512"/>
                <a:gd name="T14" fmla="*/ 0 w 4007"/>
                <a:gd name="T15" fmla="*/ 0 h 512"/>
                <a:gd name="T16" fmla="*/ 0 w 4007"/>
                <a:gd name="T17" fmla="*/ 4 h 512"/>
                <a:gd name="T18" fmla="*/ 112 w 4007"/>
                <a:gd name="T19" fmla="*/ 52 h 512"/>
                <a:gd name="T20" fmla="*/ 381 w 4007"/>
                <a:gd name="T21" fmla="*/ 176 h 512"/>
                <a:gd name="T22" fmla="*/ 1140 w 4007"/>
                <a:gd name="T23" fmla="*/ 454 h 512"/>
                <a:gd name="T24" fmla="*/ 2277 w 4007"/>
                <a:gd name="T25" fmla="*/ 380 h 512"/>
                <a:gd name="T26" fmla="*/ 2542 w 4007"/>
                <a:gd name="T27" fmla="*/ 336 h 512"/>
                <a:gd name="T28" fmla="*/ 2698 w 4007"/>
                <a:gd name="T29" fmla="*/ 311 h 512"/>
                <a:gd name="T30" fmla="*/ 3799 w 4007"/>
                <a:gd name="T31" fmla="*/ 321 h 512"/>
                <a:gd name="T32" fmla="*/ 4002 w 4007"/>
                <a:gd name="T33" fmla="*/ 453 h 512"/>
                <a:gd name="T34" fmla="*/ 4007 w 4007"/>
                <a:gd name="T35" fmla="*/ 453 h 512"/>
                <a:gd name="T36" fmla="*/ 3801 w 4007"/>
                <a:gd name="T37" fmla="*/ 317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07" h="512">
                  <a:moveTo>
                    <a:pt x="3801" y="317"/>
                  </a:moveTo>
                  <a:cubicBezTo>
                    <a:pt x="3480" y="176"/>
                    <a:pt x="3046" y="249"/>
                    <a:pt x="2697" y="307"/>
                  </a:cubicBezTo>
                  <a:cubicBezTo>
                    <a:pt x="2643" y="316"/>
                    <a:pt x="2591" y="325"/>
                    <a:pt x="2542" y="332"/>
                  </a:cubicBezTo>
                  <a:cubicBezTo>
                    <a:pt x="2455" y="346"/>
                    <a:pt x="2364" y="361"/>
                    <a:pt x="2277" y="376"/>
                  </a:cubicBezTo>
                  <a:cubicBezTo>
                    <a:pt x="1901" y="441"/>
                    <a:pt x="1512" y="508"/>
                    <a:pt x="1141" y="450"/>
                  </a:cubicBezTo>
                  <a:cubicBezTo>
                    <a:pt x="885" y="410"/>
                    <a:pt x="630" y="289"/>
                    <a:pt x="383" y="172"/>
                  </a:cubicBezTo>
                  <a:cubicBezTo>
                    <a:pt x="289" y="128"/>
                    <a:pt x="201" y="86"/>
                    <a:pt x="113" y="4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12" y="52"/>
                    <a:pt x="112" y="52"/>
                    <a:pt x="112" y="52"/>
                  </a:cubicBezTo>
                  <a:cubicBezTo>
                    <a:pt x="200" y="89"/>
                    <a:pt x="288" y="131"/>
                    <a:pt x="381" y="176"/>
                  </a:cubicBezTo>
                  <a:cubicBezTo>
                    <a:pt x="628" y="293"/>
                    <a:pt x="884" y="414"/>
                    <a:pt x="1140" y="454"/>
                  </a:cubicBezTo>
                  <a:cubicBezTo>
                    <a:pt x="1512" y="512"/>
                    <a:pt x="1901" y="445"/>
                    <a:pt x="2277" y="380"/>
                  </a:cubicBezTo>
                  <a:cubicBezTo>
                    <a:pt x="2365" y="365"/>
                    <a:pt x="2455" y="350"/>
                    <a:pt x="2542" y="336"/>
                  </a:cubicBezTo>
                  <a:cubicBezTo>
                    <a:pt x="2592" y="329"/>
                    <a:pt x="2643" y="320"/>
                    <a:pt x="2698" y="311"/>
                  </a:cubicBezTo>
                  <a:cubicBezTo>
                    <a:pt x="3046" y="253"/>
                    <a:pt x="3479" y="180"/>
                    <a:pt x="3799" y="321"/>
                  </a:cubicBezTo>
                  <a:cubicBezTo>
                    <a:pt x="3877" y="355"/>
                    <a:pt x="3944" y="400"/>
                    <a:pt x="4002" y="453"/>
                  </a:cubicBezTo>
                  <a:cubicBezTo>
                    <a:pt x="4007" y="453"/>
                    <a:pt x="4007" y="453"/>
                    <a:pt x="4007" y="453"/>
                  </a:cubicBezTo>
                  <a:cubicBezTo>
                    <a:pt x="3945" y="396"/>
                    <a:pt x="3877" y="351"/>
                    <a:pt x="3801" y="317"/>
                  </a:cubicBezTo>
                  <a:close/>
                </a:path>
              </a:pathLst>
            </a:custGeom>
            <a:solidFill>
              <a:srgbClr val="D2D4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4" name="Freeform 43"/>
            <p:cNvSpPr>
              <a:spLocks/>
            </p:cNvSpPr>
            <p:nvPr userDrawn="1"/>
          </p:nvSpPr>
          <p:spPr bwMode="auto">
            <a:xfrm>
              <a:off x="-792" y="4233043"/>
              <a:ext cx="6388046" cy="841798"/>
            </a:xfrm>
            <a:custGeom>
              <a:avLst/>
              <a:gdLst>
                <a:gd name="T0" fmla="*/ 3883 w 4189"/>
                <a:gd name="T1" fmla="*/ 299 h 552"/>
                <a:gd name="T2" fmla="*/ 2764 w 4189"/>
                <a:gd name="T3" fmla="*/ 302 h 552"/>
                <a:gd name="T4" fmla="*/ 2609 w 4189"/>
                <a:gd name="T5" fmla="*/ 330 h 552"/>
                <a:gd name="T6" fmla="*/ 2337 w 4189"/>
                <a:gd name="T7" fmla="*/ 380 h 552"/>
                <a:gd name="T8" fmla="*/ 1188 w 4189"/>
                <a:gd name="T9" fmla="*/ 471 h 552"/>
                <a:gd name="T10" fmla="*/ 431 w 4189"/>
                <a:gd name="T11" fmla="*/ 193 h 552"/>
                <a:gd name="T12" fmla="*/ 160 w 4189"/>
                <a:gd name="T13" fmla="*/ 68 h 552"/>
                <a:gd name="T14" fmla="*/ 0 w 4189"/>
                <a:gd name="T15" fmla="*/ 0 h 552"/>
                <a:gd name="T16" fmla="*/ 0 w 4189"/>
                <a:gd name="T17" fmla="*/ 4 h 552"/>
                <a:gd name="T18" fmla="*/ 159 w 4189"/>
                <a:gd name="T19" fmla="*/ 72 h 552"/>
                <a:gd name="T20" fmla="*/ 430 w 4189"/>
                <a:gd name="T21" fmla="*/ 197 h 552"/>
                <a:gd name="T22" fmla="*/ 1187 w 4189"/>
                <a:gd name="T23" fmla="*/ 475 h 552"/>
                <a:gd name="T24" fmla="*/ 2338 w 4189"/>
                <a:gd name="T25" fmla="*/ 384 h 552"/>
                <a:gd name="T26" fmla="*/ 2610 w 4189"/>
                <a:gd name="T27" fmla="*/ 334 h 552"/>
                <a:gd name="T28" fmla="*/ 2765 w 4189"/>
                <a:gd name="T29" fmla="*/ 306 h 552"/>
                <a:gd name="T30" fmla="*/ 3881 w 4189"/>
                <a:gd name="T31" fmla="*/ 303 h 552"/>
                <a:gd name="T32" fmla="*/ 4183 w 4189"/>
                <a:gd name="T33" fmla="*/ 552 h 552"/>
                <a:gd name="T34" fmla="*/ 4189 w 4189"/>
                <a:gd name="T35" fmla="*/ 551 h 552"/>
                <a:gd name="T36" fmla="*/ 3883 w 4189"/>
                <a:gd name="T37" fmla="*/ 299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189" h="552">
                  <a:moveTo>
                    <a:pt x="3883" y="299"/>
                  </a:moveTo>
                  <a:cubicBezTo>
                    <a:pt x="3557" y="156"/>
                    <a:pt x="3118" y="237"/>
                    <a:pt x="2764" y="302"/>
                  </a:cubicBezTo>
                  <a:cubicBezTo>
                    <a:pt x="2710" y="312"/>
                    <a:pt x="2659" y="322"/>
                    <a:pt x="2609" y="330"/>
                  </a:cubicBezTo>
                  <a:cubicBezTo>
                    <a:pt x="2520" y="345"/>
                    <a:pt x="2427" y="363"/>
                    <a:pt x="2337" y="380"/>
                  </a:cubicBezTo>
                  <a:cubicBezTo>
                    <a:pt x="1956" y="453"/>
                    <a:pt x="1563" y="528"/>
                    <a:pt x="1188" y="471"/>
                  </a:cubicBezTo>
                  <a:cubicBezTo>
                    <a:pt x="933" y="432"/>
                    <a:pt x="678" y="310"/>
                    <a:pt x="431" y="193"/>
                  </a:cubicBezTo>
                  <a:cubicBezTo>
                    <a:pt x="338" y="148"/>
                    <a:pt x="249" y="106"/>
                    <a:pt x="160" y="6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59" y="72"/>
                    <a:pt x="159" y="72"/>
                    <a:pt x="159" y="72"/>
                  </a:cubicBezTo>
                  <a:cubicBezTo>
                    <a:pt x="247" y="110"/>
                    <a:pt x="336" y="152"/>
                    <a:pt x="430" y="197"/>
                  </a:cubicBezTo>
                  <a:cubicBezTo>
                    <a:pt x="676" y="314"/>
                    <a:pt x="932" y="436"/>
                    <a:pt x="1187" y="475"/>
                  </a:cubicBezTo>
                  <a:cubicBezTo>
                    <a:pt x="1563" y="532"/>
                    <a:pt x="1957" y="457"/>
                    <a:pt x="2338" y="384"/>
                  </a:cubicBezTo>
                  <a:cubicBezTo>
                    <a:pt x="2428" y="367"/>
                    <a:pt x="2521" y="350"/>
                    <a:pt x="2610" y="334"/>
                  </a:cubicBezTo>
                  <a:cubicBezTo>
                    <a:pt x="2660" y="326"/>
                    <a:pt x="2711" y="316"/>
                    <a:pt x="2765" y="306"/>
                  </a:cubicBezTo>
                  <a:cubicBezTo>
                    <a:pt x="3118" y="241"/>
                    <a:pt x="3556" y="161"/>
                    <a:pt x="3881" y="303"/>
                  </a:cubicBezTo>
                  <a:cubicBezTo>
                    <a:pt x="4012" y="360"/>
                    <a:pt x="4108" y="447"/>
                    <a:pt x="4183" y="552"/>
                  </a:cubicBezTo>
                  <a:cubicBezTo>
                    <a:pt x="4189" y="551"/>
                    <a:pt x="4189" y="551"/>
                    <a:pt x="4189" y="551"/>
                  </a:cubicBezTo>
                  <a:cubicBezTo>
                    <a:pt x="4106" y="436"/>
                    <a:pt x="4005" y="353"/>
                    <a:pt x="3883" y="299"/>
                  </a:cubicBezTo>
                  <a:close/>
                </a:path>
              </a:pathLst>
            </a:custGeom>
            <a:solidFill>
              <a:srgbClr val="D2D3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5" name="Freeform 44"/>
            <p:cNvSpPr>
              <a:spLocks/>
            </p:cNvSpPr>
            <p:nvPr userDrawn="1"/>
          </p:nvSpPr>
          <p:spPr bwMode="auto">
            <a:xfrm>
              <a:off x="-792" y="4032615"/>
              <a:ext cx="6590077" cy="1006952"/>
            </a:xfrm>
            <a:custGeom>
              <a:avLst/>
              <a:gdLst>
                <a:gd name="T0" fmla="*/ 3951 w 4322"/>
                <a:gd name="T1" fmla="*/ 296 h 660"/>
                <a:gd name="T2" fmla="*/ 2820 w 4322"/>
                <a:gd name="T3" fmla="*/ 308 h 660"/>
                <a:gd name="T4" fmla="*/ 2669 w 4322"/>
                <a:gd name="T5" fmla="*/ 336 h 660"/>
                <a:gd name="T6" fmla="*/ 2391 w 4322"/>
                <a:gd name="T7" fmla="*/ 391 h 660"/>
                <a:gd name="T8" fmla="*/ 1234 w 4322"/>
                <a:gd name="T9" fmla="*/ 493 h 660"/>
                <a:gd name="T10" fmla="*/ 482 w 4322"/>
                <a:gd name="T11" fmla="*/ 214 h 660"/>
                <a:gd name="T12" fmla="*/ 208 w 4322"/>
                <a:gd name="T13" fmla="*/ 88 h 660"/>
                <a:gd name="T14" fmla="*/ 0 w 4322"/>
                <a:gd name="T15" fmla="*/ 0 h 660"/>
                <a:gd name="T16" fmla="*/ 0 w 4322"/>
                <a:gd name="T17" fmla="*/ 4 h 660"/>
                <a:gd name="T18" fmla="*/ 206 w 4322"/>
                <a:gd name="T19" fmla="*/ 92 h 660"/>
                <a:gd name="T20" fmla="*/ 480 w 4322"/>
                <a:gd name="T21" fmla="*/ 218 h 660"/>
                <a:gd name="T22" fmla="*/ 1233 w 4322"/>
                <a:gd name="T23" fmla="*/ 497 h 660"/>
                <a:gd name="T24" fmla="*/ 2392 w 4322"/>
                <a:gd name="T25" fmla="*/ 396 h 660"/>
                <a:gd name="T26" fmla="*/ 2670 w 4322"/>
                <a:gd name="T27" fmla="*/ 341 h 660"/>
                <a:gd name="T28" fmla="*/ 2821 w 4322"/>
                <a:gd name="T29" fmla="*/ 312 h 660"/>
                <a:gd name="T30" fmla="*/ 3949 w 4322"/>
                <a:gd name="T31" fmla="*/ 300 h 660"/>
                <a:gd name="T32" fmla="*/ 4317 w 4322"/>
                <a:gd name="T33" fmla="*/ 660 h 660"/>
                <a:gd name="T34" fmla="*/ 4322 w 4322"/>
                <a:gd name="T35" fmla="*/ 659 h 660"/>
                <a:gd name="T36" fmla="*/ 3951 w 4322"/>
                <a:gd name="T37" fmla="*/ 296 h 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322" h="660">
                  <a:moveTo>
                    <a:pt x="3951" y="296"/>
                  </a:moveTo>
                  <a:cubicBezTo>
                    <a:pt x="3619" y="151"/>
                    <a:pt x="3176" y="238"/>
                    <a:pt x="2820" y="308"/>
                  </a:cubicBezTo>
                  <a:cubicBezTo>
                    <a:pt x="2767" y="318"/>
                    <a:pt x="2718" y="328"/>
                    <a:pt x="2669" y="336"/>
                  </a:cubicBezTo>
                  <a:cubicBezTo>
                    <a:pt x="2578" y="353"/>
                    <a:pt x="2487" y="372"/>
                    <a:pt x="2391" y="391"/>
                  </a:cubicBezTo>
                  <a:cubicBezTo>
                    <a:pt x="2008" y="470"/>
                    <a:pt x="1611" y="552"/>
                    <a:pt x="1234" y="493"/>
                  </a:cubicBezTo>
                  <a:cubicBezTo>
                    <a:pt x="981" y="453"/>
                    <a:pt x="727" y="332"/>
                    <a:pt x="482" y="214"/>
                  </a:cubicBezTo>
                  <a:cubicBezTo>
                    <a:pt x="387" y="169"/>
                    <a:pt x="297" y="126"/>
                    <a:pt x="208" y="8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06" y="92"/>
                    <a:pt x="206" y="92"/>
                    <a:pt x="206" y="92"/>
                  </a:cubicBezTo>
                  <a:cubicBezTo>
                    <a:pt x="295" y="130"/>
                    <a:pt x="385" y="173"/>
                    <a:pt x="480" y="218"/>
                  </a:cubicBezTo>
                  <a:cubicBezTo>
                    <a:pt x="725" y="336"/>
                    <a:pt x="979" y="457"/>
                    <a:pt x="1233" y="497"/>
                  </a:cubicBezTo>
                  <a:cubicBezTo>
                    <a:pt x="1611" y="556"/>
                    <a:pt x="2008" y="475"/>
                    <a:pt x="2392" y="396"/>
                  </a:cubicBezTo>
                  <a:cubicBezTo>
                    <a:pt x="2488" y="376"/>
                    <a:pt x="2579" y="357"/>
                    <a:pt x="2670" y="341"/>
                  </a:cubicBezTo>
                  <a:cubicBezTo>
                    <a:pt x="2718" y="332"/>
                    <a:pt x="2768" y="322"/>
                    <a:pt x="2821" y="312"/>
                  </a:cubicBezTo>
                  <a:cubicBezTo>
                    <a:pt x="3176" y="242"/>
                    <a:pt x="3618" y="156"/>
                    <a:pt x="3949" y="300"/>
                  </a:cubicBezTo>
                  <a:cubicBezTo>
                    <a:pt x="4124" y="377"/>
                    <a:pt x="4237" y="505"/>
                    <a:pt x="4317" y="660"/>
                  </a:cubicBezTo>
                  <a:cubicBezTo>
                    <a:pt x="4322" y="659"/>
                    <a:pt x="4322" y="659"/>
                    <a:pt x="4322" y="659"/>
                  </a:cubicBezTo>
                  <a:cubicBezTo>
                    <a:pt x="4232" y="485"/>
                    <a:pt x="4111" y="366"/>
                    <a:pt x="3951" y="296"/>
                  </a:cubicBezTo>
                  <a:close/>
                </a:path>
              </a:pathLst>
            </a:custGeom>
            <a:solidFill>
              <a:srgbClr val="D1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6" name="Freeform 45"/>
            <p:cNvSpPr>
              <a:spLocks/>
            </p:cNvSpPr>
            <p:nvPr userDrawn="1"/>
          </p:nvSpPr>
          <p:spPr bwMode="auto">
            <a:xfrm>
              <a:off x="-792" y="3832187"/>
              <a:ext cx="6752023" cy="1178518"/>
            </a:xfrm>
            <a:custGeom>
              <a:avLst/>
              <a:gdLst>
                <a:gd name="T0" fmla="*/ 4389 w 4428"/>
                <a:gd name="T1" fmla="*/ 681 h 773"/>
                <a:gd name="T2" fmla="*/ 4010 w 4428"/>
                <a:gd name="T3" fmla="*/ 297 h 773"/>
                <a:gd name="T4" fmla="*/ 2870 w 4428"/>
                <a:gd name="T5" fmla="*/ 316 h 773"/>
                <a:gd name="T6" fmla="*/ 2723 w 4428"/>
                <a:gd name="T7" fmla="*/ 346 h 773"/>
                <a:gd name="T8" fmla="*/ 2443 w 4428"/>
                <a:gd name="T9" fmla="*/ 405 h 773"/>
                <a:gd name="T10" fmla="*/ 1280 w 4428"/>
                <a:gd name="T11" fmla="*/ 515 h 773"/>
                <a:gd name="T12" fmla="*/ 531 w 4428"/>
                <a:gd name="T13" fmla="*/ 237 h 773"/>
                <a:gd name="T14" fmla="*/ 255 w 4428"/>
                <a:gd name="T15" fmla="*/ 109 h 773"/>
                <a:gd name="T16" fmla="*/ 0 w 4428"/>
                <a:gd name="T17" fmla="*/ 0 h 773"/>
                <a:gd name="T18" fmla="*/ 0 w 4428"/>
                <a:gd name="T19" fmla="*/ 5 h 773"/>
                <a:gd name="T20" fmla="*/ 253 w 4428"/>
                <a:gd name="T21" fmla="*/ 113 h 773"/>
                <a:gd name="T22" fmla="*/ 529 w 4428"/>
                <a:gd name="T23" fmla="*/ 241 h 773"/>
                <a:gd name="T24" fmla="*/ 1279 w 4428"/>
                <a:gd name="T25" fmla="*/ 519 h 773"/>
                <a:gd name="T26" fmla="*/ 2444 w 4428"/>
                <a:gd name="T27" fmla="*/ 409 h 773"/>
                <a:gd name="T28" fmla="*/ 2724 w 4428"/>
                <a:gd name="T29" fmla="*/ 350 h 773"/>
                <a:gd name="T30" fmla="*/ 2871 w 4428"/>
                <a:gd name="T31" fmla="*/ 320 h 773"/>
                <a:gd name="T32" fmla="*/ 4008 w 4428"/>
                <a:gd name="T33" fmla="*/ 301 h 773"/>
                <a:gd name="T34" fmla="*/ 4423 w 4428"/>
                <a:gd name="T35" fmla="*/ 773 h 773"/>
                <a:gd name="T36" fmla="*/ 4428 w 4428"/>
                <a:gd name="T37" fmla="*/ 772 h 773"/>
                <a:gd name="T38" fmla="*/ 4389 w 4428"/>
                <a:gd name="T39" fmla="*/ 681 h 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428" h="773">
                  <a:moveTo>
                    <a:pt x="4389" y="681"/>
                  </a:moveTo>
                  <a:cubicBezTo>
                    <a:pt x="4301" y="495"/>
                    <a:pt x="4177" y="370"/>
                    <a:pt x="4010" y="297"/>
                  </a:cubicBezTo>
                  <a:cubicBezTo>
                    <a:pt x="3673" y="150"/>
                    <a:pt x="3228" y="242"/>
                    <a:pt x="2870" y="316"/>
                  </a:cubicBezTo>
                  <a:cubicBezTo>
                    <a:pt x="2819" y="326"/>
                    <a:pt x="2770" y="336"/>
                    <a:pt x="2723" y="346"/>
                  </a:cubicBezTo>
                  <a:cubicBezTo>
                    <a:pt x="2631" y="363"/>
                    <a:pt x="2540" y="383"/>
                    <a:pt x="2443" y="405"/>
                  </a:cubicBezTo>
                  <a:cubicBezTo>
                    <a:pt x="2057" y="489"/>
                    <a:pt x="1658" y="576"/>
                    <a:pt x="1280" y="515"/>
                  </a:cubicBezTo>
                  <a:cubicBezTo>
                    <a:pt x="1028" y="475"/>
                    <a:pt x="776" y="354"/>
                    <a:pt x="531" y="237"/>
                  </a:cubicBezTo>
                  <a:cubicBezTo>
                    <a:pt x="436" y="191"/>
                    <a:pt x="345" y="148"/>
                    <a:pt x="255" y="10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253" y="113"/>
                    <a:pt x="253" y="113"/>
                    <a:pt x="253" y="113"/>
                  </a:cubicBezTo>
                  <a:cubicBezTo>
                    <a:pt x="343" y="152"/>
                    <a:pt x="434" y="195"/>
                    <a:pt x="529" y="241"/>
                  </a:cubicBezTo>
                  <a:cubicBezTo>
                    <a:pt x="774" y="358"/>
                    <a:pt x="1027" y="479"/>
                    <a:pt x="1279" y="519"/>
                  </a:cubicBezTo>
                  <a:cubicBezTo>
                    <a:pt x="1658" y="580"/>
                    <a:pt x="2057" y="493"/>
                    <a:pt x="2444" y="409"/>
                  </a:cubicBezTo>
                  <a:cubicBezTo>
                    <a:pt x="2541" y="388"/>
                    <a:pt x="2632" y="368"/>
                    <a:pt x="2724" y="350"/>
                  </a:cubicBezTo>
                  <a:cubicBezTo>
                    <a:pt x="2771" y="341"/>
                    <a:pt x="2820" y="331"/>
                    <a:pt x="2871" y="320"/>
                  </a:cubicBezTo>
                  <a:cubicBezTo>
                    <a:pt x="3228" y="247"/>
                    <a:pt x="3672" y="155"/>
                    <a:pt x="4008" y="301"/>
                  </a:cubicBezTo>
                  <a:cubicBezTo>
                    <a:pt x="4224" y="396"/>
                    <a:pt x="4344" y="569"/>
                    <a:pt x="4423" y="773"/>
                  </a:cubicBezTo>
                  <a:cubicBezTo>
                    <a:pt x="4428" y="772"/>
                    <a:pt x="4428" y="772"/>
                    <a:pt x="4428" y="772"/>
                  </a:cubicBezTo>
                  <a:cubicBezTo>
                    <a:pt x="4416" y="741"/>
                    <a:pt x="4403" y="710"/>
                    <a:pt x="4389" y="681"/>
                  </a:cubicBezTo>
                  <a:close/>
                </a:path>
              </a:pathLst>
            </a:custGeom>
            <a:solidFill>
              <a:srgbClr val="D1D2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7" name="Freeform 46"/>
            <p:cNvSpPr>
              <a:spLocks/>
            </p:cNvSpPr>
            <p:nvPr userDrawn="1"/>
          </p:nvSpPr>
          <p:spPr bwMode="auto">
            <a:xfrm>
              <a:off x="-792" y="3631758"/>
              <a:ext cx="6878694" cy="1356498"/>
            </a:xfrm>
            <a:custGeom>
              <a:avLst/>
              <a:gdLst>
                <a:gd name="T0" fmla="*/ 4069 w 4511"/>
                <a:gd name="T1" fmla="*/ 269 h 889"/>
                <a:gd name="T2" fmla="*/ 2931 w 4511"/>
                <a:gd name="T3" fmla="*/ 304 h 889"/>
                <a:gd name="T4" fmla="*/ 2777 w 4511"/>
                <a:gd name="T5" fmla="*/ 338 h 889"/>
                <a:gd name="T6" fmla="*/ 2497 w 4511"/>
                <a:gd name="T7" fmla="*/ 401 h 889"/>
                <a:gd name="T8" fmla="*/ 1330 w 4511"/>
                <a:gd name="T9" fmla="*/ 532 h 889"/>
                <a:gd name="T10" fmla="*/ 574 w 4511"/>
                <a:gd name="T11" fmla="*/ 255 h 889"/>
                <a:gd name="T12" fmla="*/ 303 w 4511"/>
                <a:gd name="T13" fmla="*/ 129 h 889"/>
                <a:gd name="T14" fmla="*/ 0 w 4511"/>
                <a:gd name="T15" fmla="*/ 0 h 889"/>
                <a:gd name="T16" fmla="*/ 0 w 4511"/>
                <a:gd name="T17" fmla="*/ 5 h 889"/>
                <a:gd name="T18" fmla="*/ 301 w 4511"/>
                <a:gd name="T19" fmla="*/ 134 h 889"/>
                <a:gd name="T20" fmla="*/ 572 w 4511"/>
                <a:gd name="T21" fmla="*/ 259 h 889"/>
                <a:gd name="T22" fmla="*/ 1330 w 4511"/>
                <a:gd name="T23" fmla="*/ 536 h 889"/>
                <a:gd name="T24" fmla="*/ 2498 w 4511"/>
                <a:gd name="T25" fmla="*/ 406 h 889"/>
                <a:gd name="T26" fmla="*/ 2778 w 4511"/>
                <a:gd name="T27" fmla="*/ 343 h 889"/>
                <a:gd name="T28" fmla="*/ 2932 w 4511"/>
                <a:gd name="T29" fmla="*/ 309 h 889"/>
                <a:gd name="T30" fmla="*/ 4067 w 4511"/>
                <a:gd name="T31" fmla="*/ 273 h 889"/>
                <a:gd name="T32" fmla="*/ 4507 w 4511"/>
                <a:gd name="T33" fmla="*/ 889 h 889"/>
                <a:gd name="T34" fmla="*/ 4511 w 4511"/>
                <a:gd name="T35" fmla="*/ 889 h 889"/>
                <a:gd name="T36" fmla="*/ 4069 w 4511"/>
                <a:gd name="T37" fmla="*/ 269 h 8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511" h="889">
                  <a:moveTo>
                    <a:pt x="4069" y="269"/>
                  </a:moveTo>
                  <a:cubicBezTo>
                    <a:pt x="3738" y="123"/>
                    <a:pt x="3290" y="224"/>
                    <a:pt x="2931" y="304"/>
                  </a:cubicBezTo>
                  <a:cubicBezTo>
                    <a:pt x="2877" y="316"/>
                    <a:pt x="2826" y="328"/>
                    <a:pt x="2777" y="338"/>
                  </a:cubicBezTo>
                  <a:cubicBezTo>
                    <a:pt x="2686" y="357"/>
                    <a:pt x="2594" y="379"/>
                    <a:pt x="2497" y="401"/>
                  </a:cubicBezTo>
                  <a:cubicBezTo>
                    <a:pt x="2111" y="492"/>
                    <a:pt x="1711" y="585"/>
                    <a:pt x="1330" y="532"/>
                  </a:cubicBezTo>
                  <a:cubicBezTo>
                    <a:pt x="1076" y="496"/>
                    <a:pt x="821" y="373"/>
                    <a:pt x="574" y="255"/>
                  </a:cubicBezTo>
                  <a:cubicBezTo>
                    <a:pt x="480" y="210"/>
                    <a:pt x="391" y="167"/>
                    <a:pt x="303" y="12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301" y="134"/>
                    <a:pt x="301" y="134"/>
                    <a:pt x="301" y="134"/>
                  </a:cubicBezTo>
                  <a:cubicBezTo>
                    <a:pt x="389" y="171"/>
                    <a:pt x="478" y="214"/>
                    <a:pt x="572" y="259"/>
                  </a:cubicBezTo>
                  <a:cubicBezTo>
                    <a:pt x="819" y="378"/>
                    <a:pt x="1075" y="500"/>
                    <a:pt x="1330" y="536"/>
                  </a:cubicBezTo>
                  <a:cubicBezTo>
                    <a:pt x="1712" y="590"/>
                    <a:pt x="2112" y="496"/>
                    <a:pt x="2498" y="406"/>
                  </a:cubicBezTo>
                  <a:cubicBezTo>
                    <a:pt x="2595" y="383"/>
                    <a:pt x="2687" y="362"/>
                    <a:pt x="2778" y="343"/>
                  </a:cubicBezTo>
                  <a:cubicBezTo>
                    <a:pt x="2827" y="332"/>
                    <a:pt x="2878" y="321"/>
                    <a:pt x="2932" y="309"/>
                  </a:cubicBezTo>
                  <a:cubicBezTo>
                    <a:pt x="3291" y="228"/>
                    <a:pt x="3737" y="128"/>
                    <a:pt x="4067" y="273"/>
                  </a:cubicBezTo>
                  <a:cubicBezTo>
                    <a:pt x="4312" y="380"/>
                    <a:pt x="4429" y="634"/>
                    <a:pt x="4507" y="889"/>
                  </a:cubicBezTo>
                  <a:cubicBezTo>
                    <a:pt x="4511" y="889"/>
                    <a:pt x="4511" y="889"/>
                    <a:pt x="4511" y="889"/>
                  </a:cubicBezTo>
                  <a:cubicBezTo>
                    <a:pt x="4433" y="632"/>
                    <a:pt x="4316" y="377"/>
                    <a:pt x="4069" y="269"/>
                  </a:cubicBez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8" name="Freeform 47"/>
            <p:cNvSpPr>
              <a:spLocks/>
            </p:cNvSpPr>
            <p:nvPr userDrawn="1"/>
          </p:nvSpPr>
          <p:spPr bwMode="auto">
            <a:xfrm>
              <a:off x="-792" y="3431331"/>
              <a:ext cx="6998951" cy="1537685"/>
            </a:xfrm>
            <a:custGeom>
              <a:avLst/>
              <a:gdLst>
                <a:gd name="T0" fmla="*/ 4455 w 4590"/>
                <a:gd name="T1" fmla="*/ 619 h 1007"/>
                <a:gd name="T2" fmla="*/ 4114 w 4590"/>
                <a:gd name="T3" fmla="*/ 255 h 1007"/>
                <a:gd name="T4" fmla="*/ 2978 w 4590"/>
                <a:gd name="T5" fmla="*/ 303 h 1007"/>
                <a:gd name="T6" fmla="*/ 2822 w 4590"/>
                <a:gd name="T7" fmla="*/ 339 h 1007"/>
                <a:gd name="T8" fmla="*/ 2545 w 4590"/>
                <a:gd name="T9" fmla="*/ 405 h 1007"/>
                <a:gd name="T10" fmla="*/ 1379 w 4590"/>
                <a:gd name="T11" fmla="*/ 549 h 1007"/>
                <a:gd name="T12" fmla="*/ 619 w 4590"/>
                <a:gd name="T13" fmla="*/ 274 h 1007"/>
                <a:gd name="T14" fmla="*/ 350 w 4590"/>
                <a:gd name="T15" fmla="*/ 150 h 1007"/>
                <a:gd name="T16" fmla="*/ 0 w 4590"/>
                <a:gd name="T17" fmla="*/ 0 h 1007"/>
                <a:gd name="T18" fmla="*/ 0 w 4590"/>
                <a:gd name="T19" fmla="*/ 5 h 1007"/>
                <a:gd name="T20" fmla="*/ 348 w 4590"/>
                <a:gd name="T21" fmla="*/ 154 h 1007"/>
                <a:gd name="T22" fmla="*/ 617 w 4590"/>
                <a:gd name="T23" fmla="*/ 278 h 1007"/>
                <a:gd name="T24" fmla="*/ 1379 w 4590"/>
                <a:gd name="T25" fmla="*/ 554 h 1007"/>
                <a:gd name="T26" fmla="*/ 2546 w 4590"/>
                <a:gd name="T27" fmla="*/ 410 h 1007"/>
                <a:gd name="T28" fmla="*/ 2823 w 4590"/>
                <a:gd name="T29" fmla="*/ 344 h 1007"/>
                <a:gd name="T30" fmla="*/ 2979 w 4590"/>
                <a:gd name="T31" fmla="*/ 307 h 1007"/>
                <a:gd name="T32" fmla="*/ 4112 w 4590"/>
                <a:gd name="T33" fmla="*/ 259 h 1007"/>
                <a:gd name="T34" fmla="*/ 4585 w 4590"/>
                <a:gd name="T35" fmla="*/ 1007 h 1007"/>
                <a:gd name="T36" fmla="*/ 4590 w 4590"/>
                <a:gd name="T37" fmla="*/ 1006 h 1007"/>
                <a:gd name="T38" fmla="*/ 4455 w 4590"/>
                <a:gd name="T39" fmla="*/ 619 h 10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590" h="1007">
                  <a:moveTo>
                    <a:pt x="4455" y="619"/>
                  </a:moveTo>
                  <a:cubicBezTo>
                    <a:pt x="4367" y="436"/>
                    <a:pt x="4255" y="317"/>
                    <a:pt x="4114" y="255"/>
                  </a:cubicBezTo>
                  <a:cubicBezTo>
                    <a:pt x="3785" y="110"/>
                    <a:pt x="3337" y="217"/>
                    <a:pt x="2978" y="303"/>
                  </a:cubicBezTo>
                  <a:cubicBezTo>
                    <a:pt x="2923" y="316"/>
                    <a:pt x="2872" y="328"/>
                    <a:pt x="2822" y="339"/>
                  </a:cubicBezTo>
                  <a:cubicBezTo>
                    <a:pt x="2731" y="359"/>
                    <a:pt x="2641" y="381"/>
                    <a:pt x="2545" y="405"/>
                  </a:cubicBezTo>
                  <a:cubicBezTo>
                    <a:pt x="2160" y="500"/>
                    <a:pt x="1761" y="598"/>
                    <a:pt x="1379" y="549"/>
                  </a:cubicBezTo>
                  <a:cubicBezTo>
                    <a:pt x="1124" y="517"/>
                    <a:pt x="867" y="393"/>
                    <a:pt x="619" y="274"/>
                  </a:cubicBezTo>
                  <a:cubicBezTo>
                    <a:pt x="525" y="229"/>
                    <a:pt x="437" y="187"/>
                    <a:pt x="350" y="15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348" y="154"/>
                    <a:pt x="348" y="154"/>
                    <a:pt x="348" y="154"/>
                  </a:cubicBezTo>
                  <a:cubicBezTo>
                    <a:pt x="435" y="191"/>
                    <a:pt x="523" y="234"/>
                    <a:pt x="617" y="278"/>
                  </a:cubicBezTo>
                  <a:cubicBezTo>
                    <a:pt x="865" y="398"/>
                    <a:pt x="1123" y="521"/>
                    <a:pt x="1379" y="554"/>
                  </a:cubicBezTo>
                  <a:cubicBezTo>
                    <a:pt x="1762" y="603"/>
                    <a:pt x="2160" y="505"/>
                    <a:pt x="2546" y="410"/>
                  </a:cubicBezTo>
                  <a:cubicBezTo>
                    <a:pt x="2642" y="386"/>
                    <a:pt x="2732" y="364"/>
                    <a:pt x="2823" y="344"/>
                  </a:cubicBezTo>
                  <a:cubicBezTo>
                    <a:pt x="2873" y="333"/>
                    <a:pt x="2924" y="320"/>
                    <a:pt x="2979" y="307"/>
                  </a:cubicBezTo>
                  <a:cubicBezTo>
                    <a:pt x="3338" y="222"/>
                    <a:pt x="3784" y="115"/>
                    <a:pt x="4112" y="259"/>
                  </a:cubicBezTo>
                  <a:cubicBezTo>
                    <a:pt x="4394" y="383"/>
                    <a:pt x="4506" y="711"/>
                    <a:pt x="4585" y="1007"/>
                  </a:cubicBezTo>
                  <a:cubicBezTo>
                    <a:pt x="4590" y="1006"/>
                    <a:pt x="4590" y="1006"/>
                    <a:pt x="4590" y="1006"/>
                  </a:cubicBezTo>
                  <a:cubicBezTo>
                    <a:pt x="4555" y="878"/>
                    <a:pt x="4514" y="742"/>
                    <a:pt x="4455" y="619"/>
                  </a:cubicBezTo>
                  <a:close/>
                </a:path>
              </a:pathLst>
            </a:custGeom>
            <a:solidFill>
              <a:srgbClr val="D0D1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9" name="Freeform 48"/>
            <p:cNvSpPr>
              <a:spLocks/>
            </p:cNvSpPr>
            <p:nvPr userDrawn="1"/>
          </p:nvSpPr>
          <p:spPr bwMode="auto">
            <a:xfrm>
              <a:off x="-792" y="3232506"/>
              <a:ext cx="7101570" cy="1717269"/>
            </a:xfrm>
            <a:custGeom>
              <a:avLst/>
              <a:gdLst>
                <a:gd name="T0" fmla="*/ 4653 w 4657"/>
                <a:gd name="T1" fmla="*/ 1112 h 1126"/>
                <a:gd name="T2" fmla="*/ 4486 w 4657"/>
                <a:gd name="T3" fmla="*/ 618 h 1126"/>
                <a:gd name="T4" fmla="*/ 4144 w 4657"/>
                <a:gd name="T5" fmla="*/ 253 h 1126"/>
                <a:gd name="T6" fmla="*/ 3013 w 4657"/>
                <a:gd name="T7" fmla="*/ 309 h 1126"/>
                <a:gd name="T8" fmla="*/ 2860 w 4657"/>
                <a:gd name="T9" fmla="*/ 347 h 1126"/>
                <a:gd name="T10" fmla="*/ 2586 w 4657"/>
                <a:gd name="T11" fmla="*/ 415 h 1126"/>
                <a:gd name="T12" fmla="*/ 1427 w 4657"/>
                <a:gd name="T13" fmla="*/ 568 h 1126"/>
                <a:gd name="T14" fmla="*/ 665 w 4657"/>
                <a:gd name="T15" fmla="*/ 294 h 1126"/>
                <a:gd name="T16" fmla="*/ 397 w 4657"/>
                <a:gd name="T17" fmla="*/ 170 h 1126"/>
                <a:gd name="T18" fmla="*/ 0 w 4657"/>
                <a:gd name="T19" fmla="*/ 0 h 1126"/>
                <a:gd name="T20" fmla="*/ 0 w 4657"/>
                <a:gd name="T21" fmla="*/ 5 h 1126"/>
                <a:gd name="T22" fmla="*/ 395 w 4657"/>
                <a:gd name="T23" fmla="*/ 174 h 1126"/>
                <a:gd name="T24" fmla="*/ 663 w 4657"/>
                <a:gd name="T25" fmla="*/ 298 h 1126"/>
                <a:gd name="T26" fmla="*/ 1426 w 4657"/>
                <a:gd name="T27" fmla="*/ 573 h 1126"/>
                <a:gd name="T28" fmla="*/ 2587 w 4657"/>
                <a:gd name="T29" fmla="*/ 420 h 1126"/>
                <a:gd name="T30" fmla="*/ 2861 w 4657"/>
                <a:gd name="T31" fmla="*/ 352 h 1126"/>
                <a:gd name="T32" fmla="*/ 3014 w 4657"/>
                <a:gd name="T33" fmla="*/ 314 h 1126"/>
                <a:gd name="T34" fmla="*/ 4142 w 4657"/>
                <a:gd name="T35" fmla="*/ 258 h 1126"/>
                <a:gd name="T36" fmla="*/ 4648 w 4657"/>
                <a:gd name="T37" fmla="*/ 1114 h 1126"/>
                <a:gd name="T38" fmla="*/ 4652 w 4657"/>
                <a:gd name="T39" fmla="*/ 1126 h 1126"/>
                <a:gd name="T40" fmla="*/ 4657 w 4657"/>
                <a:gd name="T41" fmla="*/ 1125 h 1126"/>
                <a:gd name="T42" fmla="*/ 4653 w 4657"/>
                <a:gd name="T43" fmla="*/ 1112 h 1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657" h="1126">
                  <a:moveTo>
                    <a:pt x="4653" y="1112"/>
                  </a:moveTo>
                  <a:cubicBezTo>
                    <a:pt x="4611" y="955"/>
                    <a:pt x="4564" y="777"/>
                    <a:pt x="4486" y="618"/>
                  </a:cubicBezTo>
                  <a:cubicBezTo>
                    <a:pt x="4397" y="435"/>
                    <a:pt x="4285" y="315"/>
                    <a:pt x="4144" y="253"/>
                  </a:cubicBezTo>
                  <a:cubicBezTo>
                    <a:pt x="3817" y="109"/>
                    <a:pt x="3371" y="220"/>
                    <a:pt x="3013" y="309"/>
                  </a:cubicBezTo>
                  <a:cubicBezTo>
                    <a:pt x="2959" y="323"/>
                    <a:pt x="2908" y="335"/>
                    <a:pt x="2860" y="347"/>
                  </a:cubicBezTo>
                  <a:cubicBezTo>
                    <a:pt x="2770" y="368"/>
                    <a:pt x="2681" y="391"/>
                    <a:pt x="2586" y="415"/>
                  </a:cubicBezTo>
                  <a:cubicBezTo>
                    <a:pt x="2203" y="513"/>
                    <a:pt x="1808" y="614"/>
                    <a:pt x="1427" y="568"/>
                  </a:cubicBezTo>
                  <a:cubicBezTo>
                    <a:pt x="1172" y="537"/>
                    <a:pt x="914" y="413"/>
                    <a:pt x="665" y="294"/>
                  </a:cubicBezTo>
                  <a:cubicBezTo>
                    <a:pt x="572" y="249"/>
                    <a:pt x="484" y="207"/>
                    <a:pt x="397" y="17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395" y="174"/>
                    <a:pt x="395" y="174"/>
                    <a:pt x="395" y="174"/>
                  </a:cubicBezTo>
                  <a:cubicBezTo>
                    <a:pt x="482" y="211"/>
                    <a:pt x="570" y="254"/>
                    <a:pt x="663" y="298"/>
                  </a:cubicBezTo>
                  <a:cubicBezTo>
                    <a:pt x="912" y="418"/>
                    <a:pt x="1170" y="542"/>
                    <a:pt x="1426" y="573"/>
                  </a:cubicBezTo>
                  <a:cubicBezTo>
                    <a:pt x="1808" y="620"/>
                    <a:pt x="2204" y="518"/>
                    <a:pt x="2587" y="420"/>
                  </a:cubicBezTo>
                  <a:cubicBezTo>
                    <a:pt x="2682" y="395"/>
                    <a:pt x="2771" y="372"/>
                    <a:pt x="2861" y="352"/>
                  </a:cubicBezTo>
                  <a:cubicBezTo>
                    <a:pt x="2909" y="340"/>
                    <a:pt x="2960" y="328"/>
                    <a:pt x="3014" y="314"/>
                  </a:cubicBezTo>
                  <a:cubicBezTo>
                    <a:pt x="3372" y="225"/>
                    <a:pt x="3817" y="115"/>
                    <a:pt x="4142" y="258"/>
                  </a:cubicBezTo>
                  <a:cubicBezTo>
                    <a:pt x="4457" y="396"/>
                    <a:pt x="4567" y="811"/>
                    <a:pt x="4648" y="1114"/>
                  </a:cubicBezTo>
                  <a:cubicBezTo>
                    <a:pt x="4649" y="1118"/>
                    <a:pt x="4650" y="1122"/>
                    <a:pt x="4652" y="1126"/>
                  </a:cubicBezTo>
                  <a:cubicBezTo>
                    <a:pt x="4657" y="1125"/>
                    <a:pt x="4657" y="1125"/>
                    <a:pt x="4657" y="1125"/>
                  </a:cubicBezTo>
                  <a:cubicBezTo>
                    <a:pt x="4655" y="1121"/>
                    <a:pt x="4654" y="1117"/>
                    <a:pt x="4653" y="1112"/>
                  </a:cubicBezTo>
                  <a:close/>
                </a:path>
              </a:pathLst>
            </a:custGeom>
            <a:solidFill>
              <a:srgbClr val="CFD1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0" name="Freeform 49"/>
            <p:cNvSpPr>
              <a:spLocks/>
            </p:cNvSpPr>
            <p:nvPr userDrawn="1"/>
          </p:nvSpPr>
          <p:spPr bwMode="auto">
            <a:xfrm>
              <a:off x="-792" y="3032077"/>
              <a:ext cx="7194569" cy="1901662"/>
            </a:xfrm>
            <a:custGeom>
              <a:avLst/>
              <a:gdLst>
                <a:gd name="T0" fmla="*/ 4699 w 4718"/>
                <a:gd name="T1" fmla="*/ 1179 h 1246"/>
                <a:gd name="T2" fmla="*/ 4683 w 4718"/>
                <a:gd name="T3" fmla="*/ 1122 h 1246"/>
                <a:gd name="T4" fmla="*/ 4509 w 4718"/>
                <a:gd name="T5" fmla="*/ 628 h 1246"/>
                <a:gd name="T6" fmla="*/ 4163 w 4718"/>
                <a:gd name="T7" fmla="*/ 263 h 1246"/>
                <a:gd name="T8" fmla="*/ 3038 w 4718"/>
                <a:gd name="T9" fmla="*/ 324 h 1246"/>
                <a:gd name="T10" fmla="*/ 2891 w 4718"/>
                <a:gd name="T11" fmla="*/ 361 h 1246"/>
                <a:gd name="T12" fmla="*/ 2622 w 4718"/>
                <a:gd name="T13" fmla="*/ 430 h 1246"/>
                <a:gd name="T14" fmla="*/ 1474 w 4718"/>
                <a:gd name="T15" fmla="*/ 588 h 1246"/>
                <a:gd name="T16" fmla="*/ 712 w 4718"/>
                <a:gd name="T17" fmla="*/ 314 h 1246"/>
                <a:gd name="T18" fmla="*/ 445 w 4718"/>
                <a:gd name="T19" fmla="*/ 190 h 1246"/>
                <a:gd name="T20" fmla="*/ 0 w 4718"/>
                <a:gd name="T21" fmla="*/ 0 h 1246"/>
                <a:gd name="T22" fmla="*/ 0 w 4718"/>
                <a:gd name="T23" fmla="*/ 5 h 1246"/>
                <a:gd name="T24" fmla="*/ 443 w 4718"/>
                <a:gd name="T25" fmla="*/ 195 h 1246"/>
                <a:gd name="T26" fmla="*/ 710 w 4718"/>
                <a:gd name="T27" fmla="*/ 319 h 1246"/>
                <a:gd name="T28" fmla="*/ 1473 w 4718"/>
                <a:gd name="T29" fmla="*/ 593 h 1246"/>
                <a:gd name="T30" fmla="*/ 2623 w 4718"/>
                <a:gd name="T31" fmla="*/ 435 h 1246"/>
                <a:gd name="T32" fmla="*/ 2892 w 4718"/>
                <a:gd name="T33" fmla="*/ 366 h 1246"/>
                <a:gd name="T34" fmla="*/ 3039 w 4718"/>
                <a:gd name="T35" fmla="*/ 329 h 1246"/>
                <a:gd name="T36" fmla="*/ 4161 w 4718"/>
                <a:gd name="T37" fmla="*/ 267 h 1246"/>
                <a:gd name="T38" fmla="*/ 4678 w 4718"/>
                <a:gd name="T39" fmla="*/ 1124 h 1246"/>
                <a:gd name="T40" fmla="*/ 4694 w 4718"/>
                <a:gd name="T41" fmla="*/ 1181 h 1246"/>
                <a:gd name="T42" fmla="*/ 4712 w 4718"/>
                <a:gd name="T43" fmla="*/ 1246 h 1246"/>
                <a:gd name="T44" fmla="*/ 4718 w 4718"/>
                <a:gd name="T45" fmla="*/ 1245 h 1246"/>
                <a:gd name="T46" fmla="*/ 4699 w 4718"/>
                <a:gd name="T47" fmla="*/ 1179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718" h="1246">
                  <a:moveTo>
                    <a:pt x="4699" y="1179"/>
                  </a:moveTo>
                  <a:cubicBezTo>
                    <a:pt x="4694" y="1161"/>
                    <a:pt x="4689" y="1142"/>
                    <a:pt x="4683" y="1122"/>
                  </a:cubicBezTo>
                  <a:cubicBezTo>
                    <a:pt x="4639" y="965"/>
                    <a:pt x="4588" y="786"/>
                    <a:pt x="4509" y="628"/>
                  </a:cubicBezTo>
                  <a:cubicBezTo>
                    <a:pt x="4417" y="444"/>
                    <a:pt x="4304" y="324"/>
                    <a:pt x="4163" y="263"/>
                  </a:cubicBezTo>
                  <a:cubicBezTo>
                    <a:pt x="3837" y="119"/>
                    <a:pt x="3394" y="232"/>
                    <a:pt x="3038" y="324"/>
                  </a:cubicBezTo>
                  <a:cubicBezTo>
                    <a:pt x="2986" y="337"/>
                    <a:pt x="2937" y="349"/>
                    <a:pt x="2891" y="361"/>
                  </a:cubicBezTo>
                  <a:cubicBezTo>
                    <a:pt x="2803" y="382"/>
                    <a:pt x="2715" y="405"/>
                    <a:pt x="2622" y="430"/>
                  </a:cubicBezTo>
                  <a:cubicBezTo>
                    <a:pt x="2243" y="530"/>
                    <a:pt x="1851" y="633"/>
                    <a:pt x="1474" y="588"/>
                  </a:cubicBezTo>
                  <a:cubicBezTo>
                    <a:pt x="1219" y="558"/>
                    <a:pt x="961" y="434"/>
                    <a:pt x="712" y="314"/>
                  </a:cubicBezTo>
                  <a:cubicBezTo>
                    <a:pt x="619" y="269"/>
                    <a:pt x="532" y="227"/>
                    <a:pt x="445" y="19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443" y="195"/>
                    <a:pt x="443" y="195"/>
                    <a:pt x="443" y="195"/>
                  </a:cubicBezTo>
                  <a:cubicBezTo>
                    <a:pt x="530" y="232"/>
                    <a:pt x="617" y="274"/>
                    <a:pt x="710" y="319"/>
                  </a:cubicBezTo>
                  <a:cubicBezTo>
                    <a:pt x="960" y="439"/>
                    <a:pt x="1217" y="563"/>
                    <a:pt x="1473" y="593"/>
                  </a:cubicBezTo>
                  <a:cubicBezTo>
                    <a:pt x="1852" y="639"/>
                    <a:pt x="2244" y="535"/>
                    <a:pt x="2623" y="435"/>
                  </a:cubicBezTo>
                  <a:cubicBezTo>
                    <a:pt x="2716" y="410"/>
                    <a:pt x="2804" y="387"/>
                    <a:pt x="2892" y="366"/>
                  </a:cubicBezTo>
                  <a:cubicBezTo>
                    <a:pt x="2939" y="354"/>
                    <a:pt x="2988" y="342"/>
                    <a:pt x="3039" y="329"/>
                  </a:cubicBezTo>
                  <a:cubicBezTo>
                    <a:pt x="3394" y="238"/>
                    <a:pt x="3837" y="125"/>
                    <a:pt x="4161" y="267"/>
                  </a:cubicBezTo>
                  <a:cubicBezTo>
                    <a:pt x="4476" y="406"/>
                    <a:pt x="4588" y="804"/>
                    <a:pt x="4678" y="1124"/>
                  </a:cubicBezTo>
                  <a:cubicBezTo>
                    <a:pt x="4684" y="1143"/>
                    <a:pt x="4689" y="1162"/>
                    <a:pt x="4694" y="1181"/>
                  </a:cubicBezTo>
                  <a:cubicBezTo>
                    <a:pt x="4700" y="1202"/>
                    <a:pt x="4706" y="1224"/>
                    <a:pt x="4712" y="1246"/>
                  </a:cubicBezTo>
                  <a:cubicBezTo>
                    <a:pt x="4718" y="1245"/>
                    <a:pt x="4718" y="1245"/>
                    <a:pt x="4718" y="1245"/>
                  </a:cubicBezTo>
                  <a:cubicBezTo>
                    <a:pt x="4711" y="1223"/>
                    <a:pt x="4705" y="1201"/>
                    <a:pt x="4699" y="1179"/>
                  </a:cubicBezTo>
                  <a:close/>
                </a:path>
              </a:pathLst>
            </a:custGeom>
            <a:solidFill>
              <a:srgbClr val="CFD0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1" name="Freeform 50"/>
            <p:cNvSpPr>
              <a:spLocks/>
            </p:cNvSpPr>
            <p:nvPr userDrawn="1"/>
          </p:nvSpPr>
          <p:spPr bwMode="auto">
            <a:xfrm>
              <a:off x="-792" y="2831650"/>
              <a:ext cx="7281154" cy="2086056"/>
            </a:xfrm>
            <a:custGeom>
              <a:avLst/>
              <a:gdLst>
                <a:gd name="T0" fmla="*/ 4769 w 4775"/>
                <a:gd name="T1" fmla="*/ 1346 h 1367"/>
                <a:gd name="T2" fmla="*/ 4726 w 4775"/>
                <a:gd name="T3" fmla="*/ 1198 h 1367"/>
                <a:gd name="T4" fmla="*/ 4708 w 4775"/>
                <a:gd name="T5" fmla="*/ 1139 h 1367"/>
                <a:gd name="T6" fmla="*/ 4173 w 4775"/>
                <a:gd name="T7" fmla="*/ 281 h 1367"/>
                <a:gd name="T8" fmla="*/ 3055 w 4775"/>
                <a:gd name="T9" fmla="*/ 344 h 1367"/>
                <a:gd name="T10" fmla="*/ 2916 w 4775"/>
                <a:gd name="T11" fmla="*/ 379 h 1367"/>
                <a:gd name="T12" fmla="*/ 2654 w 4775"/>
                <a:gd name="T13" fmla="*/ 448 h 1367"/>
                <a:gd name="T14" fmla="*/ 1520 w 4775"/>
                <a:gd name="T15" fmla="*/ 609 h 1367"/>
                <a:gd name="T16" fmla="*/ 761 w 4775"/>
                <a:gd name="T17" fmla="*/ 334 h 1367"/>
                <a:gd name="T18" fmla="*/ 492 w 4775"/>
                <a:gd name="T19" fmla="*/ 210 h 1367"/>
                <a:gd name="T20" fmla="*/ 0 w 4775"/>
                <a:gd name="T21" fmla="*/ 0 h 1367"/>
                <a:gd name="T22" fmla="*/ 0 w 4775"/>
                <a:gd name="T23" fmla="*/ 6 h 1367"/>
                <a:gd name="T24" fmla="*/ 490 w 4775"/>
                <a:gd name="T25" fmla="*/ 215 h 1367"/>
                <a:gd name="T26" fmla="*/ 758 w 4775"/>
                <a:gd name="T27" fmla="*/ 339 h 1367"/>
                <a:gd name="T28" fmla="*/ 1519 w 4775"/>
                <a:gd name="T29" fmla="*/ 614 h 1367"/>
                <a:gd name="T30" fmla="*/ 2655 w 4775"/>
                <a:gd name="T31" fmla="*/ 454 h 1367"/>
                <a:gd name="T32" fmla="*/ 2918 w 4775"/>
                <a:gd name="T33" fmla="*/ 385 h 1367"/>
                <a:gd name="T34" fmla="*/ 3057 w 4775"/>
                <a:gd name="T35" fmla="*/ 349 h 1367"/>
                <a:gd name="T36" fmla="*/ 4171 w 4775"/>
                <a:gd name="T37" fmla="*/ 286 h 1367"/>
                <a:gd name="T38" fmla="*/ 4703 w 4775"/>
                <a:gd name="T39" fmla="*/ 1141 h 1367"/>
                <a:gd name="T40" fmla="*/ 4721 w 4775"/>
                <a:gd name="T41" fmla="*/ 1200 h 1367"/>
                <a:gd name="T42" fmla="*/ 4764 w 4775"/>
                <a:gd name="T43" fmla="*/ 1348 h 1367"/>
                <a:gd name="T44" fmla="*/ 4770 w 4775"/>
                <a:gd name="T45" fmla="*/ 1367 h 1367"/>
                <a:gd name="T46" fmla="*/ 4775 w 4775"/>
                <a:gd name="T47" fmla="*/ 1366 h 1367"/>
                <a:gd name="T48" fmla="*/ 4769 w 4775"/>
                <a:gd name="T49" fmla="*/ 1346 h 1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775" h="1367">
                  <a:moveTo>
                    <a:pt x="4769" y="1346"/>
                  </a:moveTo>
                  <a:cubicBezTo>
                    <a:pt x="4755" y="1295"/>
                    <a:pt x="4741" y="1246"/>
                    <a:pt x="4726" y="1198"/>
                  </a:cubicBezTo>
                  <a:cubicBezTo>
                    <a:pt x="4720" y="1179"/>
                    <a:pt x="4714" y="1160"/>
                    <a:pt x="4708" y="1139"/>
                  </a:cubicBezTo>
                  <a:cubicBezTo>
                    <a:pt x="4612" y="819"/>
                    <a:pt x="4491" y="420"/>
                    <a:pt x="4173" y="281"/>
                  </a:cubicBezTo>
                  <a:cubicBezTo>
                    <a:pt x="3847" y="138"/>
                    <a:pt x="3408" y="252"/>
                    <a:pt x="3055" y="344"/>
                  </a:cubicBezTo>
                  <a:cubicBezTo>
                    <a:pt x="3007" y="356"/>
                    <a:pt x="2961" y="368"/>
                    <a:pt x="2916" y="379"/>
                  </a:cubicBezTo>
                  <a:cubicBezTo>
                    <a:pt x="2830" y="401"/>
                    <a:pt x="2744" y="424"/>
                    <a:pt x="2654" y="448"/>
                  </a:cubicBezTo>
                  <a:cubicBezTo>
                    <a:pt x="2280" y="550"/>
                    <a:pt x="1893" y="654"/>
                    <a:pt x="1520" y="609"/>
                  </a:cubicBezTo>
                  <a:cubicBezTo>
                    <a:pt x="1266" y="578"/>
                    <a:pt x="1009" y="454"/>
                    <a:pt x="761" y="334"/>
                  </a:cubicBezTo>
                  <a:cubicBezTo>
                    <a:pt x="667" y="290"/>
                    <a:pt x="579" y="247"/>
                    <a:pt x="492" y="21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490" y="215"/>
                    <a:pt x="490" y="215"/>
                    <a:pt x="490" y="215"/>
                  </a:cubicBezTo>
                  <a:cubicBezTo>
                    <a:pt x="577" y="252"/>
                    <a:pt x="665" y="294"/>
                    <a:pt x="758" y="339"/>
                  </a:cubicBezTo>
                  <a:cubicBezTo>
                    <a:pt x="1007" y="459"/>
                    <a:pt x="1264" y="583"/>
                    <a:pt x="1519" y="614"/>
                  </a:cubicBezTo>
                  <a:cubicBezTo>
                    <a:pt x="1893" y="660"/>
                    <a:pt x="2281" y="555"/>
                    <a:pt x="2655" y="454"/>
                  </a:cubicBezTo>
                  <a:cubicBezTo>
                    <a:pt x="2746" y="429"/>
                    <a:pt x="2832" y="406"/>
                    <a:pt x="2918" y="385"/>
                  </a:cubicBezTo>
                  <a:cubicBezTo>
                    <a:pt x="2962" y="374"/>
                    <a:pt x="3008" y="362"/>
                    <a:pt x="3057" y="349"/>
                  </a:cubicBezTo>
                  <a:cubicBezTo>
                    <a:pt x="3408" y="257"/>
                    <a:pt x="3846" y="143"/>
                    <a:pt x="4171" y="286"/>
                  </a:cubicBezTo>
                  <a:cubicBezTo>
                    <a:pt x="4487" y="424"/>
                    <a:pt x="4607" y="822"/>
                    <a:pt x="4703" y="1141"/>
                  </a:cubicBezTo>
                  <a:cubicBezTo>
                    <a:pt x="4709" y="1161"/>
                    <a:pt x="4715" y="1181"/>
                    <a:pt x="4721" y="1200"/>
                  </a:cubicBezTo>
                  <a:cubicBezTo>
                    <a:pt x="4735" y="1248"/>
                    <a:pt x="4749" y="1296"/>
                    <a:pt x="4764" y="1348"/>
                  </a:cubicBezTo>
                  <a:cubicBezTo>
                    <a:pt x="4766" y="1354"/>
                    <a:pt x="4768" y="1360"/>
                    <a:pt x="4770" y="1367"/>
                  </a:cubicBezTo>
                  <a:cubicBezTo>
                    <a:pt x="4775" y="1366"/>
                    <a:pt x="4775" y="1366"/>
                    <a:pt x="4775" y="1366"/>
                  </a:cubicBezTo>
                  <a:cubicBezTo>
                    <a:pt x="4773" y="1359"/>
                    <a:pt x="4771" y="1353"/>
                    <a:pt x="4769" y="1346"/>
                  </a:cubicBezTo>
                  <a:close/>
                </a:path>
              </a:pathLst>
            </a:custGeom>
            <a:solidFill>
              <a:srgbClr val="CED0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2" name="Freeform 51"/>
            <p:cNvSpPr>
              <a:spLocks/>
            </p:cNvSpPr>
            <p:nvPr userDrawn="1"/>
          </p:nvSpPr>
          <p:spPr bwMode="auto">
            <a:xfrm>
              <a:off x="-792" y="2632825"/>
              <a:ext cx="7369342" cy="2270450"/>
            </a:xfrm>
            <a:custGeom>
              <a:avLst/>
              <a:gdLst>
                <a:gd name="T0" fmla="*/ 4796 w 4833"/>
                <a:gd name="T1" fmla="*/ 1369 h 1488"/>
                <a:gd name="T2" fmla="*/ 4749 w 4833"/>
                <a:gd name="T3" fmla="*/ 1221 h 1488"/>
                <a:gd name="T4" fmla="*/ 4730 w 4833"/>
                <a:gd name="T5" fmla="*/ 1162 h 1488"/>
                <a:gd name="T6" fmla="*/ 4175 w 4833"/>
                <a:gd name="T7" fmla="*/ 306 h 1488"/>
                <a:gd name="T8" fmla="*/ 3066 w 4833"/>
                <a:gd name="T9" fmla="*/ 369 h 1488"/>
                <a:gd name="T10" fmla="*/ 2938 w 4833"/>
                <a:gd name="T11" fmla="*/ 402 h 1488"/>
                <a:gd name="T12" fmla="*/ 2682 w 4833"/>
                <a:gd name="T13" fmla="*/ 471 h 1488"/>
                <a:gd name="T14" fmla="*/ 1565 w 4833"/>
                <a:gd name="T15" fmla="*/ 630 h 1488"/>
                <a:gd name="T16" fmla="*/ 810 w 4833"/>
                <a:gd name="T17" fmla="*/ 355 h 1488"/>
                <a:gd name="T18" fmla="*/ 540 w 4833"/>
                <a:gd name="T19" fmla="*/ 230 h 1488"/>
                <a:gd name="T20" fmla="*/ 0 w 4833"/>
                <a:gd name="T21" fmla="*/ 0 h 1488"/>
                <a:gd name="T22" fmla="*/ 0 w 4833"/>
                <a:gd name="T23" fmla="*/ 6 h 1488"/>
                <a:gd name="T24" fmla="*/ 537 w 4833"/>
                <a:gd name="T25" fmla="*/ 235 h 1488"/>
                <a:gd name="T26" fmla="*/ 807 w 4833"/>
                <a:gd name="T27" fmla="*/ 360 h 1488"/>
                <a:gd name="T28" fmla="*/ 1564 w 4833"/>
                <a:gd name="T29" fmla="*/ 636 h 1488"/>
                <a:gd name="T30" fmla="*/ 2683 w 4833"/>
                <a:gd name="T31" fmla="*/ 476 h 1488"/>
                <a:gd name="T32" fmla="*/ 2939 w 4833"/>
                <a:gd name="T33" fmla="*/ 408 h 1488"/>
                <a:gd name="T34" fmla="*/ 3067 w 4833"/>
                <a:gd name="T35" fmla="*/ 374 h 1488"/>
                <a:gd name="T36" fmla="*/ 4173 w 4833"/>
                <a:gd name="T37" fmla="*/ 311 h 1488"/>
                <a:gd name="T38" fmla="*/ 4724 w 4833"/>
                <a:gd name="T39" fmla="*/ 1164 h 1488"/>
                <a:gd name="T40" fmla="*/ 4743 w 4833"/>
                <a:gd name="T41" fmla="*/ 1223 h 1488"/>
                <a:gd name="T42" fmla="*/ 4790 w 4833"/>
                <a:gd name="T43" fmla="*/ 1371 h 1488"/>
                <a:gd name="T44" fmla="*/ 4827 w 4833"/>
                <a:gd name="T45" fmla="*/ 1488 h 1488"/>
                <a:gd name="T46" fmla="*/ 4833 w 4833"/>
                <a:gd name="T47" fmla="*/ 1487 h 1488"/>
                <a:gd name="T48" fmla="*/ 4796 w 4833"/>
                <a:gd name="T49" fmla="*/ 1369 h 1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833" h="1488">
                  <a:moveTo>
                    <a:pt x="4796" y="1369"/>
                  </a:moveTo>
                  <a:cubicBezTo>
                    <a:pt x="4780" y="1317"/>
                    <a:pt x="4764" y="1269"/>
                    <a:pt x="4749" y="1221"/>
                  </a:cubicBezTo>
                  <a:cubicBezTo>
                    <a:pt x="4742" y="1202"/>
                    <a:pt x="4736" y="1182"/>
                    <a:pt x="4730" y="1162"/>
                  </a:cubicBezTo>
                  <a:cubicBezTo>
                    <a:pt x="4626" y="843"/>
                    <a:pt x="4496" y="446"/>
                    <a:pt x="4175" y="306"/>
                  </a:cubicBezTo>
                  <a:cubicBezTo>
                    <a:pt x="3848" y="163"/>
                    <a:pt x="3414" y="277"/>
                    <a:pt x="3066" y="369"/>
                  </a:cubicBezTo>
                  <a:cubicBezTo>
                    <a:pt x="3021" y="381"/>
                    <a:pt x="2979" y="392"/>
                    <a:pt x="2938" y="402"/>
                  </a:cubicBezTo>
                  <a:cubicBezTo>
                    <a:pt x="2854" y="423"/>
                    <a:pt x="2770" y="446"/>
                    <a:pt x="2682" y="471"/>
                  </a:cubicBezTo>
                  <a:cubicBezTo>
                    <a:pt x="2313" y="572"/>
                    <a:pt x="1932" y="677"/>
                    <a:pt x="1565" y="630"/>
                  </a:cubicBezTo>
                  <a:cubicBezTo>
                    <a:pt x="1312" y="598"/>
                    <a:pt x="1057" y="475"/>
                    <a:pt x="810" y="355"/>
                  </a:cubicBezTo>
                  <a:cubicBezTo>
                    <a:pt x="716" y="310"/>
                    <a:pt x="627" y="267"/>
                    <a:pt x="540" y="23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537" y="235"/>
                    <a:pt x="537" y="235"/>
                    <a:pt x="537" y="235"/>
                  </a:cubicBezTo>
                  <a:cubicBezTo>
                    <a:pt x="625" y="273"/>
                    <a:pt x="714" y="315"/>
                    <a:pt x="807" y="360"/>
                  </a:cubicBezTo>
                  <a:cubicBezTo>
                    <a:pt x="1055" y="480"/>
                    <a:pt x="1311" y="603"/>
                    <a:pt x="1564" y="636"/>
                  </a:cubicBezTo>
                  <a:cubicBezTo>
                    <a:pt x="1933" y="683"/>
                    <a:pt x="2314" y="578"/>
                    <a:pt x="2683" y="476"/>
                  </a:cubicBezTo>
                  <a:cubicBezTo>
                    <a:pt x="2772" y="452"/>
                    <a:pt x="2855" y="429"/>
                    <a:pt x="2939" y="408"/>
                  </a:cubicBezTo>
                  <a:cubicBezTo>
                    <a:pt x="2980" y="397"/>
                    <a:pt x="3023" y="386"/>
                    <a:pt x="3067" y="374"/>
                  </a:cubicBezTo>
                  <a:cubicBezTo>
                    <a:pt x="3415" y="283"/>
                    <a:pt x="3847" y="169"/>
                    <a:pt x="4173" y="311"/>
                  </a:cubicBezTo>
                  <a:cubicBezTo>
                    <a:pt x="4492" y="450"/>
                    <a:pt x="4621" y="846"/>
                    <a:pt x="4724" y="1164"/>
                  </a:cubicBezTo>
                  <a:cubicBezTo>
                    <a:pt x="4731" y="1184"/>
                    <a:pt x="4737" y="1204"/>
                    <a:pt x="4743" y="1223"/>
                  </a:cubicBezTo>
                  <a:cubicBezTo>
                    <a:pt x="4759" y="1271"/>
                    <a:pt x="4774" y="1319"/>
                    <a:pt x="4790" y="1371"/>
                  </a:cubicBezTo>
                  <a:cubicBezTo>
                    <a:pt x="4802" y="1409"/>
                    <a:pt x="4814" y="1448"/>
                    <a:pt x="4827" y="1488"/>
                  </a:cubicBezTo>
                  <a:cubicBezTo>
                    <a:pt x="4833" y="1487"/>
                    <a:pt x="4833" y="1487"/>
                    <a:pt x="4833" y="1487"/>
                  </a:cubicBezTo>
                  <a:cubicBezTo>
                    <a:pt x="4820" y="1447"/>
                    <a:pt x="4808" y="1408"/>
                    <a:pt x="4796" y="1369"/>
                  </a:cubicBezTo>
                  <a:close/>
                </a:path>
              </a:pathLst>
            </a:custGeom>
            <a:solidFill>
              <a:srgbClr val="CECF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3" name="Freeform 52"/>
            <p:cNvSpPr>
              <a:spLocks/>
            </p:cNvSpPr>
            <p:nvPr userDrawn="1"/>
          </p:nvSpPr>
          <p:spPr bwMode="auto">
            <a:xfrm>
              <a:off x="-792" y="2430793"/>
              <a:ext cx="7462341" cy="2454844"/>
            </a:xfrm>
            <a:custGeom>
              <a:avLst/>
              <a:gdLst>
                <a:gd name="T0" fmla="*/ 4819 w 4894"/>
                <a:gd name="T1" fmla="*/ 1395 h 1609"/>
                <a:gd name="T2" fmla="*/ 4768 w 4894"/>
                <a:gd name="T3" fmla="*/ 1248 h 1609"/>
                <a:gd name="T4" fmla="*/ 4749 w 4894"/>
                <a:gd name="T5" fmla="*/ 1191 h 1609"/>
                <a:gd name="T6" fmla="*/ 4172 w 4894"/>
                <a:gd name="T7" fmla="*/ 337 h 1609"/>
                <a:gd name="T8" fmla="*/ 3072 w 4894"/>
                <a:gd name="T9" fmla="*/ 398 h 1609"/>
                <a:gd name="T10" fmla="*/ 2956 w 4894"/>
                <a:gd name="T11" fmla="*/ 429 h 1609"/>
                <a:gd name="T12" fmla="*/ 2707 w 4894"/>
                <a:gd name="T13" fmla="*/ 496 h 1609"/>
                <a:gd name="T14" fmla="*/ 1610 w 4894"/>
                <a:gd name="T15" fmla="*/ 653 h 1609"/>
                <a:gd name="T16" fmla="*/ 860 w 4894"/>
                <a:gd name="T17" fmla="*/ 378 h 1609"/>
                <a:gd name="T18" fmla="*/ 587 w 4894"/>
                <a:gd name="T19" fmla="*/ 251 h 1609"/>
                <a:gd name="T20" fmla="*/ 0 w 4894"/>
                <a:gd name="T21" fmla="*/ 0 h 1609"/>
                <a:gd name="T22" fmla="*/ 0 w 4894"/>
                <a:gd name="T23" fmla="*/ 7 h 1609"/>
                <a:gd name="T24" fmla="*/ 585 w 4894"/>
                <a:gd name="T25" fmla="*/ 256 h 1609"/>
                <a:gd name="T26" fmla="*/ 857 w 4894"/>
                <a:gd name="T27" fmla="*/ 383 h 1609"/>
                <a:gd name="T28" fmla="*/ 1609 w 4894"/>
                <a:gd name="T29" fmla="*/ 658 h 1609"/>
                <a:gd name="T30" fmla="*/ 2709 w 4894"/>
                <a:gd name="T31" fmla="*/ 502 h 1609"/>
                <a:gd name="T32" fmla="*/ 2957 w 4894"/>
                <a:gd name="T33" fmla="*/ 434 h 1609"/>
                <a:gd name="T34" fmla="*/ 3073 w 4894"/>
                <a:gd name="T35" fmla="*/ 404 h 1609"/>
                <a:gd name="T36" fmla="*/ 4169 w 4894"/>
                <a:gd name="T37" fmla="*/ 342 h 1609"/>
                <a:gd name="T38" fmla="*/ 4743 w 4894"/>
                <a:gd name="T39" fmla="*/ 1193 h 1609"/>
                <a:gd name="T40" fmla="*/ 4763 w 4894"/>
                <a:gd name="T41" fmla="*/ 1250 h 1609"/>
                <a:gd name="T42" fmla="*/ 4814 w 4894"/>
                <a:gd name="T43" fmla="*/ 1397 h 1609"/>
                <a:gd name="T44" fmla="*/ 4888 w 4894"/>
                <a:gd name="T45" fmla="*/ 1609 h 1609"/>
                <a:gd name="T46" fmla="*/ 4894 w 4894"/>
                <a:gd name="T47" fmla="*/ 1608 h 1609"/>
                <a:gd name="T48" fmla="*/ 4819 w 4894"/>
                <a:gd name="T49" fmla="*/ 1395 h 1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894" h="1609">
                  <a:moveTo>
                    <a:pt x="4819" y="1395"/>
                  </a:moveTo>
                  <a:cubicBezTo>
                    <a:pt x="4802" y="1344"/>
                    <a:pt x="4785" y="1295"/>
                    <a:pt x="4768" y="1248"/>
                  </a:cubicBezTo>
                  <a:cubicBezTo>
                    <a:pt x="4762" y="1229"/>
                    <a:pt x="4755" y="1210"/>
                    <a:pt x="4749" y="1191"/>
                  </a:cubicBezTo>
                  <a:cubicBezTo>
                    <a:pt x="4637" y="874"/>
                    <a:pt x="4497" y="478"/>
                    <a:pt x="4172" y="337"/>
                  </a:cubicBezTo>
                  <a:cubicBezTo>
                    <a:pt x="3843" y="194"/>
                    <a:pt x="3416" y="307"/>
                    <a:pt x="3072" y="398"/>
                  </a:cubicBezTo>
                  <a:cubicBezTo>
                    <a:pt x="3032" y="409"/>
                    <a:pt x="2993" y="419"/>
                    <a:pt x="2956" y="429"/>
                  </a:cubicBezTo>
                  <a:cubicBezTo>
                    <a:pt x="2875" y="449"/>
                    <a:pt x="2793" y="472"/>
                    <a:pt x="2707" y="496"/>
                  </a:cubicBezTo>
                  <a:cubicBezTo>
                    <a:pt x="2345" y="597"/>
                    <a:pt x="1970" y="702"/>
                    <a:pt x="1610" y="653"/>
                  </a:cubicBezTo>
                  <a:cubicBezTo>
                    <a:pt x="1359" y="618"/>
                    <a:pt x="1105" y="496"/>
                    <a:pt x="860" y="378"/>
                  </a:cubicBezTo>
                  <a:cubicBezTo>
                    <a:pt x="765" y="332"/>
                    <a:pt x="675" y="289"/>
                    <a:pt x="587" y="2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585" y="256"/>
                    <a:pt x="585" y="256"/>
                    <a:pt x="585" y="256"/>
                  </a:cubicBezTo>
                  <a:cubicBezTo>
                    <a:pt x="673" y="294"/>
                    <a:pt x="763" y="337"/>
                    <a:pt x="857" y="383"/>
                  </a:cubicBezTo>
                  <a:cubicBezTo>
                    <a:pt x="1103" y="501"/>
                    <a:pt x="1357" y="624"/>
                    <a:pt x="1609" y="658"/>
                  </a:cubicBezTo>
                  <a:cubicBezTo>
                    <a:pt x="1971" y="708"/>
                    <a:pt x="2346" y="603"/>
                    <a:pt x="2709" y="502"/>
                  </a:cubicBezTo>
                  <a:cubicBezTo>
                    <a:pt x="2795" y="478"/>
                    <a:pt x="2876" y="455"/>
                    <a:pt x="2957" y="434"/>
                  </a:cubicBezTo>
                  <a:cubicBezTo>
                    <a:pt x="2995" y="425"/>
                    <a:pt x="3033" y="415"/>
                    <a:pt x="3073" y="404"/>
                  </a:cubicBezTo>
                  <a:cubicBezTo>
                    <a:pt x="3416" y="313"/>
                    <a:pt x="3843" y="200"/>
                    <a:pt x="4169" y="342"/>
                  </a:cubicBezTo>
                  <a:cubicBezTo>
                    <a:pt x="4493" y="482"/>
                    <a:pt x="4632" y="877"/>
                    <a:pt x="4743" y="1193"/>
                  </a:cubicBezTo>
                  <a:cubicBezTo>
                    <a:pt x="4750" y="1212"/>
                    <a:pt x="4757" y="1231"/>
                    <a:pt x="4763" y="1250"/>
                  </a:cubicBezTo>
                  <a:cubicBezTo>
                    <a:pt x="4780" y="1297"/>
                    <a:pt x="4796" y="1346"/>
                    <a:pt x="4814" y="1397"/>
                  </a:cubicBezTo>
                  <a:cubicBezTo>
                    <a:pt x="4837" y="1466"/>
                    <a:pt x="4861" y="1538"/>
                    <a:pt x="4888" y="1609"/>
                  </a:cubicBezTo>
                  <a:cubicBezTo>
                    <a:pt x="4894" y="1608"/>
                    <a:pt x="4894" y="1608"/>
                    <a:pt x="4894" y="1608"/>
                  </a:cubicBezTo>
                  <a:cubicBezTo>
                    <a:pt x="4867" y="1537"/>
                    <a:pt x="4843" y="1465"/>
                    <a:pt x="4819" y="1395"/>
                  </a:cubicBezTo>
                  <a:close/>
                </a:path>
              </a:pathLst>
            </a:custGeom>
            <a:solidFill>
              <a:srgbClr val="CDCF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4" name="Freeform 53"/>
            <p:cNvSpPr>
              <a:spLocks/>
            </p:cNvSpPr>
            <p:nvPr userDrawn="1"/>
          </p:nvSpPr>
          <p:spPr bwMode="auto">
            <a:xfrm>
              <a:off x="-792" y="2230365"/>
              <a:ext cx="7563356" cy="2637635"/>
            </a:xfrm>
            <a:custGeom>
              <a:avLst/>
              <a:gdLst>
                <a:gd name="T0" fmla="*/ 4841 w 4960"/>
                <a:gd name="T1" fmla="*/ 1422 h 1728"/>
                <a:gd name="T2" fmla="*/ 4786 w 4960"/>
                <a:gd name="T3" fmla="*/ 1275 h 1728"/>
                <a:gd name="T4" fmla="*/ 4766 w 4960"/>
                <a:gd name="T5" fmla="*/ 1222 h 1728"/>
                <a:gd name="T6" fmla="*/ 4165 w 4960"/>
                <a:gd name="T7" fmla="*/ 370 h 1728"/>
                <a:gd name="T8" fmla="*/ 3074 w 4960"/>
                <a:gd name="T9" fmla="*/ 429 h 1728"/>
                <a:gd name="T10" fmla="*/ 2972 w 4960"/>
                <a:gd name="T11" fmla="*/ 456 h 1728"/>
                <a:gd name="T12" fmla="*/ 2731 w 4960"/>
                <a:gd name="T13" fmla="*/ 522 h 1728"/>
                <a:gd name="T14" fmla="*/ 1654 w 4960"/>
                <a:gd name="T15" fmla="*/ 675 h 1728"/>
                <a:gd name="T16" fmla="*/ 910 w 4960"/>
                <a:gd name="T17" fmla="*/ 399 h 1728"/>
                <a:gd name="T18" fmla="*/ 634 w 4960"/>
                <a:gd name="T19" fmla="*/ 271 h 1728"/>
                <a:gd name="T20" fmla="*/ 0 w 4960"/>
                <a:gd name="T21" fmla="*/ 0 h 1728"/>
                <a:gd name="T22" fmla="*/ 0 w 4960"/>
                <a:gd name="T23" fmla="*/ 7 h 1728"/>
                <a:gd name="T24" fmla="*/ 632 w 4960"/>
                <a:gd name="T25" fmla="*/ 277 h 1728"/>
                <a:gd name="T26" fmla="*/ 907 w 4960"/>
                <a:gd name="T27" fmla="*/ 404 h 1728"/>
                <a:gd name="T28" fmla="*/ 1653 w 4960"/>
                <a:gd name="T29" fmla="*/ 680 h 1728"/>
                <a:gd name="T30" fmla="*/ 2733 w 4960"/>
                <a:gd name="T31" fmla="*/ 528 h 1728"/>
                <a:gd name="T32" fmla="*/ 2974 w 4960"/>
                <a:gd name="T33" fmla="*/ 462 h 1728"/>
                <a:gd name="T34" fmla="*/ 3076 w 4960"/>
                <a:gd name="T35" fmla="*/ 435 h 1728"/>
                <a:gd name="T36" fmla="*/ 4163 w 4960"/>
                <a:gd name="T37" fmla="*/ 375 h 1728"/>
                <a:gd name="T38" fmla="*/ 4761 w 4960"/>
                <a:gd name="T39" fmla="*/ 1224 h 1728"/>
                <a:gd name="T40" fmla="*/ 4781 w 4960"/>
                <a:gd name="T41" fmla="*/ 1277 h 1728"/>
                <a:gd name="T42" fmla="*/ 4836 w 4960"/>
                <a:gd name="T43" fmla="*/ 1424 h 1728"/>
                <a:gd name="T44" fmla="*/ 4954 w 4960"/>
                <a:gd name="T45" fmla="*/ 1728 h 1728"/>
                <a:gd name="T46" fmla="*/ 4960 w 4960"/>
                <a:gd name="T47" fmla="*/ 1727 h 1728"/>
                <a:gd name="T48" fmla="*/ 4841 w 4960"/>
                <a:gd name="T49" fmla="*/ 1422 h 1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960" h="1728">
                  <a:moveTo>
                    <a:pt x="4841" y="1422"/>
                  </a:moveTo>
                  <a:cubicBezTo>
                    <a:pt x="4823" y="1371"/>
                    <a:pt x="4805" y="1322"/>
                    <a:pt x="4786" y="1275"/>
                  </a:cubicBezTo>
                  <a:cubicBezTo>
                    <a:pt x="4780" y="1257"/>
                    <a:pt x="4773" y="1240"/>
                    <a:pt x="4766" y="1222"/>
                  </a:cubicBezTo>
                  <a:cubicBezTo>
                    <a:pt x="4646" y="906"/>
                    <a:pt x="4496" y="513"/>
                    <a:pt x="4165" y="370"/>
                  </a:cubicBezTo>
                  <a:cubicBezTo>
                    <a:pt x="3835" y="227"/>
                    <a:pt x="3413" y="339"/>
                    <a:pt x="3074" y="429"/>
                  </a:cubicBezTo>
                  <a:cubicBezTo>
                    <a:pt x="3040" y="438"/>
                    <a:pt x="3006" y="447"/>
                    <a:pt x="2972" y="456"/>
                  </a:cubicBezTo>
                  <a:cubicBezTo>
                    <a:pt x="2894" y="476"/>
                    <a:pt x="2815" y="499"/>
                    <a:pt x="2731" y="522"/>
                  </a:cubicBezTo>
                  <a:cubicBezTo>
                    <a:pt x="2376" y="623"/>
                    <a:pt x="2008" y="727"/>
                    <a:pt x="1654" y="675"/>
                  </a:cubicBezTo>
                  <a:cubicBezTo>
                    <a:pt x="1406" y="638"/>
                    <a:pt x="1154" y="517"/>
                    <a:pt x="910" y="399"/>
                  </a:cubicBezTo>
                  <a:cubicBezTo>
                    <a:pt x="814" y="353"/>
                    <a:pt x="724" y="309"/>
                    <a:pt x="634" y="27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632" y="277"/>
                    <a:pt x="632" y="277"/>
                    <a:pt x="632" y="277"/>
                  </a:cubicBezTo>
                  <a:cubicBezTo>
                    <a:pt x="721" y="315"/>
                    <a:pt x="812" y="358"/>
                    <a:pt x="907" y="404"/>
                  </a:cubicBezTo>
                  <a:cubicBezTo>
                    <a:pt x="1151" y="522"/>
                    <a:pt x="1404" y="644"/>
                    <a:pt x="1653" y="680"/>
                  </a:cubicBezTo>
                  <a:cubicBezTo>
                    <a:pt x="2008" y="733"/>
                    <a:pt x="2377" y="629"/>
                    <a:pt x="2733" y="528"/>
                  </a:cubicBezTo>
                  <a:cubicBezTo>
                    <a:pt x="2816" y="504"/>
                    <a:pt x="2895" y="482"/>
                    <a:pt x="2974" y="462"/>
                  </a:cubicBezTo>
                  <a:cubicBezTo>
                    <a:pt x="3007" y="453"/>
                    <a:pt x="3041" y="444"/>
                    <a:pt x="3076" y="435"/>
                  </a:cubicBezTo>
                  <a:cubicBezTo>
                    <a:pt x="3414" y="345"/>
                    <a:pt x="3834" y="234"/>
                    <a:pt x="4163" y="375"/>
                  </a:cubicBezTo>
                  <a:cubicBezTo>
                    <a:pt x="4491" y="517"/>
                    <a:pt x="4641" y="909"/>
                    <a:pt x="4761" y="1224"/>
                  </a:cubicBezTo>
                  <a:cubicBezTo>
                    <a:pt x="4768" y="1242"/>
                    <a:pt x="4774" y="1260"/>
                    <a:pt x="4781" y="1277"/>
                  </a:cubicBezTo>
                  <a:cubicBezTo>
                    <a:pt x="4799" y="1324"/>
                    <a:pt x="4817" y="1373"/>
                    <a:pt x="4836" y="1424"/>
                  </a:cubicBezTo>
                  <a:cubicBezTo>
                    <a:pt x="4872" y="1524"/>
                    <a:pt x="4910" y="1627"/>
                    <a:pt x="4954" y="1728"/>
                  </a:cubicBezTo>
                  <a:cubicBezTo>
                    <a:pt x="4960" y="1727"/>
                    <a:pt x="4960" y="1727"/>
                    <a:pt x="4960" y="1727"/>
                  </a:cubicBezTo>
                  <a:cubicBezTo>
                    <a:pt x="4916" y="1626"/>
                    <a:pt x="4878" y="1522"/>
                    <a:pt x="4841" y="1422"/>
                  </a:cubicBezTo>
                  <a:close/>
                </a:path>
              </a:pathLst>
            </a:custGeom>
            <a:solidFill>
              <a:srgbClr val="CDCE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5" name="Freeform 54"/>
            <p:cNvSpPr>
              <a:spLocks/>
            </p:cNvSpPr>
            <p:nvPr userDrawn="1"/>
          </p:nvSpPr>
          <p:spPr bwMode="auto">
            <a:xfrm>
              <a:off x="-792" y="2031540"/>
              <a:ext cx="7677200" cy="2817218"/>
            </a:xfrm>
            <a:custGeom>
              <a:avLst/>
              <a:gdLst>
                <a:gd name="T0" fmla="*/ 4863 w 5034"/>
                <a:gd name="T1" fmla="*/ 1450 h 1846"/>
                <a:gd name="T2" fmla="*/ 4804 w 5034"/>
                <a:gd name="T3" fmla="*/ 1303 h 1846"/>
                <a:gd name="T4" fmla="*/ 4784 w 5034"/>
                <a:gd name="T5" fmla="*/ 1255 h 1846"/>
                <a:gd name="T6" fmla="*/ 4157 w 5034"/>
                <a:gd name="T7" fmla="*/ 404 h 1846"/>
                <a:gd name="T8" fmla="*/ 3075 w 5034"/>
                <a:gd name="T9" fmla="*/ 461 h 1846"/>
                <a:gd name="T10" fmla="*/ 2988 w 5034"/>
                <a:gd name="T11" fmla="*/ 484 h 1846"/>
                <a:gd name="T12" fmla="*/ 2755 w 5034"/>
                <a:gd name="T13" fmla="*/ 549 h 1846"/>
                <a:gd name="T14" fmla="*/ 1699 w 5034"/>
                <a:gd name="T15" fmla="*/ 697 h 1846"/>
                <a:gd name="T16" fmla="*/ 960 w 5034"/>
                <a:gd name="T17" fmla="*/ 421 h 1846"/>
                <a:gd name="T18" fmla="*/ 682 w 5034"/>
                <a:gd name="T19" fmla="*/ 291 h 1846"/>
                <a:gd name="T20" fmla="*/ 0 w 5034"/>
                <a:gd name="T21" fmla="*/ 0 h 1846"/>
                <a:gd name="T22" fmla="*/ 0 w 5034"/>
                <a:gd name="T23" fmla="*/ 7 h 1846"/>
                <a:gd name="T24" fmla="*/ 679 w 5034"/>
                <a:gd name="T25" fmla="*/ 297 h 1846"/>
                <a:gd name="T26" fmla="*/ 958 w 5034"/>
                <a:gd name="T27" fmla="*/ 426 h 1846"/>
                <a:gd name="T28" fmla="*/ 1698 w 5034"/>
                <a:gd name="T29" fmla="*/ 703 h 1846"/>
                <a:gd name="T30" fmla="*/ 2756 w 5034"/>
                <a:gd name="T31" fmla="*/ 555 h 1846"/>
                <a:gd name="T32" fmla="*/ 2990 w 5034"/>
                <a:gd name="T33" fmla="*/ 490 h 1846"/>
                <a:gd name="T34" fmla="*/ 3076 w 5034"/>
                <a:gd name="T35" fmla="*/ 467 h 1846"/>
                <a:gd name="T36" fmla="*/ 4155 w 5034"/>
                <a:gd name="T37" fmla="*/ 410 h 1846"/>
                <a:gd name="T38" fmla="*/ 4778 w 5034"/>
                <a:gd name="T39" fmla="*/ 1257 h 1846"/>
                <a:gd name="T40" fmla="*/ 4798 w 5034"/>
                <a:gd name="T41" fmla="*/ 1305 h 1846"/>
                <a:gd name="T42" fmla="*/ 4857 w 5034"/>
                <a:gd name="T43" fmla="*/ 1452 h 1846"/>
                <a:gd name="T44" fmla="*/ 5028 w 5034"/>
                <a:gd name="T45" fmla="*/ 1846 h 1846"/>
                <a:gd name="T46" fmla="*/ 5034 w 5034"/>
                <a:gd name="T47" fmla="*/ 1845 h 1846"/>
                <a:gd name="T48" fmla="*/ 4863 w 5034"/>
                <a:gd name="T49" fmla="*/ 1450 h 18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034" h="1846">
                  <a:moveTo>
                    <a:pt x="4863" y="1450"/>
                  </a:moveTo>
                  <a:cubicBezTo>
                    <a:pt x="4842" y="1398"/>
                    <a:pt x="4823" y="1350"/>
                    <a:pt x="4804" y="1303"/>
                  </a:cubicBezTo>
                  <a:cubicBezTo>
                    <a:pt x="4797" y="1287"/>
                    <a:pt x="4791" y="1271"/>
                    <a:pt x="4784" y="1255"/>
                  </a:cubicBezTo>
                  <a:cubicBezTo>
                    <a:pt x="4655" y="940"/>
                    <a:pt x="4494" y="549"/>
                    <a:pt x="4157" y="404"/>
                  </a:cubicBezTo>
                  <a:cubicBezTo>
                    <a:pt x="3825" y="262"/>
                    <a:pt x="3409" y="372"/>
                    <a:pt x="3075" y="461"/>
                  </a:cubicBezTo>
                  <a:cubicBezTo>
                    <a:pt x="3045" y="469"/>
                    <a:pt x="3016" y="477"/>
                    <a:pt x="2988" y="484"/>
                  </a:cubicBezTo>
                  <a:cubicBezTo>
                    <a:pt x="2912" y="504"/>
                    <a:pt x="2836" y="526"/>
                    <a:pt x="2755" y="549"/>
                  </a:cubicBezTo>
                  <a:cubicBezTo>
                    <a:pt x="2406" y="648"/>
                    <a:pt x="2045" y="751"/>
                    <a:pt x="1699" y="697"/>
                  </a:cubicBezTo>
                  <a:cubicBezTo>
                    <a:pt x="1452" y="658"/>
                    <a:pt x="1202" y="537"/>
                    <a:pt x="960" y="421"/>
                  </a:cubicBezTo>
                  <a:cubicBezTo>
                    <a:pt x="864" y="374"/>
                    <a:pt x="772" y="330"/>
                    <a:pt x="682" y="29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679" y="297"/>
                    <a:pt x="679" y="297"/>
                    <a:pt x="679" y="297"/>
                  </a:cubicBezTo>
                  <a:cubicBezTo>
                    <a:pt x="770" y="336"/>
                    <a:pt x="861" y="380"/>
                    <a:pt x="958" y="426"/>
                  </a:cubicBezTo>
                  <a:cubicBezTo>
                    <a:pt x="1200" y="543"/>
                    <a:pt x="1450" y="664"/>
                    <a:pt x="1698" y="703"/>
                  </a:cubicBezTo>
                  <a:cubicBezTo>
                    <a:pt x="2045" y="758"/>
                    <a:pt x="2407" y="654"/>
                    <a:pt x="2756" y="555"/>
                  </a:cubicBezTo>
                  <a:cubicBezTo>
                    <a:pt x="2837" y="532"/>
                    <a:pt x="2914" y="510"/>
                    <a:pt x="2990" y="490"/>
                  </a:cubicBezTo>
                  <a:cubicBezTo>
                    <a:pt x="3018" y="483"/>
                    <a:pt x="3047" y="475"/>
                    <a:pt x="3076" y="467"/>
                  </a:cubicBezTo>
                  <a:cubicBezTo>
                    <a:pt x="3409" y="378"/>
                    <a:pt x="3824" y="268"/>
                    <a:pt x="4155" y="410"/>
                  </a:cubicBezTo>
                  <a:cubicBezTo>
                    <a:pt x="4489" y="554"/>
                    <a:pt x="4649" y="944"/>
                    <a:pt x="4778" y="1257"/>
                  </a:cubicBezTo>
                  <a:cubicBezTo>
                    <a:pt x="4785" y="1273"/>
                    <a:pt x="4792" y="1289"/>
                    <a:pt x="4798" y="1305"/>
                  </a:cubicBezTo>
                  <a:cubicBezTo>
                    <a:pt x="4818" y="1352"/>
                    <a:pt x="4837" y="1401"/>
                    <a:pt x="4857" y="1452"/>
                  </a:cubicBezTo>
                  <a:cubicBezTo>
                    <a:pt x="4908" y="1581"/>
                    <a:pt x="4962" y="1718"/>
                    <a:pt x="5028" y="1846"/>
                  </a:cubicBezTo>
                  <a:cubicBezTo>
                    <a:pt x="5034" y="1845"/>
                    <a:pt x="5034" y="1845"/>
                    <a:pt x="5034" y="1845"/>
                  </a:cubicBezTo>
                  <a:cubicBezTo>
                    <a:pt x="4968" y="1716"/>
                    <a:pt x="4914" y="1579"/>
                    <a:pt x="4863" y="1450"/>
                  </a:cubicBezTo>
                  <a:close/>
                </a:path>
              </a:pathLst>
            </a:custGeom>
            <a:solidFill>
              <a:srgbClr val="CCCE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6" name="Freeform 55"/>
            <p:cNvSpPr>
              <a:spLocks/>
            </p:cNvSpPr>
            <p:nvPr userDrawn="1"/>
          </p:nvSpPr>
          <p:spPr bwMode="auto">
            <a:xfrm>
              <a:off x="-792" y="1831112"/>
              <a:ext cx="7800664" cy="2995199"/>
            </a:xfrm>
            <a:custGeom>
              <a:avLst/>
              <a:gdLst>
                <a:gd name="T0" fmla="*/ 4862 w 5116"/>
                <a:gd name="T1" fmla="*/ 1408 h 1963"/>
                <a:gd name="T2" fmla="*/ 4150 w 5116"/>
                <a:gd name="T3" fmla="*/ 438 h 1963"/>
                <a:gd name="T4" fmla="*/ 3074 w 5116"/>
                <a:gd name="T5" fmla="*/ 493 h 1963"/>
                <a:gd name="T6" fmla="*/ 3004 w 5116"/>
                <a:gd name="T7" fmla="*/ 512 h 1963"/>
                <a:gd name="T8" fmla="*/ 2779 w 5116"/>
                <a:gd name="T9" fmla="*/ 575 h 1963"/>
                <a:gd name="T10" fmla="*/ 1743 w 5116"/>
                <a:gd name="T11" fmla="*/ 719 h 1963"/>
                <a:gd name="T12" fmla="*/ 1011 w 5116"/>
                <a:gd name="T13" fmla="*/ 442 h 1963"/>
                <a:gd name="T14" fmla="*/ 729 w 5116"/>
                <a:gd name="T15" fmla="*/ 312 h 1963"/>
                <a:gd name="T16" fmla="*/ 0 w 5116"/>
                <a:gd name="T17" fmla="*/ 0 h 1963"/>
                <a:gd name="T18" fmla="*/ 0 w 5116"/>
                <a:gd name="T19" fmla="*/ 7 h 1963"/>
                <a:gd name="T20" fmla="*/ 727 w 5116"/>
                <a:gd name="T21" fmla="*/ 317 h 1963"/>
                <a:gd name="T22" fmla="*/ 1008 w 5116"/>
                <a:gd name="T23" fmla="*/ 448 h 1963"/>
                <a:gd name="T24" fmla="*/ 1742 w 5116"/>
                <a:gd name="T25" fmla="*/ 725 h 1963"/>
                <a:gd name="T26" fmla="*/ 2780 w 5116"/>
                <a:gd name="T27" fmla="*/ 581 h 1963"/>
                <a:gd name="T28" fmla="*/ 3006 w 5116"/>
                <a:gd name="T29" fmla="*/ 518 h 1963"/>
                <a:gd name="T30" fmla="*/ 3076 w 5116"/>
                <a:gd name="T31" fmla="*/ 499 h 1963"/>
                <a:gd name="T32" fmla="*/ 4147 w 5116"/>
                <a:gd name="T33" fmla="*/ 444 h 1963"/>
                <a:gd name="T34" fmla="*/ 4856 w 5116"/>
                <a:gd name="T35" fmla="*/ 1411 h 1963"/>
                <a:gd name="T36" fmla="*/ 5109 w 5116"/>
                <a:gd name="T37" fmla="*/ 1963 h 1963"/>
                <a:gd name="T38" fmla="*/ 5116 w 5116"/>
                <a:gd name="T39" fmla="*/ 1962 h 1963"/>
                <a:gd name="T40" fmla="*/ 4862 w 5116"/>
                <a:gd name="T41" fmla="*/ 1408 h 1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16" h="1963">
                  <a:moveTo>
                    <a:pt x="4862" y="1408"/>
                  </a:moveTo>
                  <a:cubicBezTo>
                    <a:pt x="4708" y="1015"/>
                    <a:pt x="4548" y="609"/>
                    <a:pt x="4150" y="438"/>
                  </a:cubicBezTo>
                  <a:cubicBezTo>
                    <a:pt x="3815" y="295"/>
                    <a:pt x="3422" y="400"/>
                    <a:pt x="3074" y="493"/>
                  </a:cubicBezTo>
                  <a:cubicBezTo>
                    <a:pt x="3051" y="499"/>
                    <a:pt x="3027" y="506"/>
                    <a:pt x="3004" y="512"/>
                  </a:cubicBezTo>
                  <a:cubicBezTo>
                    <a:pt x="2931" y="531"/>
                    <a:pt x="2857" y="552"/>
                    <a:pt x="2779" y="575"/>
                  </a:cubicBezTo>
                  <a:cubicBezTo>
                    <a:pt x="2436" y="674"/>
                    <a:pt x="2082" y="776"/>
                    <a:pt x="1743" y="719"/>
                  </a:cubicBezTo>
                  <a:cubicBezTo>
                    <a:pt x="1499" y="677"/>
                    <a:pt x="1251" y="558"/>
                    <a:pt x="1011" y="442"/>
                  </a:cubicBezTo>
                  <a:cubicBezTo>
                    <a:pt x="913" y="395"/>
                    <a:pt x="821" y="351"/>
                    <a:pt x="729" y="3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727" y="317"/>
                    <a:pt x="727" y="317"/>
                    <a:pt x="727" y="317"/>
                  </a:cubicBezTo>
                  <a:cubicBezTo>
                    <a:pt x="818" y="356"/>
                    <a:pt x="911" y="401"/>
                    <a:pt x="1008" y="448"/>
                  </a:cubicBezTo>
                  <a:cubicBezTo>
                    <a:pt x="1248" y="564"/>
                    <a:pt x="1497" y="683"/>
                    <a:pt x="1742" y="725"/>
                  </a:cubicBezTo>
                  <a:cubicBezTo>
                    <a:pt x="2083" y="783"/>
                    <a:pt x="2437" y="680"/>
                    <a:pt x="2780" y="581"/>
                  </a:cubicBezTo>
                  <a:cubicBezTo>
                    <a:pt x="2858" y="558"/>
                    <a:pt x="2932" y="537"/>
                    <a:pt x="3006" y="518"/>
                  </a:cubicBezTo>
                  <a:cubicBezTo>
                    <a:pt x="3029" y="512"/>
                    <a:pt x="3052" y="505"/>
                    <a:pt x="3076" y="499"/>
                  </a:cubicBezTo>
                  <a:cubicBezTo>
                    <a:pt x="3422" y="406"/>
                    <a:pt x="3815" y="301"/>
                    <a:pt x="4147" y="444"/>
                  </a:cubicBezTo>
                  <a:cubicBezTo>
                    <a:pt x="4544" y="614"/>
                    <a:pt x="4702" y="1019"/>
                    <a:pt x="4856" y="1411"/>
                  </a:cubicBezTo>
                  <a:cubicBezTo>
                    <a:pt x="4930" y="1600"/>
                    <a:pt x="5006" y="1794"/>
                    <a:pt x="5109" y="1963"/>
                  </a:cubicBezTo>
                  <a:cubicBezTo>
                    <a:pt x="5116" y="1962"/>
                    <a:pt x="5116" y="1962"/>
                    <a:pt x="5116" y="1962"/>
                  </a:cubicBezTo>
                  <a:cubicBezTo>
                    <a:pt x="5012" y="1793"/>
                    <a:pt x="4936" y="1599"/>
                    <a:pt x="4862" y="1408"/>
                  </a:cubicBezTo>
                  <a:close/>
                </a:path>
              </a:pathLst>
            </a:custGeom>
            <a:solidFill>
              <a:srgbClr val="CCCE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7" name="Freeform 56"/>
            <p:cNvSpPr>
              <a:spLocks/>
            </p:cNvSpPr>
            <p:nvPr userDrawn="1"/>
          </p:nvSpPr>
          <p:spPr bwMode="auto">
            <a:xfrm>
              <a:off x="-792" y="1630683"/>
              <a:ext cx="7949782" cy="3169972"/>
            </a:xfrm>
            <a:custGeom>
              <a:avLst/>
              <a:gdLst>
                <a:gd name="T0" fmla="*/ 4880 w 5213"/>
                <a:gd name="T1" fmla="*/ 1433 h 2077"/>
                <a:gd name="T2" fmla="*/ 4145 w 5213"/>
                <a:gd name="T3" fmla="*/ 469 h 2077"/>
                <a:gd name="T4" fmla="*/ 3076 w 5213"/>
                <a:gd name="T5" fmla="*/ 523 h 2077"/>
                <a:gd name="T6" fmla="*/ 3022 w 5213"/>
                <a:gd name="T7" fmla="*/ 538 h 2077"/>
                <a:gd name="T8" fmla="*/ 2804 w 5213"/>
                <a:gd name="T9" fmla="*/ 600 h 2077"/>
                <a:gd name="T10" fmla="*/ 1788 w 5213"/>
                <a:gd name="T11" fmla="*/ 740 h 2077"/>
                <a:gd name="T12" fmla="*/ 1062 w 5213"/>
                <a:gd name="T13" fmla="*/ 464 h 2077"/>
                <a:gd name="T14" fmla="*/ 777 w 5213"/>
                <a:gd name="T15" fmla="*/ 332 h 2077"/>
                <a:gd name="T16" fmla="*/ 0 w 5213"/>
                <a:gd name="T17" fmla="*/ 0 h 2077"/>
                <a:gd name="T18" fmla="*/ 0 w 5213"/>
                <a:gd name="T19" fmla="*/ 7 h 2077"/>
                <a:gd name="T20" fmla="*/ 774 w 5213"/>
                <a:gd name="T21" fmla="*/ 338 h 2077"/>
                <a:gd name="T22" fmla="*/ 1059 w 5213"/>
                <a:gd name="T23" fmla="*/ 470 h 2077"/>
                <a:gd name="T24" fmla="*/ 1787 w 5213"/>
                <a:gd name="T25" fmla="*/ 747 h 2077"/>
                <a:gd name="T26" fmla="*/ 2805 w 5213"/>
                <a:gd name="T27" fmla="*/ 606 h 2077"/>
                <a:gd name="T28" fmla="*/ 3024 w 5213"/>
                <a:gd name="T29" fmla="*/ 544 h 2077"/>
                <a:gd name="T30" fmla="*/ 3078 w 5213"/>
                <a:gd name="T31" fmla="*/ 529 h 2077"/>
                <a:gd name="T32" fmla="*/ 4143 w 5213"/>
                <a:gd name="T33" fmla="*/ 475 h 2077"/>
                <a:gd name="T34" fmla="*/ 4874 w 5213"/>
                <a:gd name="T35" fmla="*/ 1436 h 2077"/>
                <a:gd name="T36" fmla="*/ 5206 w 5213"/>
                <a:gd name="T37" fmla="*/ 2077 h 2077"/>
                <a:gd name="T38" fmla="*/ 5213 w 5213"/>
                <a:gd name="T39" fmla="*/ 2076 h 2077"/>
                <a:gd name="T40" fmla="*/ 4880 w 5213"/>
                <a:gd name="T41" fmla="*/ 1433 h 20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213" h="2077">
                  <a:moveTo>
                    <a:pt x="4880" y="1433"/>
                  </a:moveTo>
                  <a:cubicBezTo>
                    <a:pt x="4716" y="1044"/>
                    <a:pt x="4547" y="641"/>
                    <a:pt x="4145" y="469"/>
                  </a:cubicBezTo>
                  <a:cubicBezTo>
                    <a:pt x="3809" y="326"/>
                    <a:pt x="3419" y="431"/>
                    <a:pt x="3076" y="523"/>
                  </a:cubicBezTo>
                  <a:cubicBezTo>
                    <a:pt x="3058" y="528"/>
                    <a:pt x="3040" y="533"/>
                    <a:pt x="3022" y="538"/>
                  </a:cubicBezTo>
                  <a:cubicBezTo>
                    <a:pt x="2951" y="557"/>
                    <a:pt x="2879" y="578"/>
                    <a:pt x="2804" y="600"/>
                  </a:cubicBezTo>
                  <a:cubicBezTo>
                    <a:pt x="2468" y="698"/>
                    <a:pt x="2120" y="800"/>
                    <a:pt x="1788" y="740"/>
                  </a:cubicBezTo>
                  <a:cubicBezTo>
                    <a:pt x="1545" y="697"/>
                    <a:pt x="1299" y="578"/>
                    <a:pt x="1062" y="464"/>
                  </a:cubicBezTo>
                  <a:cubicBezTo>
                    <a:pt x="963" y="416"/>
                    <a:pt x="869" y="371"/>
                    <a:pt x="777" y="3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774" y="338"/>
                    <a:pt x="774" y="338"/>
                    <a:pt x="774" y="338"/>
                  </a:cubicBezTo>
                  <a:cubicBezTo>
                    <a:pt x="867" y="377"/>
                    <a:pt x="960" y="422"/>
                    <a:pt x="1059" y="470"/>
                  </a:cubicBezTo>
                  <a:cubicBezTo>
                    <a:pt x="1297" y="584"/>
                    <a:pt x="1543" y="703"/>
                    <a:pt x="1787" y="747"/>
                  </a:cubicBezTo>
                  <a:cubicBezTo>
                    <a:pt x="2120" y="807"/>
                    <a:pt x="2469" y="705"/>
                    <a:pt x="2805" y="606"/>
                  </a:cubicBezTo>
                  <a:cubicBezTo>
                    <a:pt x="2881" y="584"/>
                    <a:pt x="2952" y="563"/>
                    <a:pt x="3024" y="544"/>
                  </a:cubicBezTo>
                  <a:cubicBezTo>
                    <a:pt x="3041" y="539"/>
                    <a:pt x="3060" y="534"/>
                    <a:pt x="3078" y="529"/>
                  </a:cubicBezTo>
                  <a:cubicBezTo>
                    <a:pt x="3420" y="437"/>
                    <a:pt x="3808" y="332"/>
                    <a:pt x="4143" y="475"/>
                  </a:cubicBezTo>
                  <a:cubicBezTo>
                    <a:pt x="4542" y="646"/>
                    <a:pt x="4711" y="1047"/>
                    <a:pt x="4874" y="1436"/>
                  </a:cubicBezTo>
                  <a:cubicBezTo>
                    <a:pt x="4968" y="1660"/>
                    <a:pt x="5065" y="1889"/>
                    <a:pt x="5206" y="2077"/>
                  </a:cubicBezTo>
                  <a:cubicBezTo>
                    <a:pt x="5213" y="2076"/>
                    <a:pt x="5213" y="2076"/>
                    <a:pt x="5213" y="2076"/>
                  </a:cubicBezTo>
                  <a:cubicBezTo>
                    <a:pt x="5071" y="1888"/>
                    <a:pt x="4975" y="1658"/>
                    <a:pt x="4880" y="1433"/>
                  </a:cubicBezTo>
                  <a:close/>
                </a:path>
              </a:pathLst>
            </a:custGeom>
            <a:solidFill>
              <a:srgbClr val="CBCD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8" name="Freeform 57"/>
            <p:cNvSpPr>
              <a:spLocks/>
            </p:cNvSpPr>
            <p:nvPr userDrawn="1"/>
          </p:nvSpPr>
          <p:spPr bwMode="auto">
            <a:xfrm>
              <a:off x="-792" y="1431859"/>
              <a:ext cx="8122952" cy="3338331"/>
            </a:xfrm>
            <a:custGeom>
              <a:avLst/>
              <a:gdLst>
                <a:gd name="T0" fmla="*/ 4902 w 5327"/>
                <a:gd name="T1" fmla="*/ 1456 h 2188"/>
                <a:gd name="T2" fmla="*/ 4146 w 5327"/>
                <a:gd name="T3" fmla="*/ 496 h 2188"/>
                <a:gd name="T4" fmla="*/ 2889 w 5327"/>
                <a:gd name="T5" fmla="*/ 597 h 2188"/>
                <a:gd name="T6" fmla="*/ 1833 w 5327"/>
                <a:gd name="T7" fmla="*/ 762 h 2188"/>
                <a:gd name="T8" fmla="*/ 1112 w 5327"/>
                <a:gd name="T9" fmla="*/ 485 h 2188"/>
                <a:gd name="T10" fmla="*/ 824 w 5327"/>
                <a:gd name="T11" fmla="*/ 352 h 2188"/>
                <a:gd name="T12" fmla="*/ 0 w 5327"/>
                <a:gd name="T13" fmla="*/ 0 h 2188"/>
                <a:gd name="T14" fmla="*/ 0 w 5327"/>
                <a:gd name="T15" fmla="*/ 7 h 2188"/>
                <a:gd name="T16" fmla="*/ 821 w 5327"/>
                <a:gd name="T17" fmla="*/ 358 h 2188"/>
                <a:gd name="T18" fmla="*/ 1109 w 5327"/>
                <a:gd name="T19" fmla="*/ 491 h 2188"/>
                <a:gd name="T20" fmla="*/ 1832 w 5327"/>
                <a:gd name="T21" fmla="*/ 768 h 2188"/>
                <a:gd name="T22" fmla="*/ 2891 w 5327"/>
                <a:gd name="T23" fmla="*/ 603 h 2188"/>
                <a:gd name="T24" fmla="*/ 4143 w 5327"/>
                <a:gd name="T25" fmla="*/ 502 h 2188"/>
                <a:gd name="T26" fmla="*/ 4896 w 5327"/>
                <a:gd name="T27" fmla="*/ 1459 h 2188"/>
                <a:gd name="T28" fmla="*/ 5319 w 5327"/>
                <a:gd name="T29" fmla="*/ 2188 h 2188"/>
                <a:gd name="T30" fmla="*/ 5327 w 5327"/>
                <a:gd name="T31" fmla="*/ 2187 h 2188"/>
                <a:gd name="T32" fmla="*/ 4902 w 5327"/>
                <a:gd name="T33" fmla="*/ 1456 h 2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27" h="2188">
                  <a:moveTo>
                    <a:pt x="4902" y="1456"/>
                  </a:moveTo>
                  <a:cubicBezTo>
                    <a:pt x="4729" y="1069"/>
                    <a:pt x="4550" y="668"/>
                    <a:pt x="4146" y="496"/>
                  </a:cubicBezTo>
                  <a:cubicBezTo>
                    <a:pt x="3736" y="321"/>
                    <a:pt x="3306" y="461"/>
                    <a:pt x="2889" y="597"/>
                  </a:cubicBezTo>
                  <a:cubicBezTo>
                    <a:pt x="2541" y="710"/>
                    <a:pt x="2181" y="827"/>
                    <a:pt x="1833" y="762"/>
                  </a:cubicBezTo>
                  <a:cubicBezTo>
                    <a:pt x="1592" y="717"/>
                    <a:pt x="1348" y="599"/>
                    <a:pt x="1112" y="485"/>
                  </a:cubicBezTo>
                  <a:cubicBezTo>
                    <a:pt x="1012" y="437"/>
                    <a:pt x="918" y="392"/>
                    <a:pt x="824" y="35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821" y="358"/>
                    <a:pt x="821" y="358"/>
                    <a:pt x="821" y="358"/>
                  </a:cubicBezTo>
                  <a:cubicBezTo>
                    <a:pt x="915" y="398"/>
                    <a:pt x="1009" y="443"/>
                    <a:pt x="1109" y="491"/>
                  </a:cubicBezTo>
                  <a:cubicBezTo>
                    <a:pt x="1345" y="605"/>
                    <a:pt x="1590" y="723"/>
                    <a:pt x="1832" y="768"/>
                  </a:cubicBezTo>
                  <a:cubicBezTo>
                    <a:pt x="2182" y="834"/>
                    <a:pt x="2542" y="717"/>
                    <a:pt x="2891" y="603"/>
                  </a:cubicBezTo>
                  <a:cubicBezTo>
                    <a:pt x="3306" y="468"/>
                    <a:pt x="3736" y="328"/>
                    <a:pt x="4143" y="502"/>
                  </a:cubicBezTo>
                  <a:cubicBezTo>
                    <a:pt x="4545" y="674"/>
                    <a:pt x="4723" y="1073"/>
                    <a:pt x="4896" y="1459"/>
                  </a:cubicBezTo>
                  <a:cubicBezTo>
                    <a:pt x="5012" y="1720"/>
                    <a:pt x="5131" y="1987"/>
                    <a:pt x="5319" y="2188"/>
                  </a:cubicBezTo>
                  <a:cubicBezTo>
                    <a:pt x="5327" y="2187"/>
                    <a:pt x="5327" y="2187"/>
                    <a:pt x="5327" y="2187"/>
                  </a:cubicBezTo>
                  <a:cubicBezTo>
                    <a:pt x="5138" y="1986"/>
                    <a:pt x="5018" y="1718"/>
                    <a:pt x="4902" y="1456"/>
                  </a:cubicBezTo>
                  <a:close/>
                </a:path>
              </a:pathLst>
            </a:custGeom>
            <a:solidFill>
              <a:srgbClr val="CBCD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9" name="Freeform 58"/>
            <p:cNvSpPr>
              <a:spLocks/>
            </p:cNvSpPr>
            <p:nvPr userDrawn="1"/>
          </p:nvSpPr>
          <p:spPr bwMode="auto">
            <a:xfrm>
              <a:off x="-792" y="1231431"/>
              <a:ext cx="8329794" cy="3501881"/>
            </a:xfrm>
            <a:custGeom>
              <a:avLst/>
              <a:gdLst>
                <a:gd name="T0" fmla="*/ 4928 w 5463"/>
                <a:gd name="T1" fmla="*/ 1476 h 2295"/>
                <a:gd name="T2" fmla="*/ 4153 w 5463"/>
                <a:gd name="T3" fmla="*/ 516 h 2295"/>
                <a:gd name="T4" fmla="*/ 2920 w 5463"/>
                <a:gd name="T5" fmla="*/ 618 h 2295"/>
                <a:gd name="T6" fmla="*/ 1879 w 5463"/>
                <a:gd name="T7" fmla="*/ 783 h 2295"/>
                <a:gd name="T8" fmla="*/ 1161 w 5463"/>
                <a:gd name="T9" fmla="*/ 506 h 2295"/>
                <a:gd name="T10" fmla="*/ 871 w 5463"/>
                <a:gd name="T11" fmla="*/ 372 h 2295"/>
                <a:gd name="T12" fmla="*/ 0 w 5463"/>
                <a:gd name="T13" fmla="*/ 0 h 2295"/>
                <a:gd name="T14" fmla="*/ 0 w 5463"/>
                <a:gd name="T15" fmla="*/ 7 h 2295"/>
                <a:gd name="T16" fmla="*/ 869 w 5463"/>
                <a:gd name="T17" fmla="*/ 378 h 2295"/>
                <a:gd name="T18" fmla="*/ 1158 w 5463"/>
                <a:gd name="T19" fmla="*/ 512 h 2295"/>
                <a:gd name="T20" fmla="*/ 1878 w 5463"/>
                <a:gd name="T21" fmla="*/ 789 h 2295"/>
                <a:gd name="T22" fmla="*/ 2922 w 5463"/>
                <a:gd name="T23" fmla="*/ 625 h 2295"/>
                <a:gd name="T24" fmla="*/ 4150 w 5463"/>
                <a:gd name="T25" fmla="*/ 523 h 2295"/>
                <a:gd name="T26" fmla="*/ 4921 w 5463"/>
                <a:gd name="T27" fmla="*/ 1479 h 2295"/>
                <a:gd name="T28" fmla="*/ 5454 w 5463"/>
                <a:gd name="T29" fmla="*/ 2295 h 2295"/>
                <a:gd name="T30" fmla="*/ 5463 w 5463"/>
                <a:gd name="T31" fmla="*/ 2294 h 2295"/>
                <a:gd name="T32" fmla="*/ 4928 w 5463"/>
                <a:gd name="T33" fmla="*/ 1476 h 2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463" h="2295">
                  <a:moveTo>
                    <a:pt x="4928" y="1476"/>
                  </a:moveTo>
                  <a:cubicBezTo>
                    <a:pt x="4747" y="1090"/>
                    <a:pt x="4561" y="690"/>
                    <a:pt x="4153" y="516"/>
                  </a:cubicBezTo>
                  <a:cubicBezTo>
                    <a:pt x="3748" y="344"/>
                    <a:pt x="3327" y="483"/>
                    <a:pt x="2920" y="618"/>
                  </a:cubicBezTo>
                  <a:cubicBezTo>
                    <a:pt x="2578" y="732"/>
                    <a:pt x="2224" y="849"/>
                    <a:pt x="1879" y="783"/>
                  </a:cubicBezTo>
                  <a:cubicBezTo>
                    <a:pt x="1639" y="737"/>
                    <a:pt x="1396" y="619"/>
                    <a:pt x="1161" y="506"/>
                  </a:cubicBezTo>
                  <a:cubicBezTo>
                    <a:pt x="1060" y="458"/>
                    <a:pt x="966" y="412"/>
                    <a:pt x="871" y="37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869" y="378"/>
                    <a:pt x="869" y="378"/>
                    <a:pt x="869" y="378"/>
                  </a:cubicBezTo>
                  <a:cubicBezTo>
                    <a:pt x="963" y="418"/>
                    <a:pt x="1057" y="464"/>
                    <a:pt x="1158" y="512"/>
                  </a:cubicBezTo>
                  <a:cubicBezTo>
                    <a:pt x="1393" y="626"/>
                    <a:pt x="1637" y="743"/>
                    <a:pt x="1878" y="789"/>
                  </a:cubicBezTo>
                  <a:cubicBezTo>
                    <a:pt x="2224" y="856"/>
                    <a:pt x="2579" y="738"/>
                    <a:pt x="2922" y="625"/>
                  </a:cubicBezTo>
                  <a:cubicBezTo>
                    <a:pt x="3328" y="490"/>
                    <a:pt x="3748" y="351"/>
                    <a:pt x="4150" y="523"/>
                  </a:cubicBezTo>
                  <a:cubicBezTo>
                    <a:pt x="4555" y="695"/>
                    <a:pt x="4741" y="1094"/>
                    <a:pt x="4921" y="1479"/>
                  </a:cubicBezTo>
                  <a:cubicBezTo>
                    <a:pt x="5062" y="1780"/>
                    <a:pt x="5206" y="2089"/>
                    <a:pt x="5454" y="2295"/>
                  </a:cubicBezTo>
                  <a:cubicBezTo>
                    <a:pt x="5463" y="2294"/>
                    <a:pt x="5463" y="2294"/>
                    <a:pt x="5463" y="2294"/>
                  </a:cubicBezTo>
                  <a:cubicBezTo>
                    <a:pt x="5213" y="2088"/>
                    <a:pt x="5068" y="1778"/>
                    <a:pt x="4928" y="1476"/>
                  </a:cubicBezTo>
                  <a:close/>
                </a:path>
              </a:pathLst>
            </a:custGeom>
            <a:solidFill>
              <a:srgbClr val="CBCC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0" name="Freeform 59"/>
            <p:cNvSpPr>
              <a:spLocks/>
            </p:cNvSpPr>
            <p:nvPr userDrawn="1"/>
          </p:nvSpPr>
          <p:spPr bwMode="auto">
            <a:xfrm>
              <a:off x="-792" y="1029400"/>
              <a:ext cx="8578325" cy="3662224"/>
            </a:xfrm>
            <a:custGeom>
              <a:avLst/>
              <a:gdLst>
                <a:gd name="T0" fmla="*/ 5621 w 5625"/>
                <a:gd name="T1" fmla="*/ 2395 h 2399"/>
                <a:gd name="T2" fmla="*/ 4960 w 5625"/>
                <a:gd name="T3" fmla="*/ 1494 h 2399"/>
                <a:gd name="T4" fmla="*/ 4169 w 5625"/>
                <a:gd name="T5" fmla="*/ 529 h 2399"/>
                <a:gd name="T6" fmla="*/ 2953 w 5625"/>
                <a:gd name="T7" fmla="*/ 636 h 2399"/>
                <a:gd name="T8" fmla="*/ 1925 w 5625"/>
                <a:gd name="T9" fmla="*/ 804 h 2399"/>
                <a:gd name="T10" fmla="*/ 1208 w 5625"/>
                <a:gd name="T11" fmla="*/ 527 h 2399"/>
                <a:gd name="T12" fmla="*/ 919 w 5625"/>
                <a:gd name="T13" fmla="*/ 393 h 2399"/>
                <a:gd name="T14" fmla="*/ 0 w 5625"/>
                <a:gd name="T15" fmla="*/ 0 h 2399"/>
                <a:gd name="T16" fmla="*/ 0 w 5625"/>
                <a:gd name="T17" fmla="*/ 8 h 2399"/>
                <a:gd name="T18" fmla="*/ 916 w 5625"/>
                <a:gd name="T19" fmla="*/ 399 h 2399"/>
                <a:gd name="T20" fmla="*/ 1205 w 5625"/>
                <a:gd name="T21" fmla="*/ 534 h 2399"/>
                <a:gd name="T22" fmla="*/ 1924 w 5625"/>
                <a:gd name="T23" fmla="*/ 811 h 2399"/>
                <a:gd name="T24" fmla="*/ 2956 w 5625"/>
                <a:gd name="T25" fmla="*/ 643 h 2399"/>
                <a:gd name="T26" fmla="*/ 4166 w 5625"/>
                <a:gd name="T27" fmla="*/ 536 h 2399"/>
                <a:gd name="T28" fmla="*/ 4953 w 5625"/>
                <a:gd name="T29" fmla="*/ 1497 h 2399"/>
                <a:gd name="T30" fmla="*/ 5614 w 5625"/>
                <a:gd name="T31" fmla="*/ 2399 h 2399"/>
                <a:gd name="T32" fmla="*/ 5625 w 5625"/>
                <a:gd name="T33" fmla="*/ 2397 h 2399"/>
                <a:gd name="T34" fmla="*/ 5621 w 5625"/>
                <a:gd name="T35" fmla="*/ 2395 h 2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625" h="2399">
                  <a:moveTo>
                    <a:pt x="5621" y="2395"/>
                  </a:moveTo>
                  <a:cubicBezTo>
                    <a:pt x="5297" y="2195"/>
                    <a:pt x="5125" y="1839"/>
                    <a:pt x="4960" y="1494"/>
                  </a:cubicBezTo>
                  <a:cubicBezTo>
                    <a:pt x="4773" y="1106"/>
                    <a:pt x="4580" y="704"/>
                    <a:pt x="4169" y="529"/>
                  </a:cubicBezTo>
                  <a:cubicBezTo>
                    <a:pt x="3768" y="359"/>
                    <a:pt x="3354" y="500"/>
                    <a:pt x="2953" y="636"/>
                  </a:cubicBezTo>
                  <a:cubicBezTo>
                    <a:pt x="2616" y="751"/>
                    <a:pt x="2267" y="869"/>
                    <a:pt x="1925" y="804"/>
                  </a:cubicBezTo>
                  <a:cubicBezTo>
                    <a:pt x="1686" y="758"/>
                    <a:pt x="1443" y="641"/>
                    <a:pt x="1208" y="527"/>
                  </a:cubicBezTo>
                  <a:cubicBezTo>
                    <a:pt x="1108" y="479"/>
                    <a:pt x="1013" y="433"/>
                    <a:pt x="919" y="39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16" y="399"/>
                    <a:pt x="916" y="399"/>
                    <a:pt x="916" y="399"/>
                  </a:cubicBezTo>
                  <a:cubicBezTo>
                    <a:pt x="1010" y="440"/>
                    <a:pt x="1105" y="485"/>
                    <a:pt x="1205" y="534"/>
                  </a:cubicBezTo>
                  <a:cubicBezTo>
                    <a:pt x="1440" y="647"/>
                    <a:pt x="1684" y="764"/>
                    <a:pt x="1924" y="811"/>
                  </a:cubicBezTo>
                  <a:cubicBezTo>
                    <a:pt x="2268" y="877"/>
                    <a:pt x="2617" y="758"/>
                    <a:pt x="2956" y="643"/>
                  </a:cubicBezTo>
                  <a:cubicBezTo>
                    <a:pt x="3355" y="507"/>
                    <a:pt x="3768" y="366"/>
                    <a:pt x="4166" y="536"/>
                  </a:cubicBezTo>
                  <a:cubicBezTo>
                    <a:pt x="4575" y="709"/>
                    <a:pt x="4767" y="1110"/>
                    <a:pt x="4953" y="1497"/>
                  </a:cubicBezTo>
                  <a:cubicBezTo>
                    <a:pt x="5119" y="1842"/>
                    <a:pt x="5291" y="2198"/>
                    <a:pt x="5614" y="2399"/>
                  </a:cubicBezTo>
                  <a:cubicBezTo>
                    <a:pt x="5625" y="2397"/>
                    <a:pt x="5625" y="2397"/>
                    <a:pt x="5625" y="2397"/>
                  </a:cubicBezTo>
                  <a:cubicBezTo>
                    <a:pt x="5623" y="2396"/>
                    <a:pt x="5622" y="2396"/>
                    <a:pt x="5621" y="2395"/>
                  </a:cubicBezTo>
                  <a:close/>
                </a:path>
              </a:pathLst>
            </a:custGeom>
            <a:solidFill>
              <a:srgbClr val="CACC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1" name="Freeform 60"/>
            <p:cNvSpPr>
              <a:spLocks/>
            </p:cNvSpPr>
            <p:nvPr userDrawn="1"/>
          </p:nvSpPr>
          <p:spPr bwMode="auto">
            <a:xfrm>
              <a:off x="-792" y="830575"/>
              <a:ext cx="8862131" cy="3809739"/>
            </a:xfrm>
            <a:custGeom>
              <a:avLst/>
              <a:gdLst>
                <a:gd name="T0" fmla="*/ 5668 w 5812"/>
                <a:gd name="T1" fmla="*/ 2414 h 2497"/>
                <a:gd name="T2" fmla="*/ 4999 w 5812"/>
                <a:gd name="T3" fmla="*/ 1506 h 2497"/>
                <a:gd name="T4" fmla="*/ 4196 w 5812"/>
                <a:gd name="T5" fmla="*/ 531 h 2497"/>
                <a:gd name="T6" fmla="*/ 2990 w 5812"/>
                <a:gd name="T7" fmla="*/ 647 h 2497"/>
                <a:gd name="T8" fmla="*/ 1973 w 5812"/>
                <a:gd name="T9" fmla="*/ 823 h 2497"/>
                <a:gd name="T10" fmla="*/ 1254 w 5812"/>
                <a:gd name="T11" fmla="*/ 547 h 2497"/>
                <a:gd name="T12" fmla="*/ 966 w 5812"/>
                <a:gd name="T13" fmla="*/ 413 h 2497"/>
                <a:gd name="T14" fmla="*/ 0 w 5812"/>
                <a:gd name="T15" fmla="*/ 0 h 2497"/>
                <a:gd name="T16" fmla="*/ 0 w 5812"/>
                <a:gd name="T17" fmla="*/ 8 h 2497"/>
                <a:gd name="T18" fmla="*/ 963 w 5812"/>
                <a:gd name="T19" fmla="*/ 420 h 2497"/>
                <a:gd name="T20" fmla="*/ 1251 w 5812"/>
                <a:gd name="T21" fmla="*/ 554 h 2497"/>
                <a:gd name="T22" fmla="*/ 1971 w 5812"/>
                <a:gd name="T23" fmla="*/ 830 h 2497"/>
                <a:gd name="T24" fmla="*/ 2993 w 5812"/>
                <a:gd name="T25" fmla="*/ 653 h 2497"/>
                <a:gd name="T26" fmla="*/ 4193 w 5812"/>
                <a:gd name="T27" fmla="*/ 538 h 2497"/>
                <a:gd name="T28" fmla="*/ 4993 w 5812"/>
                <a:gd name="T29" fmla="*/ 1509 h 2497"/>
                <a:gd name="T30" fmla="*/ 5664 w 5812"/>
                <a:gd name="T31" fmla="*/ 2420 h 2497"/>
                <a:gd name="T32" fmla="*/ 5801 w 5812"/>
                <a:gd name="T33" fmla="*/ 2497 h 2497"/>
                <a:gd name="T34" fmla="*/ 5812 w 5812"/>
                <a:gd name="T35" fmla="*/ 2495 h 2497"/>
                <a:gd name="T36" fmla="*/ 5668 w 5812"/>
                <a:gd name="T37" fmla="*/ 2414 h 2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12" h="2497">
                  <a:moveTo>
                    <a:pt x="5668" y="2414"/>
                  </a:moveTo>
                  <a:cubicBezTo>
                    <a:pt x="5344" y="2212"/>
                    <a:pt x="5168" y="1853"/>
                    <a:pt x="4999" y="1506"/>
                  </a:cubicBezTo>
                  <a:cubicBezTo>
                    <a:pt x="4808" y="1113"/>
                    <a:pt x="4610" y="707"/>
                    <a:pt x="4196" y="531"/>
                  </a:cubicBezTo>
                  <a:cubicBezTo>
                    <a:pt x="3797" y="362"/>
                    <a:pt x="3387" y="506"/>
                    <a:pt x="2990" y="647"/>
                  </a:cubicBezTo>
                  <a:cubicBezTo>
                    <a:pt x="2657" y="764"/>
                    <a:pt x="2312" y="886"/>
                    <a:pt x="1973" y="823"/>
                  </a:cubicBezTo>
                  <a:cubicBezTo>
                    <a:pt x="1733" y="778"/>
                    <a:pt x="1490" y="661"/>
                    <a:pt x="1254" y="547"/>
                  </a:cubicBezTo>
                  <a:cubicBezTo>
                    <a:pt x="1154" y="499"/>
                    <a:pt x="1060" y="453"/>
                    <a:pt x="966" y="4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63" y="420"/>
                    <a:pt x="963" y="420"/>
                    <a:pt x="963" y="420"/>
                  </a:cubicBezTo>
                  <a:cubicBezTo>
                    <a:pt x="1057" y="460"/>
                    <a:pt x="1151" y="505"/>
                    <a:pt x="1251" y="554"/>
                  </a:cubicBezTo>
                  <a:cubicBezTo>
                    <a:pt x="1487" y="667"/>
                    <a:pt x="1731" y="785"/>
                    <a:pt x="1971" y="830"/>
                  </a:cubicBezTo>
                  <a:cubicBezTo>
                    <a:pt x="2312" y="894"/>
                    <a:pt x="2658" y="771"/>
                    <a:pt x="2993" y="653"/>
                  </a:cubicBezTo>
                  <a:cubicBezTo>
                    <a:pt x="3388" y="514"/>
                    <a:pt x="3797" y="369"/>
                    <a:pt x="4193" y="538"/>
                  </a:cubicBezTo>
                  <a:cubicBezTo>
                    <a:pt x="4605" y="713"/>
                    <a:pt x="4802" y="1117"/>
                    <a:pt x="4993" y="1509"/>
                  </a:cubicBezTo>
                  <a:cubicBezTo>
                    <a:pt x="5162" y="1857"/>
                    <a:pt x="5338" y="2217"/>
                    <a:pt x="5664" y="2420"/>
                  </a:cubicBezTo>
                  <a:cubicBezTo>
                    <a:pt x="5708" y="2447"/>
                    <a:pt x="5754" y="2473"/>
                    <a:pt x="5801" y="2497"/>
                  </a:cubicBezTo>
                  <a:cubicBezTo>
                    <a:pt x="5812" y="2495"/>
                    <a:pt x="5812" y="2495"/>
                    <a:pt x="5812" y="2495"/>
                  </a:cubicBezTo>
                  <a:cubicBezTo>
                    <a:pt x="5763" y="2470"/>
                    <a:pt x="5714" y="2443"/>
                    <a:pt x="5668" y="2414"/>
                  </a:cubicBezTo>
                  <a:close/>
                </a:path>
              </a:pathLst>
            </a:custGeom>
            <a:solidFill>
              <a:srgbClr val="CACB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2" name="Freeform 61"/>
            <p:cNvSpPr>
              <a:spLocks/>
            </p:cNvSpPr>
            <p:nvPr userDrawn="1"/>
          </p:nvSpPr>
          <p:spPr bwMode="auto">
            <a:xfrm>
              <a:off x="-792" y="630146"/>
              <a:ext cx="9171592" cy="3957254"/>
            </a:xfrm>
            <a:custGeom>
              <a:avLst/>
              <a:gdLst>
                <a:gd name="T0" fmla="*/ 5717 w 6015"/>
                <a:gd name="T1" fmla="*/ 2433 h 2593"/>
                <a:gd name="T2" fmla="*/ 5048 w 6015"/>
                <a:gd name="T3" fmla="*/ 1512 h 2593"/>
                <a:gd name="T4" fmla="*/ 4236 w 6015"/>
                <a:gd name="T5" fmla="*/ 521 h 2593"/>
                <a:gd name="T6" fmla="*/ 3031 w 6015"/>
                <a:gd name="T7" fmla="*/ 650 h 2593"/>
                <a:gd name="T8" fmla="*/ 2021 w 6015"/>
                <a:gd name="T9" fmla="*/ 841 h 2593"/>
                <a:gd name="T10" fmla="*/ 1299 w 6015"/>
                <a:gd name="T11" fmla="*/ 566 h 2593"/>
                <a:gd name="T12" fmla="*/ 1014 w 6015"/>
                <a:gd name="T13" fmla="*/ 433 h 2593"/>
                <a:gd name="T14" fmla="*/ 0 w 6015"/>
                <a:gd name="T15" fmla="*/ 0 h 2593"/>
                <a:gd name="T16" fmla="*/ 0 w 6015"/>
                <a:gd name="T17" fmla="*/ 8 h 2593"/>
                <a:gd name="T18" fmla="*/ 1011 w 6015"/>
                <a:gd name="T19" fmla="*/ 440 h 2593"/>
                <a:gd name="T20" fmla="*/ 1296 w 6015"/>
                <a:gd name="T21" fmla="*/ 573 h 2593"/>
                <a:gd name="T22" fmla="*/ 2020 w 6015"/>
                <a:gd name="T23" fmla="*/ 848 h 2593"/>
                <a:gd name="T24" fmla="*/ 3034 w 6015"/>
                <a:gd name="T25" fmla="*/ 657 h 2593"/>
                <a:gd name="T26" fmla="*/ 4233 w 6015"/>
                <a:gd name="T27" fmla="*/ 528 h 2593"/>
                <a:gd name="T28" fmla="*/ 5041 w 6015"/>
                <a:gd name="T29" fmla="*/ 1515 h 2593"/>
                <a:gd name="T30" fmla="*/ 5713 w 6015"/>
                <a:gd name="T31" fmla="*/ 2439 h 2593"/>
                <a:gd name="T32" fmla="*/ 6002 w 6015"/>
                <a:gd name="T33" fmla="*/ 2593 h 2593"/>
                <a:gd name="T34" fmla="*/ 6015 w 6015"/>
                <a:gd name="T35" fmla="*/ 2590 h 2593"/>
                <a:gd name="T36" fmla="*/ 5717 w 6015"/>
                <a:gd name="T37" fmla="*/ 2433 h 25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015" h="2593">
                  <a:moveTo>
                    <a:pt x="5717" y="2433"/>
                  </a:moveTo>
                  <a:cubicBezTo>
                    <a:pt x="5394" y="2227"/>
                    <a:pt x="5218" y="1864"/>
                    <a:pt x="5048" y="1512"/>
                  </a:cubicBezTo>
                  <a:cubicBezTo>
                    <a:pt x="4854" y="1112"/>
                    <a:pt x="4654" y="698"/>
                    <a:pt x="4236" y="521"/>
                  </a:cubicBezTo>
                  <a:cubicBezTo>
                    <a:pt x="3838" y="352"/>
                    <a:pt x="3428" y="503"/>
                    <a:pt x="3031" y="650"/>
                  </a:cubicBezTo>
                  <a:cubicBezTo>
                    <a:pt x="2700" y="773"/>
                    <a:pt x="2358" y="900"/>
                    <a:pt x="2021" y="841"/>
                  </a:cubicBezTo>
                  <a:cubicBezTo>
                    <a:pt x="1781" y="799"/>
                    <a:pt x="1536" y="681"/>
                    <a:pt x="1299" y="566"/>
                  </a:cubicBezTo>
                  <a:cubicBezTo>
                    <a:pt x="1200" y="518"/>
                    <a:pt x="1106" y="473"/>
                    <a:pt x="1014" y="43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011" y="440"/>
                    <a:pt x="1011" y="440"/>
                    <a:pt x="1011" y="440"/>
                  </a:cubicBezTo>
                  <a:cubicBezTo>
                    <a:pt x="1103" y="479"/>
                    <a:pt x="1197" y="525"/>
                    <a:pt x="1296" y="573"/>
                  </a:cubicBezTo>
                  <a:cubicBezTo>
                    <a:pt x="1533" y="687"/>
                    <a:pt x="1778" y="806"/>
                    <a:pt x="2020" y="848"/>
                  </a:cubicBezTo>
                  <a:cubicBezTo>
                    <a:pt x="2358" y="907"/>
                    <a:pt x="2702" y="780"/>
                    <a:pt x="3034" y="657"/>
                  </a:cubicBezTo>
                  <a:cubicBezTo>
                    <a:pt x="3429" y="511"/>
                    <a:pt x="3838" y="359"/>
                    <a:pt x="4233" y="528"/>
                  </a:cubicBezTo>
                  <a:cubicBezTo>
                    <a:pt x="4648" y="704"/>
                    <a:pt x="4848" y="1117"/>
                    <a:pt x="5041" y="1515"/>
                  </a:cubicBezTo>
                  <a:cubicBezTo>
                    <a:pt x="5212" y="1868"/>
                    <a:pt x="5388" y="2232"/>
                    <a:pt x="5713" y="2439"/>
                  </a:cubicBezTo>
                  <a:cubicBezTo>
                    <a:pt x="5803" y="2497"/>
                    <a:pt x="5900" y="2547"/>
                    <a:pt x="6002" y="2593"/>
                  </a:cubicBezTo>
                  <a:cubicBezTo>
                    <a:pt x="6015" y="2590"/>
                    <a:pt x="6015" y="2590"/>
                    <a:pt x="6015" y="2590"/>
                  </a:cubicBezTo>
                  <a:cubicBezTo>
                    <a:pt x="5910" y="2543"/>
                    <a:pt x="5809" y="2492"/>
                    <a:pt x="5717" y="2433"/>
                  </a:cubicBezTo>
                  <a:close/>
                </a:path>
              </a:pathLst>
            </a:custGeom>
            <a:solidFill>
              <a:srgbClr val="C9CB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3" name="Freeform 62"/>
            <p:cNvSpPr>
              <a:spLocks/>
            </p:cNvSpPr>
            <p:nvPr userDrawn="1"/>
          </p:nvSpPr>
          <p:spPr bwMode="auto">
            <a:xfrm>
              <a:off x="-792" y="429718"/>
              <a:ext cx="9501898" cy="4099958"/>
            </a:xfrm>
            <a:custGeom>
              <a:avLst/>
              <a:gdLst>
                <a:gd name="T0" fmla="*/ 5766 w 6231"/>
                <a:gd name="T1" fmla="*/ 2451 h 2686"/>
                <a:gd name="T2" fmla="*/ 5137 w 6231"/>
                <a:gd name="T3" fmla="*/ 1595 h 2686"/>
                <a:gd name="T4" fmla="*/ 5049 w 6231"/>
                <a:gd name="T5" fmla="*/ 1426 h 2686"/>
                <a:gd name="T6" fmla="*/ 5007 w 6231"/>
                <a:gd name="T7" fmla="*/ 1347 h 2686"/>
                <a:gd name="T8" fmla="*/ 4291 w 6231"/>
                <a:gd name="T9" fmla="*/ 497 h 2686"/>
                <a:gd name="T10" fmla="*/ 3257 w 6231"/>
                <a:gd name="T11" fmla="*/ 595 h 2686"/>
                <a:gd name="T12" fmla="*/ 3225 w 6231"/>
                <a:gd name="T13" fmla="*/ 606 h 2686"/>
                <a:gd name="T14" fmla="*/ 3032 w 6231"/>
                <a:gd name="T15" fmla="*/ 674 h 2686"/>
                <a:gd name="T16" fmla="*/ 2071 w 6231"/>
                <a:gd name="T17" fmla="*/ 858 h 2686"/>
                <a:gd name="T18" fmla="*/ 1341 w 6231"/>
                <a:gd name="T19" fmla="*/ 584 h 2686"/>
                <a:gd name="T20" fmla="*/ 1061 w 6231"/>
                <a:gd name="T21" fmla="*/ 453 h 2686"/>
                <a:gd name="T22" fmla="*/ 0 w 6231"/>
                <a:gd name="T23" fmla="*/ 0 h 2686"/>
                <a:gd name="T24" fmla="*/ 0 w 6231"/>
                <a:gd name="T25" fmla="*/ 8 h 2686"/>
                <a:gd name="T26" fmla="*/ 1058 w 6231"/>
                <a:gd name="T27" fmla="*/ 460 h 2686"/>
                <a:gd name="T28" fmla="*/ 1338 w 6231"/>
                <a:gd name="T29" fmla="*/ 591 h 2686"/>
                <a:gd name="T30" fmla="*/ 2070 w 6231"/>
                <a:gd name="T31" fmla="*/ 865 h 2686"/>
                <a:gd name="T32" fmla="*/ 3035 w 6231"/>
                <a:gd name="T33" fmla="*/ 681 h 2686"/>
                <a:gd name="T34" fmla="*/ 3228 w 6231"/>
                <a:gd name="T35" fmla="*/ 613 h 2686"/>
                <a:gd name="T36" fmla="*/ 3259 w 6231"/>
                <a:gd name="T37" fmla="*/ 602 h 2686"/>
                <a:gd name="T38" fmla="*/ 4288 w 6231"/>
                <a:gd name="T39" fmla="*/ 504 h 2686"/>
                <a:gd name="T40" fmla="*/ 5000 w 6231"/>
                <a:gd name="T41" fmla="*/ 1350 h 2686"/>
                <a:gd name="T42" fmla="*/ 5042 w 6231"/>
                <a:gd name="T43" fmla="*/ 1430 h 2686"/>
                <a:gd name="T44" fmla="*/ 5130 w 6231"/>
                <a:gd name="T45" fmla="*/ 1598 h 2686"/>
                <a:gd name="T46" fmla="*/ 5762 w 6231"/>
                <a:gd name="T47" fmla="*/ 2457 h 2686"/>
                <a:gd name="T48" fmla="*/ 6217 w 6231"/>
                <a:gd name="T49" fmla="*/ 2686 h 2686"/>
                <a:gd name="T50" fmla="*/ 6231 w 6231"/>
                <a:gd name="T51" fmla="*/ 2683 h 2686"/>
                <a:gd name="T52" fmla="*/ 5766 w 6231"/>
                <a:gd name="T53" fmla="*/ 2451 h 2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231" h="2686">
                  <a:moveTo>
                    <a:pt x="5766" y="2451"/>
                  </a:moveTo>
                  <a:cubicBezTo>
                    <a:pt x="5475" y="2257"/>
                    <a:pt x="5295" y="1905"/>
                    <a:pt x="5137" y="1595"/>
                  </a:cubicBezTo>
                  <a:cubicBezTo>
                    <a:pt x="5106" y="1536"/>
                    <a:pt x="5078" y="1481"/>
                    <a:pt x="5049" y="1426"/>
                  </a:cubicBezTo>
                  <a:cubicBezTo>
                    <a:pt x="5035" y="1400"/>
                    <a:pt x="5021" y="1374"/>
                    <a:pt x="5007" y="1347"/>
                  </a:cubicBezTo>
                  <a:cubicBezTo>
                    <a:pt x="4833" y="1017"/>
                    <a:pt x="4636" y="643"/>
                    <a:pt x="4291" y="497"/>
                  </a:cubicBezTo>
                  <a:cubicBezTo>
                    <a:pt x="3960" y="356"/>
                    <a:pt x="3587" y="483"/>
                    <a:pt x="3257" y="595"/>
                  </a:cubicBezTo>
                  <a:cubicBezTo>
                    <a:pt x="3225" y="606"/>
                    <a:pt x="3225" y="606"/>
                    <a:pt x="3225" y="606"/>
                  </a:cubicBezTo>
                  <a:cubicBezTo>
                    <a:pt x="3162" y="627"/>
                    <a:pt x="3099" y="650"/>
                    <a:pt x="3032" y="674"/>
                  </a:cubicBezTo>
                  <a:cubicBezTo>
                    <a:pt x="2717" y="789"/>
                    <a:pt x="2391" y="907"/>
                    <a:pt x="2071" y="858"/>
                  </a:cubicBezTo>
                  <a:cubicBezTo>
                    <a:pt x="1829" y="821"/>
                    <a:pt x="1581" y="700"/>
                    <a:pt x="1341" y="584"/>
                  </a:cubicBezTo>
                  <a:cubicBezTo>
                    <a:pt x="1244" y="537"/>
                    <a:pt x="1152" y="492"/>
                    <a:pt x="1061" y="45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058" y="460"/>
                    <a:pt x="1058" y="460"/>
                    <a:pt x="1058" y="460"/>
                  </a:cubicBezTo>
                  <a:cubicBezTo>
                    <a:pt x="1149" y="499"/>
                    <a:pt x="1241" y="544"/>
                    <a:pt x="1338" y="591"/>
                  </a:cubicBezTo>
                  <a:cubicBezTo>
                    <a:pt x="1578" y="707"/>
                    <a:pt x="1826" y="828"/>
                    <a:pt x="2070" y="865"/>
                  </a:cubicBezTo>
                  <a:cubicBezTo>
                    <a:pt x="2392" y="915"/>
                    <a:pt x="2719" y="796"/>
                    <a:pt x="3035" y="681"/>
                  </a:cubicBezTo>
                  <a:cubicBezTo>
                    <a:pt x="3102" y="657"/>
                    <a:pt x="3165" y="634"/>
                    <a:pt x="3228" y="613"/>
                  </a:cubicBezTo>
                  <a:cubicBezTo>
                    <a:pt x="3259" y="602"/>
                    <a:pt x="3259" y="602"/>
                    <a:pt x="3259" y="602"/>
                  </a:cubicBezTo>
                  <a:cubicBezTo>
                    <a:pt x="3588" y="490"/>
                    <a:pt x="3960" y="364"/>
                    <a:pt x="4288" y="504"/>
                  </a:cubicBezTo>
                  <a:cubicBezTo>
                    <a:pt x="4631" y="649"/>
                    <a:pt x="4827" y="1022"/>
                    <a:pt x="5000" y="1350"/>
                  </a:cubicBezTo>
                  <a:cubicBezTo>
                    <a:pt x="5015" y="1377"/>
                    <a:pt x="5029" y="1404"/>
                    <a:pt x="5042" y="1430"/>
                  </a:cubicBezTo>
                  <a:cubicBezTo>
                    <a:pt x="5071" y="1484"/>
                    <a:pt x="5100" y="1540"/>
                    <a:pt x="5130" y="1598"/>
                  </a:cubicBezTo>
                  <a:cubicBezTo>
                    <a:pt x="5289" y="1909"/>
                    <a:pt x="5470" y="2262"/>
                    <a:pt x="5762" y="2457"/>
                  </a:cubicBezTo>
                  <a:cubicBezTo>
                    <a:pt x="5899" y="2548"/>
                    <a:pt x="6056" y="2620"/>
                    <a:pt x="6217" y="2686"/>
                  </a:cubicBezTo>
                  <a:cubicBezTo>
                    <a:pt x="6231" y="2683"/>
                    <a:pt x="6231" y="2683"/>
                    <a:pt x="6231" y="2683"/>
                  </a:cubicBezTo>
                  <a:cubicBezTo>
                    <a:pt x="6066" y="2617"/>
                    <a:pt x="5905" y="2544"/>
                    <a:pt x="5766" y="2451"/>
                  </a:cubicBezTo>
                  <a:close/>
                </a:path>
              </a:pathLst>
            </a:custGeom>
            <a:solidFill>
              <a:srgbClr val="C9CA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4" name="Freeform 63"/>
            <p:cNvSpPr>
              <a:spLocks/>
            </p:cNvSpPr>
            <p:nvPr userDrawn="1"/>
          </p:nvSpPr>
          <p:spPr bwMode="auto">
            <a:xfrm>
              <a:off x="-792" y="230893"/>
              <a:ext cx="9849841" cy="4237854"/>
            </a:xfrm>
            <a:custGeom>
              <a:avLst/>
              <a:gdLst>
                <a:gd name="T0" fmla="*/ 5815 w 6459"/>
                <a:gd name="T1" fmla="*/ 2469 h 2777"/>
                <a:gd name="T2" fmla="*/ 5184 w 6459"/>
                <a:gd name="T3" fmla="*/ 1614 h 2777"/>
                <a:gd name="T4" fmla="*/ 5096 w 6459"/>
                <a:gd name="T5" fmla="*/ 1447 h 2777"/>
                <a:gd name="T6" fmla="*/ 5050 w 6459"/>
                <a:gd name="T7" fmla="*/ 1361 h 2777"/>
                <a:gd name="T8" fmla="*/ 4338 w 6459"/>
                <a:gd name="T9" fmla="*/ 518 h 2777"/>
                <a:gd name="T10" fmla="*/ 3311 w 6459"/>
                <a:gd name="T11" fmla="*/ 614 h 2777"/>
                <a:gd name="T12" fmla="*/ 3272 w 6459"/>
                <a:gd name="T13" fmla="*/ 627 h 2777"/>
                <a:gd name="T14" fmla="*/ 3080 w 6459"/>
                <a:gd name="T15" fmla="*/ 694 h 2777"/>
                <a:gd name="T16" fmla="*/ 2120 w 6459"/>
                <a:gd name="T17" fmla="*/ 876 h 2777"/>
                <a:gd name="T18" fmla="*/ 1385 w 6459"/>
                <a:gd name="T19" fmla="*/ 603 h 2777"/>
                <a:gd name="T20" fmla="*/ 1108 w 6459"/>
                <a:gd name="T21" fmla="*/ 473 h 2777"/>
                <a:gd name="T22" fmla="*/ 0 w 6459"/>
                <a:gd name="T23" fmla="*/ 0 h 2777"/>
                <a:gd name="T24" fmla="*/ 0 w 6459"/>
                <a:gd name="T25" fmla="*/ 8 h 2777"/>
                <a:gd name="T26" fmla="*/ 1105 w 6459"/>
                <a:gd name="T27" fmla="*/ 480 h 2777"/>
                <a:gd name="T28" fmla="*/ 1382 w 6459"/>
                <a:gd name="T29" fmla="*/ 610 h 2777"/>
                <a:gd name="T30" fmla="*/ 2119 w 6459"/>
                <a:gd name="T31" fmla="*/ 883 h 2777"/>
                <a:gd name="T32" fmla="*/ 3082 w 6459"/>
                <a:gd name="T33" fmla="*/ 701 h 2777"/>
                <a:gd name="T34" fmla="*/ 3274 w 6459"/>
                <a:gd name="T35" fmla="*/ 634 h 2777"/>
                <a:gd name="T36" fmla="*/ 3313 w 6459"/>
                <a:gd name="T37" fmla="*/ 621 h 2777"/>
                <a:gd name="T38" fmla="*/ 4335 w 6459"/>
                <a:gd name="T39" fmla="*/ 525 h 2777"/>
                <a:gd name="T40" fmla="*/ 5043 w 6459"/>
                <a:gd name="T41" fmla="*/ 1365 h 2777"/>
                <a:gd name="T42" fmla="*/ 5089 w 6459"/>
                <a:gd name="T43" fmla="*/ 1451 h 2777"/>
                <a:gd name="T44" fmla="*/ 5177 w 6459"/>
                <a:gd name="T45" fmla="*/ 1618 h 2777"/>
                <a:gd name="T46" fmla="*/ 5810 w 6459"/>
                <a:gd name="T47" fmla="*/ 2475 h 2777"/>
                <a:gd name="T48" fmla="*/ 6445 w 6459"/>
                <a:gd name="T49" fmla="*/ 2777 h 2777"/>
                <a:gd name="T50" fmla="*/ 6459 w 6459"/>
                <a:gd name="T51" fmla="*/ 2774 h 2777"/>
                <a:gd name="T52" fmla="*/ 5815 w 6459"/>
                <a:gd name="T53" fmla="*/ 2469 h 2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459" h="2777">
                  <a:moveTo>
                    <a:pt x="5815" y="2469"/>
                  </a:moveTo>
                  <a:cubicBezTo>
                    <a:pt x="5526" y="2272"/>
                    <a:pt x="5344" y="1923"/>
                    <a:pt x="5184" y="1614"/>
                  </a:cubicBezTo>
                  <a:cubicBezTo>
                    <a:pt x="5154" y="1556"/>
                    <a:pt x="5125" y="1501"/>
                    <a:pt x="5096" y="1447"/>
                  </a:cubicBezTo>
                  <a:cubicBezTo>
                    <a:pt x="5081" y="1419"/>
                    <a:pt x="5066" y="1390"/>
                    <a:pt x="5050" y="1361"/>
                  </a:cubicBezTo>
                  <a:cubicBezTo>
                    <a:pt x="4884" y="1050"/>
                    <a:pt x="4677" y="662"/>
                    <a:pt x="4338" y="518"/>
                  </a:cubicBezTo>
                  <a:cubicBezTo>
                    <a:pt x="4013" y="379"/>
                    <a:pt x="3623" y="509"/>
                    <a:pt x="3311" y="614"/>
                  </a:cubicBezTo>
                  <a:cubicBezTo>
                    <a:pt x="3272" y="627"/>
                    <a:pt x="3272" y="627"/>
                    <a:pt x="3272" y="627"/>
                  </a:cubicBezTo>
                  <a:cubicBezTo>
                    <a:pt x="3209" y="648"/>
                    <a:pt x="3146" y="670"/>
                    <a:pt x="3080" y="694"/>
                  </a:cubicBezTo>
                  <a:cubicBezTo>
                    <a:pt x="2765" y="806"/>
                    <a:pt x="2440" y="922"/>
                    <a:pt x="2120" y="876"/>
                  </a:cubicBezTo>
                  <a:cubicBezTo>
                    <a:pt x="1876" y="841"/>
                    <a:pt x="1626" y="720"/>
                    <a:pt x="1385" y="603"/>
                  </a:cubicBezTo>
                  <a:cubicBezTo>
                    <a:pt x="1289" y="556"/>
                    <a:pt x="1198" y="512"/>
                    <a:pt x="1108" y="47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105" y="480"/>
                    <a:pt x="1105" y="480"/>
                    <a:pt x="1105" y="480"/>
                  </a:cubicBezTo>
                  <a:cubicBezTo>
                    <a:pt x="1195" y="519"/>
                    <a:pt x="1286" y="563"/>
                    <a:pt x="1382" y="610"/>
                  </a:cubicBezTo>
                  <a:cubicBezTo>
                    <a:pt x="1624" y="727"/>
                    <a:pt x="1873" y="848"/>
                    <a:pt x="2119" y="883"/>
                  </a:cubicBezTo>
                  <a:cubicBezTo>
                    <a:pt x="2441" y="930"/>
                    <a:pt x="2767" y="813"/>
                    <a:pt x="3082" y="701"/>
                  </a:cubicBezTo>
                  <a:cubicBezTo>
                    <a:pt x="3149" y="677"/>
                    <a:pt x="3212" y="655"/>
                    <a:pt x="3274" y="634"/>
                  </a:cubicBezTo>
                  <a:cubicBezTo>
                    <a:pt x="3313" y="621"/>
                    <a:pt x="3313" y="621"/>
                    <a:pt x="3313" y="621"/>
                  </a:cubicBezTo>
                  <a:cubicBezTo>
                    <a:pt x="3625" y="517"/>
                    <a:pt x="4012" y="388"/>
                    <a:pt x="4335" y="525"/>
                  </a:cubicBezTo>
                  <a:cubicBezTo>
                    <a:pt x="4672" y="668"/>
                    <a:pt x="4878" y="1054"/>
                    <a:pt x="5043" y="1365"/>
                  </a:cubicBezTo>
                  <a:cubicBezTo>
                    <a:pt x="5059" y="1394"/>
                    <a:pt x="5074" y="1423"/>
                    <a:pt x="5089" y="1451"/>
                  </a:cubicBezTo>
                  <a:cubicBezTo>
                    <a:pt x="5119" y="1505"/>
                    <a:pt x="5147" y="1560"/>
                    <a:pt x="5177" y="1618"/>
                  </a:cubicBezTo>
                  <a:cubicBezTo>
                    <a:pt x="5338" y="1927"/>
                    <a:pt x="5520" y="2277"/>
                    <a:pt x="5810" y="2475"/>
                  </a:cubicBezTo>
                  <a:cubicBezTo>
                    <a:pt x="5996" y="2602"/>
                    <a:pt x="6221" y="2692"/>
                    <a:pt x="6445" y="2777"/>
                  </a:cubicBezTo>
                  <a:cubicBezTo>
                    <a:pt x="6459" y="2774"/>
                    <a:pt x="6459" y="2774"/>
                    <a:pt x="6459" y="2774"/>
                  </a:cubicBezTo>
                  <a:cubicBezTo>
                    <a:pt x="6233" y="2688"/>
                    <a:pt x="6002" y="2597"/>
                    <a:pt x="5815" y="2469"/>
                  </a:cubicBezTo>
                  <a:close/>
                </a:path>
              </a:pathLst>
            </a:custGeom>
            <a:solidFill>
              <a:srgbClr val="C8CA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4079776" y="0"/>
            <a:ext cx="8112224" cy="6861600"/>
          </a:xfrm>
          <a:custGeom>
            <a:avLst/>
            <a:gdLst>
              <a:gd name="connsiteX0" fmla="*/ 0 w 6120000"/>
              <a:gd name="connsiteY0" fmla="*/ 6855351 h 6861600"/>
              <a:gd name="connsiteX1" fmla="*/ 6120000 w 6120000"/>
              <a:gd name="connsiteY1" fmla="*/ 6856413 h 6861600"/>
              <a:gd name="connsiteX2" fmla="*/ 6120000 w 6120000"/>
              <a:gd name="connsiteY2" fmla="*/ 6861600 h 6861600"/>
              <a:gd name="connsiteX3" fmla="*/ 0 w 6120000"/>
              <a:gd name="connsiteY3" fmla="*/ 6861600 h 6861600"/>
              <a:gd name="connsiteX4" fmla="*/ 0 w 6120000"/>
              <a:gd name="connsiteY4" fmla="*/ 0 h 6861600"/>
              <a:gd name="connsiteX5" fmla="*/ 6120000 w 6120000"/>
              <a:gd name="connsiteY5" fmla="*/ 0 h 6861600"/>
              <a:gd name="connsiteX6" fmla="*/ 6120000 w 6120000"/>
              <a:gd name="connsiteY6" fmla="*/ 6856413 h 6861600"/>
              <a:gd name="connsiteX7" fmla="*/ 30350 w 6120000"/>
              <a:gd name="connsiteY7" fmla="*/ 5778500 h 6861600"/>
              <a:gd name="connsiteX8" fmla="*/ 0 w 6120000"/>
              <a:gd name="connsiteY8" fmla="*/ 5783848 h 6861600"/>
              <a:gd name="connsiteX0" fmla="*/ 0 w 6120000"/>
              <a:gd name="connsiteY0" fmla="*/ 6855351 h 6861600"/>
              <a:gd name="connsiteX1" fmla="*/ 6120000 w 6120000"/>
              <a:gd name="connsiteY1" fmla="*/ 6856413 h 6861600"/>
              <a:gd name="connsiteX2" fmla="*/ 6120000 w 6120000"/>
              <a:gd name="connsiteY2" fmla="*/ 6861600 h 6861600"/>
              <a:gd name="connsiteX3" fmla="*/ 0 w 6120000"/>
              <a:gd name="connsiteY3" fmla="*/ 6861600 h 6861600"/>
              <a:gd name="connsiteX4" fmla="*/ 0 w 6120000"/>
              <a:gd name="connsiteY4" fmla="*/ 6855351 h 6861600"/>
              <a:gd name="connsiteX5" fmla="*/ 0 w 6120000"/>
              <a:gd name="connsiteY5" fmla="*/ 0 h 6861600"/>
              <a:gd name="connsiteX6" fmla="*/ 6120000 w 6120000"/>
              <a:gd name="connsiteY6" fmla="*/ 0 h 6861600"/>
              <a:gd name="connsiteX7" fmla="*/ 6120000 w 6120000"/>
              <a:gd name="connsiteY7" fmla="*/ 6856413 h 6861600"/>
              <a:gd name="connsiteX8" fmla="*/ 30350 w 6120000"/>
              <a:gd name="connsiteY8" fmla="*/ 5778500 h 6861600"/>
              <a:gd name="connsiteX9" fmla="*/ 0 w 6120000"/>
              <a:gd name="connsiteY9" fmla="*/ 5461580 h 6861600"/>
              <a:gd name="connsiteX10" fmla="*/ 0 w 6120000"/>
              <a:gd name="connsiteY10" fmla="*/ 0 h 6861600"/>
              <a:gd name="connsiteX0" fmla="*/ 0 w 6120000"/>
              <a:gd name="connsiteY0" fmla="*/ 6855351 h 6861600"/>
              <a:gd name="connsiteX1" fmla="*/ 6120000 w 6120000"/>
              <a:gd name="connsiteY1" fmla="*/ 6856413 h 6861600"/>
              <a:gd name="connsiteX2" fmla="*/ 6120000 w 6120000"/>
              <a:gd name="connsiteY2" fmla="*/ 6861600 h 6861600"/>
              <a:gd name="connsiteX3" fmla="*/ 0 w 6120000"/>
              <a:gd name="connsiteY3" fmla="*/ 6861600 h 6861600"/>
              <a:gd name="connsiteX4" fmla="*/ 0 w 6120000"/>
              <a:gd name="connsiteY4" fmla="*/ 6855351 h 6861600"/>
              <a:gd name="connsiteX5" fmla="*/ 0 w 6120000"/>
              <a:gd name="connsiteY5" fmla="*/ 0 h 6861600"/>
              <a:gd name="connsiteX6" fmla="*/ 6120000 w 6120000"/>
              <a:gd name="connsiteY6" fmla="*/ 0 h 6861600"/>
              <a:gd name="connsiteX7" fmla="*/ 6120000 w 6120000"/>
              <a:gd name="connsiteY7" fmla="*/ 6856413 h 6861600"/>
              <a:gd name="connsiteX8" fmla="*/ 0 w 6120000"/>
              <a:gd name="connsiteY8" fmla="*/ 5461580 h 6861600"/>
              <a:gd name="connsiteX9" fmla="*/ 0 w 6120000"/>
              <a:gd name="connsiteY9" fmla="*/ 0 h 6861600"/>
              <a:gd name="connsiteX0" fmla="*/ 0 w 6120000"/>
              <a:gd name="connsiteY0" fmla="*/ 6861600 h 6861600"/>
              <a:gd name="connsiteX1" fmla="*/ 6120000 w 6120000"/>
              <a:gd name="connsiteY1" fmla="*/ 6856413 h 6861600"/>
              <a:gd name="connsiteX2" fmla="*/ 6120000 w 6120000"/>
              <a:gd name="connsiteY2" fmla="*/ 6861600 h 6861600"/>
              <a:gd name="connsiteX3" fmla="*/ 0 w 6120000"/>
              <a:gd name="connsiteY3" fmla="*/ 6861600 h 6861600"/>
              <a:gd name="connsiteX4" fmla="*/ 0 w 6120000"/>
              <a:gd name="connsiteY4" fmla="*/ 0 h 6861600"/>
              <a:gd name="connsiteX5" fmla="*/ 6120000 w 6120000"/>
              <a:gd name="connsiteY5" fmla="*/ 0 h 6861600"/>
              <a:gd name="connsiteX6" fmla="*/ 6120000 w 6120000"/>
              <a:gd name="connsiteY6" fmla="*/ 6856413 h 6861600"/>
              <a:gd name="connsiteX7" fmla="*/ 0 w 6120000"/>
              <a:gd name="connsiteY7" fmla="*/ 5461580 h 6861600"/>
              <a:gd name="connsiteX8" fmla="*/ 0 w 6120000"/>
              <a:gd name="connsiteY8" fmla="*/ 0 h 6861600"/>
              <a:gd name="connsiteX0" fmla="*/ 6120000 w 6120000"/>
              <a:gd name="connsiteY0" fmla="*/ 6861600 h 6861600"/>
              <a:gd name="connsiteX1" fmla="*/ 6120000 w 6120000"/>
              <a:gd name="connsiteY1" fmla="*/ 6856413 h 6861600"/>
              <a:gd name="connsiteX2" fmla="*/ 6120000 w 6120000"/>
              <a:gd name="connsiteY2" fmla="*/ 6861600 h 6861600"/>
              <a:gd name="connsiteX3" fmla="*/ 0 w 6120000"/>
              <a:gd name="connsiteY3" fmla="*/ 0 h 6861600"/>
              <a:gd name="connsiteX4" fmla="*/ 6120000 w 6120000"/>
              <a:gd name="connsiteY4" fmla="*/ 0 h 6861600"/>
              <a:gd name="connsiteX5" fmla="*/ 6120000 w 6120000"/>
              <a:gd name="connsiteY5" fmla="*/ 6856413 h 6861600"/>
              <a:gd name="connsiteX6" fmla="*/ 0 w 6120000"/>
              <a:gd name="connsiteY6" fmla="*/ 5461580 h 6861600"/>
              <a:gd name="connsiteX7" fmla="*/ 0 w 6120000"/>
              <a:gd name="connsiteY7" fmla="*/ 0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120000" h="6861600">
                <a:moveTo>
                  <a:pt x="6120000" y="6861600"/>
                </a:moveTo>
                <a:lnTo>
                  <a:pt x="6120000" y="6856413"/>
                </a:lnTo>
                <a:lnTo>
                  <a:pt x="6120000" y="6861600"/>
                </a:lnTo>
                <a:close/>
                <a:moveTo>
                  <a:pt x="0" y="0"/>
                </a:moveTo>
                <a:lnTo>
                  <a:pt x="6120000" y="0"/>
                </a:lnTo>
                <a:lnTo>
                  <a:pt x="6120000" y="6856413"/>
                </a:lnTo>
                <a:lnTo>
                  <a:pt x="0" y="546158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alpha val="90000"/>
            </a:schemeClr>
          </a:solidFill>
        </p:spPr>
        <p:txBody>
          <a:bodyPr wrap="square" lIns="666000" tIns="2304000" rIns="489600" bIns="2538000" anchor="t" anchorCtr="0">
            <a:noAutofit/>
          </a:bodyPr>
          <a:lstStyle>
            <a:lvl1pPr>
              <a:lnSpc>
                <a:spcPct val="87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Præsentationstitel i maksimum to linjer</a:t>
            </a:r>
            <a:endParaRPr lang="da-DK"/>
          </a:p>
        </p:txBody>
      </p:sp>
      <p:sp>
        <p:nvSpPr>
          <p:cNvPr id="3" name="Undertitel 2"/>
          <p:cNvSpPr>
            <a:spLocks noGrp="1"/>
          </p:cNvSpPr>
          <p:nvPr>
            <p:ph type="subTitle" idx="1" hasCustomPrompt="1"/>
          </p:nvPr>
        </p:nvSpPr>
        <p:spPr>
          <a:xfrm>
            <a:off x="4077409" y="3512868"/>
            <a:ext cx="7441491" cy="498834"/>
          </a:xfrm>
        </p:spPr>
        <p:txBody>
          <a:bodyPr lIns="684000" rIns="511200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Klik, og tilføj undertitel</a:t>
            </a:r>
            <a:endParaRPr lang="da-DK"/>
          </a:p>
        </p:txBody>
      </p:sp>
      <p:sp>
        <p:nvSpPr>
          <p:cNvPr id="6" name="Indsæt TitleName"/>
          <p:cNvSpPr>
            <a:spLocks noGrp="1"/>
          </p:cNvSpPr>
          <p:nvPr>
            <p:ph type="body" sz="quarter" idx="14" hasCustomPrompt="1"/>
          </p:nvPr>
        </p:nvSpPr>
        <p:spPr>
          <a:xfrm>
            <a:off x="4079775" y="1349645"/>
            <a:ext cx="7439125" cy="360040"/>
          </a:xfrm>
        </p:spPr>
        <p:txBody>
          <a:bodyPr lIns="684000" anchor="b" anchorCtr="0"/>
          <a:lstStyle>
            <a:lvl1pPr>
              <a:lnSpc>
                <a:spcPct val="115000"/>
              </a:lnSpc>
              <a:defRPr sz="10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Indsæt titel, navn</a:t>
            </a:r>
            <a:endParaRPr lang="da-DK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445224"/>
            <a:ext cx="12192000" cy="1411191"/>
          </a:xfrm>
          <a:custGeom>
            <a:avLst/>
            <a:gdLst>
              <a:gd name="connsiteX0" fmla="*/ 3054350 w 9144000"/>
              <a:gd name="connsiteY0" fmla="*/ 0 h 1077913"/>
              <a:gd name="connsiteX1" fmla="*/ 9144000 w 9144000"/>
              <a:gd name="connsiteY1" fmla="*/ 1077913 h 1077913"/>
              <a:gd name="connsiteX2" fmla="*/ 0 w 9144000"/>
              <a:gd name="connsiteY2" fmla="*/ 1076326 h 1077913"/>
              <a:gd name="connsiteX3" fmla="*/ 0 w 9144000"/>
              <a:gd name="connsiteY3" fmla="*/ 538163 h 1077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1077913">
                <a:moveTo>
                  <a:pt x="3054350" y="0"/>
                </a:moveTo>
                <a:lnTo>
                  <a:pt x="9144000" y="1077913"/>
                </a:lnTo>
                <a:lnTo>
                  <a:pt x="0" y="1076326"/>
                </a:lnTo>
                <a:lnTo>
                  <a:pt x="0" y="53816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079776" y="4041068"/>
            <a:ext cx="8109858" cy="2823852"/>
          </a:xfrm>
          <a:custGeom>
            <a:avLst/>
            <a:gdLst>
              <a:gd name="connsiteX0" fmla="*/ 6116484 w 6118225"/>
              <a:gd name="connsiteY0" fmla="*/ 0 h 2159720"/>
              <a:gd name="connsiteX1" fmla="*/ 6118225 w 6118225"/>
              <a:gd name="connsiteY1" fmla="*/ 0 h 2159720"/>
              <a:gd name="connsiteX2" fmla="*/ 6118225 w 6118225"/>
              <a:gd name="connsiteY2" fmla="*/ 2159720 h 2159720"/>
              <a:gd name="connsiteX3" fmla="*/ 0 w 6118225"/>
              <a:gd name="connsiteY3" fmla="*/ 1078913 h 2159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18225" h="2159720">
                <a:moveTo>
                  <a:pt x="6116484" y="0"/>
                </a:moveTo>
                <a:lnTo>
                  <a:pt x="6118225" y="0"/>
                </a:lnTo>
                <a:lnTo>
                  <a:pt x="6118225" y="2159720"/>
                </a:lnTo>
                <a:lnTo>
                  <a:pt x="0" y="1078913"/>
                </a:lnTo>
                <a:close/>
              </a:path>
            </a:pathLst>
          </a:custGeom>
          <a:solidFill>
            <a:srgbClr val="EB4430"/>
          </a:solidFill>
        </p:spPr>
        <p:txBody>
          <a:bodyPr wrap="square">
            <a:noAutofit/>
          </a:bodyPr>
          <a:lstStyle>
            <a:lvl1pPr marL="0" indent="0">
              <a:buNone/>
              <a:defRPr sz="100"/>
            </a:lvl1pPr>
            <a:lvl2pPr marL="0" indent="0">
              <a:buNone/>
              <a:defRPr sz="100"/>
            </a:lvl2pPr>
            <a:lvl3pPr marL="216000" indent="0">
              <a:buNone/>
              <a:defRPr sz="100"/>
            </a:lvl3pPr>
            <a:lvl4pPr marL="432000" indent="0">
              <a:buNone/>
              <a:defRPr sz="100"/>
            </a:lvl4pPr>
            <a:lvl5pPr marL="648000" indent="0">
              <a:buNone/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122" name="Text Placeholder 3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4764088" y="345600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472902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5"/>
          <p:cNvSpPr>
            <a:spLocks/>
          </p:cNvSpPr>
          <p:nvPr userDrawn="1"/>
        </p:nvSpPr>
        <p:spPr bwMode="auto">
          <a:xfrm>
            <a:off x="8112224" y="6314401"/>
            <a:ext cx="4079776" cy="542565"/>
          </a:xfrm>
          <a:custGeom>
            <a:avLst/>
            <a:gdLst>
              <a:gd name="T0" fmla="*/ 5758 w 5758"/>
              <a:gd name="T1" fmla="*/ 0 h 1021"/>
              <a:gd name="T2" fmla="*/ 5757 w 5758"/>
              <a:gd name="T3" fmla="*/ 0 h 1021"/>
              <a:gd name="T4" fmla="*/ 0 w 5758"/>
              <a:gd name="T5" fmla="*/ 1019 h 1021"/>
              <a:gd name="T6" fmla="*/ 5758 w 5758"/>
              <a:gd name="T7" fmla="*/ 1021 h 1021"/>
              <a:gd name="T8" fmla="*/ 5758 w 5758"/>
              <a:gd name="T9" fmla="*/ 0 h 10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58" h="1021">
                <a:moveTo>
                  <a:pt x="5758" y="0"/>
                </a:moveTo>
                <a:lnTo>
                  <a:pt x="5757" y="0"/>
                </a:lnTo>
                <a:lnTo>
                  <a:pt x="0" y="1019"/>
                </a:lnTo>
                <a:lnTo>
                  <a:pt x="5758" y="1021"/>
                </a:lnTo>
                <a:lnTo>
                  <a:pt x="5758" y="0"/>
                </a:lnTo>
                <a:close/>
              </a:path>
            </a:pathLst>
          </a:custGeom>
          <a:solidFill>
            <a:srgbClr val="F5F5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sz="180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72002" y="1285200"/>
            <a:ext cx="8781561" cy="954000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672001" y="2565400"/>
            <a:ext cx="8781562" cy="3240088"/>
          </a:xfrm>
        </p:spPr>
        <p:txBody>
          <a:bodyPr rIns="0"/>
          <a:lstStyle/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styles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8" name="Pladsholder til diasnumm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a-DK"/>
              <a:t>29. august 2019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178750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/ figur, 2 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672003" y="1285404"/>
            <a:ext cx="10832672" cy="955464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 hasCustomPrompt="1"/>
          </p:nvPr>
        </p:nvSpPr>
        <p:spPr>
          <a:xfrm>
            <a:off x="672003" y="2565400"/>
            <a:ext cx="5087448" cy="3240088"/>
          </a:xfr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styles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 hasCustomPrompt="1"/>
          </p:nvPr>
        </p:nvSpPr>
        <p:spPr>
          <a:xfrm>
            <a:off x="6432551" y="2565400"/>
            <a:ext cx="5086351" cy="3240088"/>
          </a:xfr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styles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6435724" y="5877272"/>
            <a:ext cx="5083175" cy="396044"/>
          </a:xfrm>
        </p:spPr>
        <p:txBody>
          <a:bodyPr/>
          <a:lstStyle>
            <a:lvl1pPr>
              <a:buNone/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</a:lstStyle>
          <a:p>
            <a:pPr lvl="0"/>
            <a:r>
              <a:rPr lang="da-DK" dirty="0"/>
              <a:t>Indsæt eventuelt note til graf / tabel</a:t>
            </a:r>
            <a:endParaRPr lang="da-DK"/>
          </a:p>
        </p:txBody>
      </p:sp>
      <p:sp>
        <p:nvSpPr>
          <p:cNvPr id="8" name="Pladsholder til diasnumm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6" name="Date_DateCustomA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a-DK"/>
              <a:t>29. august 2019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90323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+ billede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rey"/>
          <p:cNvSpPr>
            <a:spLocks/>
          </p:cNvSpPr>
          <p:nvPr userDrawn="1"/>
        </p:nvSpPr>
        <p:spPr bwMode="auto">
          <a:xfrm>
            <a:off x="670984" y="5805488"/>
            <a:ext cx="11521016" cy="1057228"/>
          </a:xfrm>
          <a:custGeom>
            <a:avLst/>
            <a:gdLst>
              <a:gd name="T0" fmla="*/ 0 w 5443"/>
              <a:gd name="T1" fmla="*/ 481 h 481"/>
              <a:gd name="T2" fmla="*/ 5443 w 5443"/>
              <a:gd name="T3" fmla="*/ 481 h 481"/>
              <a:gd name="T4" fmla="*/ 2721 w 5443"/>
              <a:gd name="T5" fmla="*/ 0 h 481"/>
              <a:gd name="T6" fmla="*/ 0 w 5443"/>
              <a:gd name="T7" fmla="*/ 481 h 4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443" h="481">
                <a:moveTo>
                  <a:pt x="0" y="481"/>
                </a:moveTo>
                <a:lnTo>
                  <a:pt x="5443" y="481"/>
                </a:lnTo>
                <a:lnTo>
                  <a:pt x="2721" y="0"/>
                </a:lnTo>
                <a:lnTo>
                  <a:pt x="0" y="48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sz="1800" dirty="0"/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672002" y="1285200"/>
            <a:ext cx="5087449" cy="954000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7"/>
          </p:nvPr>
        </p:nvSpPr>
        <p:spPr>
          <a:xfrm>
            <a:off x="672000" y="2565400"/>
            <a:ext cx="5087451" cy="3240088"/>
          </a:xfrm>
        </p:spPr>
        <p:txBody>
          <a:bodyPr/>
          <a:lstStyle/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styles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40" name="Picture"/>
          <p:cNvSpPr>
            <a:spLocks noGrp="1"/>
          </p:cNvSpPr>
          <p:nvPr>
            <p:ph type="pic" sz="quarter" idx="14" hasCustomPrompt="1"/>
          </p:nvPr>
        </p:nvSpPr>
        <p:spPr>
          <a:xfrm>
            <a:off x="6434722" y="728700"/>
            <a:ext cx="5759941" cy="6135910"/>
          </a:xfrm>
          <a:custGeom>
            <a:avLst/>
            <a:gdLst>
              <a:gd name="connsiteX0" fmla="*/ 4314189 w 4320925"/>
              <a:gd name="connsiteY0" fmla="*/ 0 h 5569200"/>
              <a:gd name="connsiteX1" fmla="*/ 4320925 w 4320925"/>
              <a:gd name="connsiteY1" fmla="*/ 0 h 5569200"/>
              <a:gd name="connsiteX2" fmla="*/ 4320925 w 4320925"/>
              <a:gd name="connsiteY2" fmla="*/ 5569200 h 5569200"/>
              <a:gd name="connsiteX3" fmla="*/ 4298957 w 4320925"/>
              <a:gd name="connsiteY3" fmla="*/ 5569200 h 5569200"/>
              <a:gd name="connsiteX4" fmla="*/ 4319335 w 4320925"/>
              <a:gd name="connsiteY4" fmla="*/ 5565601 h 5569200"/>
              <a:gd name="connsiteX5" fmla="*/ 0 w 4320925"/>
              <a:gd name="connsiteY5" fmla="*/ 4802767 h 5569200"/>
              <a:gd name="connsiteX6" fmla="*/ 0 w 4320925"/>
              <a:gd name="connsiteY6" fmla="*/ 761434 h 5569200"/>
              <a:gd name="connsiteX0" fmla="*/ 4314189 w 4320925"/>
              <a:gd name="connsiteY0" fmla="*/ 0 h 5569200"/>
              <a:gd name="connsiteX1" fmla="*/ 4320925 w 4320925"/>
              <a:gd name="connsiteY1" fmla="*/ 0 h 5569200"/>
              <a:gd name="connsiteX2" fmla="*/ 4320925 w 4320925"/>
              <a:gd name="connsiteY2" fmla="*/ 5569200 h 5569200"/>
              <a:gd name="connsiteX3" fmla="*/ 4298957 w 4320925"/>
              <a:gd name="connsiteY3" fmla="*/ 5569200 h 5569200"/>
              <a:gd name="connsiteX4" fmla="*/ 4319335 w 4320925"/>
              <a:gd name="connsiteY4" fmla="*/ 5565601 h 5569200"/>
              <a:gd name="connsiteX5" fmla="*/ 8363 w 4320925"/>
              <a:gd name="connsiteY5" fmla="*/ 4610254 h 5569200"/>
              <a:gd name="connsiteX6" fmla="*/ 0 w 4320925"/>
              <a:gd name="connsiteY6" fmla="*/ 761434 h 5569200"/>
              <a:gd name="connsiteX7" fmla="*/ 4314189 w 4320925"/>
              <a:gd name="connsiteY7" fmla="*/ 0 h 5569200"/>
              <a:gd name="connsiteX0" fmla="*/ 4306631 w 4313367"/>
              <a:gd name="connsiteY0" fmla="*/ 0 h 5569200"/>
              <a:gd name="connsiteX1" fmla="*/ 4313367 w 4313367"/>
              <a:gd name="connsiteY1" fmla="*/ 0 h 5569200"/>
              <a:gd name="connsiteX2" fmla="*/ 4313367 w 4313367"/>
              <a:gd name="connsiteY2" fmla="*/ 5569200 h 5569200"/>
              <a:gd name="connsiteX3" fmla="*/ 4291399 w 4313367"/>
              <a:gd name="connsiteY3" fmla="*/ 5569200 h 5569200"/>
              <a:gd name="connsiteX4" fmla="*/ 4311777 w 4313367"/>
              <a:gd name="connsiteY4" fmla="*/ 5565601 h 5569200"/>
              <a:gd name="connsiteX5" fmla="*/ 805 w 4313367"/>
              <a:gd name="connsiteY5" fmla="*/ 4610254 h 5569200"/>
              <a:gd name="connsiteX6" fmla="*/ 805 w 4313367"/>
              <a:gd name="connsiteY6" fmla="*/ 913417 h 5569200"/>
              <a:gd name="connsiteX7" fmla="*/ 4306631 w 4313367"/>
              <a:gd name="connsiteY7" fmla="*/ 0 h 5569200"/>
              <a:gd name="connsiteX0" fmla="*/ 4313321 w 4320057"/>
              <a:gd name="connsiteY0" fmla="*/ 0 h 5569200"/>
              <a:gd name="connsiteX1" fmla="*/ 4320057 w 4320057"/>
              <a:gd name="connsiteY1" fmla="*/ 0 h 5569200"/>
              <a:gd name="connsiteX2" fmla="*/ 4320057 w 4320057"/>
              <a:gd name="connsiteY2" fmla="*/ 5569200 h 5569200"/>
              <a:gd name="connsiteX3" fmla="*/ 4298089 w 4320057"/>
              <a:gd name="connsiteY3" fmla="*/ 5569200 h 5569200"/>
              <a:gd name="connsiteX4" fmla="*/ 4318467 w 4320057"/>
              <a:gd name="connsiteY4" fmla="*/ 5565601 h 5569200"/>
              <a:gd name="connsiteX5" fmla="*/ 7495 w 4320057"/>
              <a:gd name="connsiteY5" fmla="*/ 4610254 h 5569200"/>
              <a:gd name="connsiteX6" fmla="*/ 0 w 4320057"/>
              <a:gd name="connsiteY6" fmla="*/ 913417 h 5569200"/>
              <a:gd name="connsiteX7" fmla="*/ 4313321 w 4320057"/>
              <a:gd name="connsiteY7" fmla="*/ 0 h 5569200"/>
              <a:gd name="connsiteX0" fmla="*/ 4313321 w 4320057"/>
              <a:gd name="connsiteY0" fmla="*/ 0 h 5569200"/>
              <a:gd name="connsiteX1" fmla="*/ 4320057 w 4320057"/>
              <a:gd name="connsiteY1" fmla="*/ 0 h 5569200"/>
              <a:gd name="connsiteX2" fmla="*/ 4320057 w 4320057"/>
              <a:gd name="connsiteY2" fmla="*/ 5569200 h 5569200"/>
              <a:gd name="connsiteX3" fmla="*/ 4298089 w 4320057"/>
              <a:gd name="connsiteY3" fmla="*/ 5569200 h 5569200"/>
              <a:gd name="connsiteX4" fmla="*/ 4318467 w 4320057"/>
              <a:gd name="connsiteY4" fmla="*/ 5565601 h 5569200"/>
              <a:gd name="connsiteX5" fmla="*/ 7495 w 4320057"/>
              <a:gd name="connsiteY5" fmla="*/ 4610254 h 5569200"/>
              <a:gd name="connsiteX6" fmla="*/ 0 w 4320057"/>
              <a:gd name="connsiteY6" fmla="*/ 917957 h 5569200"/>
              <a:gd name="connsiteX7" fmla="*/ 4313321 w 4320057"/>
              <a:gd name="connsiteY7" fmla="*/ 0 h 5569200"/>
              <a:gd name="connsiteX0" fmla="*/ 4313321 w 4320057"/>
              <a:gd name="connsiteY0" fmla="*/ 0 h 5569200"/>
              <a:gd name="connsiteX1" fmla="*/ 4320057 w 4320057"/>
              <a:gd name="connsiteY1" fmla="*/ 0 h 5569200"/>
              <a:gd name="connsiteX2" fmla="*/ 4320057 w 4320057"/>
              <a:gd name="connsiteY2" fmla="*/ 5569200 h 5569200"/>
              <a:gd name="connsiteX3" fmla="*/ 4298089 w 4320057"/>
              <a:gd name="connsiteY3" fmla="*/ 5569200 h 5569200"/>
              <a:gd name="connsiteX4" fmla="*/ 4318467 w 4320057"/>
              <a:gd name="connsiteY4" fmla="*/ 5565601 h 5569200"/>
              <a:gd name="connsiteX5" fmla="*/ 1874 w 4320057"/>
              <a:gd name="connsiteY5" fmla="*/ 4603444 h 5569200"/>
              <a:gd name="connsiteX6" fmla="*/ 0 w 4320057"/>
              <a:gd name="connsiteY6" fmla="*/ 917957 h 5569200"/>
              <a:gd name="connsiteX7" fmla="*/ 4313321 w 4320057"/>
              <a:gd name="connsiteY7" fmla="*/ 0 h 5569200"/>
              <a:gd name="connsiteX0" fmla="*/ 4313321 w 4320057"/>
              <a:gd name="connsiteY0" fmla="*/ 0 h 5569200"/>
              <a:gd name="connsiteX1" fmla="*/ 4320057 w 4320057"/>
              <a:gd name="connsiteY1" fmla="*/ 0 h 5569200"/>
              <a:gd name="connsiteX2" fmla="*/ 4320057 w 4320057"/>
              <a:gd name="connsiteY2" fmla="*/ 5569200 h 5569200"/>
              <a:gd name="connsiteX3" fmla="*/ 4298089 w 4320057"/>
              <a:gd name="connsiteY3" fmla="*/ 5569200 h 5569200"/>
              <a:gd name="connsiteX4" fmla="*/ 4318467 w 4320057"/>
              <a:gd name="connsiteY4" fmla="*/ 5565601 h 5569200"/>
              <a:gd name="connsiteX5" fmla="*/ 1874 w 4320057"/>
              <a:gd name="connsiteY5" fmla="*/ 4605715 h 5569200"/>
              <a:gd name="connsiteX6" fmla="*/ 0 w 4320057"/>
              <a:gd name="connsiteY6" fmla="*/ 917957 h 5569200"/>
              <a:gd name="connsiteX7" fmla="*/ 4313321 w 4320057"/>
              <a:gd name="connsiteY7" fmla="*/ 0 h 5569200"/>
              <a:gd name="connsiteX0" fmla="*/ 4313321 w 4320057"/>
              <a:gd name="connsiteY0" fmla="*/ 0 h 5580051"/>
              <a:gd name="connsiteX1" fmla="*/ 4320057 w 4320057"/>
              <a:gd name="connsiteY1" fmla="*/ 0 h 5580051"/>
              <a:gd name="connsiteX2" fmla="*/ 4320057 w 4320057"/>
              <a:gd name="connsiteY2" fmla="*/ 5569200 h 5580051"/>
              <a:gd name="connsiteX3" fmla="*/ 4298089 w 4320057"/>
              <a:gd name="connsiteY3" fmla="*/ 5569200 h 5580051"/>
              <a:gd name="connsiteX4" fmla="*/ 4318467 w 4320057"/>
              <a:gd name="connsiteY4" fmla="*/ 5580051 h 5580051"/>
              <a:gd name="connsiteX5" fmla="*/ 1874 w 4320057"/>
              <a:gd name="connsiteY5" fmla="*/ 4605715 h 5580051"/>
              <a:gd name="connsiteX6" fmla="*/ 0 w 4320057"/>
              <a:gd name="connsiteY6" fmla="*/ 917957 h 5580051"/>
              <a:gd name="connsiteX7" fmla="*/ 4313321 w 4320057"/>
              <a:gd name="connsiteY7" fmla="*/ 0 h 5580051"/>
              <a:gd name="connsiteX0" fmla="*/ 4313321 w 4320057"/>
              <a:gd name="connsiteY0" fmla="*/ 0 h 5580051"/>
              <a:gd name="connsiteX1" fmla="*/ 4320057 w 4320057"/>
              <a:gd name="connsiteY1" fmla="*/ 0 h 5580051"/>
              <a:gd name="connsiteX2" fmla="*/ 4320057 w 4320057"/>
              <a:gd name="connsiteY2" fmla="*/ 5569200 h 5580051"/>
              <a:gd name="connsiteX3" fmla="*/ 4298089 w 4320057"/>
              <a:gd name="connsiteY3" fmla="*/ 5559511 h 5580051"/>
              <a:gd name="connsiteX4" fmla="*/ 4318467 w 4320057"/>
              <a:gd name="connsiteY4" fmla="*/ 5580051 h 5580051"/>
              <a:gd name="connsiteX5" fmla="*/ 1874 w 4320057"/>
              <a:gd name="connsiteY5" fmla="*/ 4605715 h 5580051"/>
              <a:gd name="connsiteX6" fmla="*/ 0 w 4320057"/>
              <a:gd name="connsiteY6" fmla="*/ 917957 h 5580051"/>
              <a:gd name="connsiteX7" fmla="*/ 4313321 w 4320057"/>
              <a:gd name="connsiteY7" fmla="*/ 0 h 5580051"/>
              <a:gd name="connsiteX0" fmla="*/ 4313321 w 4320057"/>
              <a:gd name="connsiteY0" fmla="*/ 0 h 5678204"/>
              <a:gd name="connsiteX1" fmla="*/ 4320057 w 4320057"/>
              <a:gd name="connsiteY1" fmla="*/ 0 h 5678204"/>
              <a:gd name="connsiteX2" fmla="*/ 4320057 w 4320057"/>
              <a:gd name="connsiteY2" fmla="*/ 5569200 h 5678204"/>
              <a:gd name="connsiteX3" fmla="*/ 4298089 w 4320057"/>
              <a:gd name="connsiteY3" fmla="*/ 5678204 h 5678204"/>
              <a:gd name="connsiteX4" fmla="*/ 4318467 w 4320057"/>
              <a:gd name="connsiteY4" fmla="*/ 5580051 h 5678204"/>
              <a:gd name="connsiteX5" fmla="*/ 1874 w 4320057"/>
              <a:gd name="connsiteY5" fmla="*/ 4605715 h 5678204"/>
              <a:gd name="connsiteX6" fmla="*/ 0 w 4320057"/>
              <a:gd name="connsiteY6" fmla="*/ 917957 h 5678204"/>
              <a:gd name="connsiteX7" fmla="*/ 4313321 w 4320057"/>
              <a:gd name="connsiteY7" fmla="*/ 0 h 5678204"/>
              <a:gd name="connsiteX0" fmla="*/ 4313321 w 4320057"/>
              <a:gd name="connsiteY0" fmla="*/ 0 h 5580051"/>
              <a:gd name="connsiteX1" fmla="*/ 4320057 w 4320057"/>
              <a:gd name="connsiteY1" fmla="*/ 0 h 5580051"/>
              <a:gd name="connsiteX2" fmla="*/ 4320057 w 4320057"/>
              <a:gd name="connsiteY2" fmla="*/ 5569200 h 5580051"/>
              <a:gd name="connsiteX3" fmla="*/ 4318467 w 4320057"/>
              <a:gd name="connsiteY3" fmla="*/ 5580051 h 5580051"/>
              <a:gd name="connsiteX4" fmla="*/ 1874 w 4320057"/>
              <a:gd name="connsiteY4" fmla="*/ 4605715 h 5580051"/>
              <a:gd name="connsiteX5" fmla="*/ 0 w 4320057"/>
              <a:gd name="connsiteY5" fmla="*/ 917957 h 5580051"/>
              <a:gd name="connsiteX6" fmla="*/ 4313321 w 4320057"/>
              <a:gd name="connsiteY6" fmla="*/ 0 h 5580051"/>
              <a:gd name="connsiteX0" fmla="*/ 4313321 w 4320464"/>
              <a:gd name="connsiteY0" fmla="*/ 0 h 5575206"/>
              <a:gd name="connsiteX1" fmla="*/ 4320057 w 4320464"/>
              <a:gd name="connsiteY1" fmla="*/ 0 h 5575206"/>
              <a:gd name="connsiteX2" fmla="*/ 4320057 w 4320464"/>
              <a:gd name="connsiteY2" fmla="*/ 5569200 h 5575206"/>
              <a:gd name="connsiteX3" fmla="*/ 4320464 w 4320464"/>
              <a:gd name="connsiteY3" fmla="*/ 5575206 h 5575206"/>
              <a:gd name="connsiteX4" fmla="*/ 1874 w 4320464"/>
              <a:gd name="connsiteY4" fmla="*/ 4605715 h 5575206"/>
              <a:gd name="connsiteX5" fmla="*/ 0 w 4320464"/>
              <a:gd name="connsiteY5" fmla="*/ 917957 h 5575206"/>
              <a:gd name="connsiteX6" fmla="*/ 4313321 w 4320464"/>
              <a:gd name="connsiteY6" fmla="*/ 0 h 5575206"/>
              <a:gd name="connsiteX0" fmla="*/ 4313321 w 4320464"/>
              <a:gd name="connsiteY0" fmla="*/ 0 h 5575206"/>
              <a:gd name="connsiteX1" fmla="*/ 4320057 w 4320464"/>
              <a:gd name="connsiteY1" fmla="*/ 0 h 5575206"/>
              <a:gd name="connsiteX2" fmla="*/ 4320057 w 4320464"/>
              <a:gd name="connsiteY2" fmla="*/ 5569200 h 5575206"/>
              <a:gd name="connsiteX3" fmla="*/ 4320464 w 4320464"/>
              <a:gd name="connsiteY3" fmla="*/ 5575206 h 5575206"/>
              <a:gd name="connsiteX4" fmla="*/ 3689 w 4320464"/>
              <a:gd name="connsiteY4" fmla="*/ 4610112 h 5575206"/>
              <a:gd name="connsiteX5" fmla="*/ 0 w 4320464"/>
              <a:gd name="connsiteY5" fmla="*/ 917957 h 5575206"/>
              <a:gd name="connsiteX6" fmla="*/ 4313321 w 4320464"/>
              <a:gd name="connsiteY6" fmla="*/ 0 h 5575206"/>
              <a:gd name="connsiteX0" fmla="*/ 4313321 w 4320464"/>
              <a:gd name="connsiteY0" fmla="*/ 0 h 5575206"/>
              <a:gd name="connsiteX1" fmla="*/ 4320057 w 4320464"/>
              <a:gd name="connsiteY1" fmla="*/ 0 h 5575206"/>
              <a:gd name="connsiteX2" fmla="*/ 4320057 w 4320464"/>
              <a:gd name="connsiteY2" fmla="*/ 5569200 h 5575206"/>
              <a:gd name="connsiteX3" fmla="*/ 4320464 w 4320464"/>
              <a:gd name="connsiteY3" fmla="*/ 5575206 h 5575206"/>
              <a:gd name="connsiteX4" fmla="*/ 1874 w 4320464"/>
              <a:gd name="connsiteY4" fmla="*/ 4610112 h 5575206"/>
              <a:gd name="connsiteX5" fmla="*/ 0 w 4320464"/>
              <a:gd name="connsiteY5" fmla="*/ 917957 h 5575206"/>
              <a:gd name="connsiteX6" fmla="*/ 4313321 w 4320464"/>
              <a:gd name="connsiteY6" fmla="*/ 0 h 5575206"/>
              <a:gd name="connsiteX0" fmla="*/ 4313321 w 4320464"/>
              <a:gd name="connsiteY0" fmla="*/ 0 h 5575206"/>
              <a:gd name="connsiteX1" fmla="*/ 4320057 w 4320464"/>
              <a:gd name="connsiteY1" fmla="*/ 0 h 5575206"/>
              <a:gd name="connsiteX2" fmla="*/ 4320057 w 4320464"/>
              <a:gd name="connsiteY2" fmla="*/ 5569200 h 5575206"/>
              <a:gd name="connsiteX3" fmla="*/ 4320464 w 4320464"/>
              <a:gd name="connsiteY3" fmla="*/ 5575206 h 5575206"/>
              <a:gd name="connsiteX4" fmla="*/ 1874 w 4320464"/>
              <a:gd name="connsiteY4" fmla="*/ 4616706 h 5575206"/>
              <a:gd name="connsiteX5" fmla="*/ 0 w 4320464"/>
              <a:gd name="connsiteY5" fmla="*/ 917957 h 5575206"/>
              <a:gd name="connsiteX6" fmla="*/ 4313321 w 4320464"/>
              <a:gd name="connsiteY6" fmla="*/ 0 h 5575206"/>
              <a:gd name="connsiteX0" fmla="*/ 4314073 w 4321216"/>
              <a:gd name="connsiteY0" fmla="*/ 0 h 5575206"/>
              <a:gd name="connsiteX1" fmla="*/ 4320809 w 4321216"/>
              <a:gd name="connsiteY1" fmla="*/ 0 h 5575206"/>
              <a:gd name="connsiteX2" fmla="*/ 4320809 w 4321216"/>
              <a:gd name="connsiteY2" fmla="*/ 5569200 h 5575206"/>
              <a:gd name="connsiteX3" fmla="*/ 4321216 w 4321216"/>
              <a:gd name="connsiteY3" fmla="*/ 5575206 h 5575206"/>
              <a:gd name="connsiteX4" fmla="*/ 811 w 4321216"/>
              <a:gd name="connsiteY4" fmla="*/ 4612310 h 5575206"/>
              <a:gd name="connsiteX5" fmla="*/ 752 w 4321216"/>
              <a:gd name="connsiteY5" fmla="*/ 917957 h 5575206"/>
              <a:gd name="connsiteX6" fmla="*/ 4314073 w 4321216"/>
              <a:gd name="connsiteY6" fmla="*/ 0 h 5575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21216" h="5575206">
                <a:moveTo>
                  <a:pt x="4314073" y="0"/>
                </a:moveTo>
                <a:lnTo>
                  <a:pt x="4320809" y="0"/>
                </a:lnTo>
                <a:lnTo>
                  <a:pt x="4320809" y="5569200"/>
                </a:lnTo>
                <a:cubicBezTo>
                  <a:pt x="4320945" y="5571202"/>
                  <a:pt x="4321080" y="5573204"/>
                  <a:pt x="4321216" y="5575206"/>
                </a:cubicBezTo>
                <a:lnTo>
                  <a:pt x="811" y="4612310"/>
                </a:lnTo>
                <a:cubicBezTo>
                  <a:pt x="-1977" y="3329370"/>
                  <a:pt x="3540" y="2200897"/>
                  <a:pt x="752" y="917957"/>
                </a:cubicBezTo>
                <a:lnTo>
                  <a:pt x="4314073" y="0"/>
                </a:lnTo>
                <a:close/>
              </a:path>
            </a:pathLst>
          </a:custGeom>
          <a:solidFill>
            <a:schemeClr val="bg2">
              <a:alpha val="54000"/>
            </a:schemeClr>
          </a:solidFill>
        </p:spPr>
        <p:txBody>
          <a:bodyPr wrap="square" tIns="0" bIns="9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da-DK" dirty="0"/>
              <a:t>Vælg billedpladsholderen </a:t>
            </a:r>
            <a:br>
              <a:rPr lang="da-DK" dirty="0"/>
            </a:br>
            <a:r>
              <a:rPr lang="da-DK" dirty="0"/>
              <a:t>og indsæt billede via </a:t>
            </a:r>
            <a:br>
              <a:rPr lang="da-DK" dirty="0"/>
            </a:b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41" name="Blue"/>
          <p:cNvSpPr>
            <a:spLocks noGrp="1"/>
          </p:cNvSpPr>
          <p:nvPr>
            <p:ph type="body" sz="quarter" idx="20" hasCustomPrompt="1"/>
          </p:nvPr>
        </p:nvSpPr>
        <p:spPr>
          <a:xfrm>
            <a:off x="6428035" y="4749243"/>
            <a:ext cx="5761565" cy="2113473"/>
          </a:xfrm>
          <a:custGeom>
            <a:avLst/>
            <a:gdLst>
              <a:gd name="connsiteX0" fmla="*/ 4321174 w 4321174"/>
              <a:gd name="connsiteY0" fmla="*/ 0 h 1526318"/>
              <a:gd name="connsiteX1" fmla="*/ 4321174 w 4321174"/>
              <a:gd name="connsiteY1" fmla="*/ 1526318 h 1526318"/>
              <a:gd name="connsiteX2" fmla="*/ 0 w 4321174"/>
              <a:gd name="connsiteY2" fmla="*/ 763159 h 1526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21174" h="1526318">
                <a:moveTo>
                  <a:pt x="4321174" y="0"/>
                </a:moveTo>
                <a:lnTo>
                  <a:pt x="4321174" y="1526318"/>
                </a:lnTo>
                <a:lnTo>
                  <a:pt x="0" y="763159"/>
                </a:lnTo>
                <a:close/>
              </a:path>
            </a:pathLst>
          </a:custGeom>
          <a:solidFill>
            <a:schemeClr val="accent1">
              <a:alpha val="9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pic>
        <p:nvPicPr>
          <p:cNvPr id="11" name="Logo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749" y="346665"/>
            <a:ext cx="1404000" cy="256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10902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+ billede (A)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rey"/>
          <p:cNvSpPr>
            <a:spLocks/>
          </p:cNvSpPr>
          <p:nvPr userDrawn="1"/>
        </p:nvSpPr>
        <p:spPr bwMode="auto">
          <a:xfrm>
            <a:off x="670984" y="5805488"/>
            <a:ext cx="11521016" cy="1057228"/>
          </a:xfrm>
          <a:custGeom>
            <a:avLst/>
            <a:gdLst>
              <a:gd name="T0" fmla="*/ 0 w 5443"/>
              <a:gd name="T1" fmla="*/ 481 h 481"/>
              <a:gd name="T2" fmla="*/ 5443 w 5443"/>
              <a:gd name="T3" fmla="*/ 481 h 481"/>
              <a:gd name="T4" fmla="*/ 2721 w 5443"/>
              <a:gd name="T5" fmla="*/ 0 h 481"/>
              <a:gd name="T6" fmla="*/ 0 w 5443"/>
              <a:gd name="T7" fmla="*/ 481 h 4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443" h="481">
                <a:moveTo>
                  <a:pt x="0" y="481"/>
                </a:moveTo>
                <a:lnTo>
                  <a:pt x="5443" y="481"/>
                </a:lnTo>
                <a:lnTo>
                  <a:pt x="2721" y="0"/>
                </a:lnTo>
                <a:lnTo>
                  <a:pt x="0" y="48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sz="1800" dirty="0"/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672002" y="1285200"/>
            <a:ext cx="5087449" cy="954000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7"/>
          </p:nvPr>
        </p:nvSpPr>
        <p:spPr>
          <a:xfrm>
            <a:off x="672000" y="2565400"/>
            <a:ext cx="5087451" cy="3240088"/>
          </a:xfrm>
        </p:spPr>
        <p:txBody>
          <a:bodyPr/>
          <a:lstStyle/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styles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40" name="Picture"/>
          <p:cNvSpPr>
            <a:spLocks noGrp="1"/>
          </p:cNvSpPr>
          <p:nvPr>
            <p:ph type="pic" sz="quarter" idx="14" hasCustomPrompt="1"/>
          </p:nvPr>
        </p:nvSpPr>
        <p:spPr>
          <a:xfrm>
            <a:off x="6434722" y="728700"/>
            <a:ext cx="5759941" cy="6135910"/>
          </a:xfrm>
          <a:custGeom>
            <a:avLst/>
            <a:gdLst>
              <a:gd name="connsiteX0" fmla="*/ 4314189 w 4320925"/>
              <a:gd name="connsiteY0" fmla="*/ 0 h 5569200"/>
              <a:gd name="connsiteX1" fmla="*/ 4320925 w 4320925"/>
              <a:gd name="connsiteY1" fmla="*/ 0 h 5569200"/>
              <a:gd name="connsiteX2" fmla="*/ 4320925 w 4320925"/>
              <a:gd name="connsiteY2" fmla="*/ 5569200 h 5569200"/>
              <a:gd name="connsiteX3" fmla="*/ 4298957 w 4320925"/>
              <a:gd name="connsiteY3" fmla="*/ 5569200 h 5569200"/>
              <a:gd name="connsiteX4" fmla="*/ 4319335 w 4320925"/>
              <a:gd name="connsiteY4" fmla="*/ 5565601 h 5569200"/>
              <a:gd name="connsiteX5" fmla="*/ 0 w 4320925"/>
              <a:gd name="connsiteY5" fmla="*/ 4802767 h 5569200"/>
              <a:gd name="connsiteX6" fmla="*/ 0 w 4320925"/>
              <a:gd name="connsiteY6" fmla="*/ 761434 h 5569200"/>
              <a:gd name="connsiteX0" fmla="*/ 4314189 w 4320925"/>
              <a:gd name="connsiteY0" fmla="*/ 0 h 5569200"/>
              <a:gd name="connsiteX1" fmla="*/ 4320925 w 4320925"/>
              <a:gd name="connsiteY1" fmla="*/ 0 h 5569200"/>
              <a:gd name="connsiteX2" fmla="*/ 4320925 w 4320925"/>
              <a:gd name="connsiteY2" fmla="*/ 5569200 h 5569200"/>
              <a:gd name="connsiteX3" fmla="*/ 4298957 w 4320925"/>
              <a:gd name="connsiteY3" fmla="*/ 5569200 h 5569200"/>
              <a:gd name="connsiteX4" fmla="*/ 4319335 w 4320925"/>
              <a:gd name="connsiteY4" fmla="*/ 5565601 h 5569200"/>
              <a:gd name="connsiteX5" fmla="*/ 8363 w 4320925"/>
              <a:gd name="connsiteY5" fmla="*/ 4610254 h 5569200"/>
              <a:gd name="connsiteX6" fmla="*/ 0 w 4320925"/>
              <a:gd name="connsiteY6" fmla="*/ 761434 h 5569200"/>
              <a:gd name="connsiteX7" fmla="*/ 4314189 w 4320925"/>
              <a:gd name="connsiteY7" fmla="*/ 0 h 5569200"/>
              <a:gd name="connsiteX0" fmla="*/ 4306631 w 4313367"/>
              <a:gd name="connsiteY0" fmla="*/ 0 h 5569200"/>
              <a:gd name="connsiteX1" fmla="*/ 4313367 w 4313367"/>
              <a:gd name="connsiteY1" fmla="*/ 0 h 5569200"/>
              <a:gd name="connsiteX2" fmla="*/ 4313367 w 4313367"/>
              <a:gd name="connsiteY2" fmla="*/ 5569200 h 5569200"/>
              <a:gd name="connsiteX3" fmla="*/ 4291399 w 4313367"/>
              <a:gd name="connsiteY3" fmla="*/ 5569200 h 5569200"/>
              <a:gd name="connsiteX4" fmla="*/ 4311777 w 4313367"/>
              <a:gd name="connsiteY4" fmla="*/ 5565601 h 5569200"/>
              <a:gd name="connsiteX5" fmla="*/ 805 w 4313367"/>
              <a:gd name="connsiteY5" fmla="*/ 4610254 h 5569200"/>
              <a:gd name="connsiteX6" fmla="*/ 805 w 4313367"/>
              <a:gd name="connsiteY6" fmla="*/ 913417 h 5569200"/>
              <a:gd name="connsiteX7" fmla="*/ 4306631 w 4313367"/>
              <a:gd name="connsiteY7" fmla="*/ 0 h 5569200"/>
              <a:gd name="connsiteX0" fmla="*/ 4313321 w 4320057"/>
              <a:gd name="connsiteY0" fmla="*/ 0 h 5569200"/>
              <a:gd name="connsiteX1" fmla="*/ 4320057 w 4320057"/>
              <a:gd name="connsiteY1" fmla="*/ 0 h 5569200"/>
              <a:gd name="connsiteX2" fmla="*/ 4320057 w 4320057"/>
              <a:gd name="connsiteY2" fmla="*/ 5569200 h 5569200"/>
              <a:gd name="connsiteX3" fmla="*/ 4298089 w 4320057"/>
              <a:gd name="connsiteY3" fmla="*/ 5569200 h 5569200"/>
              <a:gd name="connsiteX4" fmla="*/ 4318467 w 4320057"/>
              <a:gd name="connsiteY4" fmla="*/ 5565601 h 5569200"/>
              <a:gd name="connsiteX5" fmla="*/ 7495 w 4320057"/>
              <a:gd name="connsiteY5" fmla="*/ 4610254 h 5569200"/>
              <a:gd name="connsiteX6" fmla="*/ 0 w 4320057"/>
              <a:gd name="connsiteY6" fmla="*/ 913417 h 5569200"/>
              <a:gd name="connsiteX7" fmla="*/ 4313321 w 4320057"/>
              <a:gd name="connsiteY7" fmla="*/ 0 h 5569200"/>
              <a:gd name="connsiteX0" fmla="*/ 4313321 w 4320057"/>
              <a:gd name="connsiteY0" fmla="*/ 0 h 5569200"/>
              <a:gd name="connsiteX1" fmla="*/ 4320057 w 4320057"/>
              <a:gd name="connsiteY1" fmla="*/ 0 h 5569200"/>
              <a:gd name="connsiteX2" fmla="*/ 4320057 w 4320057"/>
              <a:gd name="connsiteY2" fmla="*/ 5569200 h 5569200"/>
              <a:gd name="connsiteX3" fmla="*/ 4298089 w 4320057"/>
              <a:gd name="connsiteY3" fmla="*/ 5569200 h 5569200"/>
              <a:gd name="connsiteX4" fmla="*/ 4318467 w 4320057"/>
              <a:gd name="connsiteY4" fmla="*/ 5565601 h 5569200"/>
              <a:gd name="connsiteX5" fmla="*/ 7495 w 4320057"/>
              <a:gd name="connsiteY5" fmla="*/ 4610254 h 5569200"/>
              <a:gd name="connsiteX6" fmla="*/ 0 w 4320057"/>
              <a:gd name="connsiteY6" fmla="*/ 917957 h 5569200"/>
              <a:gd name="connsiteX7" fmla="*/ 4313321 w 4320057"/>
              <a:gd name="connsiteY7" fmla="*/ 0 h 5569200"/>
              <a:gd name="connsiteX0" fmla="*/ 4313321 w 4320057"/>
              <a:gd name="connsiteY0" fmla="*/ 0 h 5569200"/>
              <a:gd name="connsiteX1" fmla="*/ 4320057 w 4320057"/>
              <a:gd name="connsiteY1" fmla="*/ 0 h 5569200"/>
              <a:gd name="connsiteX2" fmla="*/ 4320057 w 4320057"/>
              <a:gd name="connsiteY2" fmla="*/ 5569200 h 5569200"/>
              <a:gd name="connsiteX3" fmla="*/ 4298089 w 4320057"/>
              <a:gd name="connsiteY3" fmla="*/ 5569200 h 5569200"/>
              <a:gd name="connsiteX4" fmla="*/ 4318467 w 4320057"/>
              <a:gd name="connsiteY4" fmla="*/ 5565601 h 5569200"/>
              <a:gd name="connsiteX5" fmla="*/ 1874 w 4320057"/>
              <a:gd name="connsiteY5" fmla="*/ 4603444 h 5569200"/>
              <a:gd name="connsiteX6" fmla="*/ 0 w 4320057"/>
              <a:gd name="connsiteY6" fmla="*/ 917957 h 5569200"/>
              <a:gd name="connsiteX7" fmla="*/ 4313321 w 4320057"/>
              <a:gd name="connsiteY7" fmla="*/ 0 h 5569200"/>
              <a:gd name="connsiteX0" fmla="*/ 4313321 w 4320057"/>
              <a:gd name="connsiteY0" fmla="*/ 0 h 5569200"/>
              <a:gd name="connsiteX1" fmla="*/ 4320057 w 4320057"/>
              <a:gd name="connsiteY1" fmla="*/ 0 h 5569200"/>
              <a:gd name="connsiteX2" fmla="*/ 4320057 w 4320057"/>
              <a:gd name="connsiteY2" fmla="*/ 5569200 h 5569200"/>
              <a:gd name="connsiteX3" fmla="*/ 4298089 w 4320057"/>
              <a:gd name="connsiteY3" fmla="*/ 5569200 h 5569200"/>
              <a:gd name="connsiteX4" fmla="*/ 4318467 w 4320057"/>
              <a:gd name="connsiteY4" fmla="*/ 5565601 h 5569200"/>
              <a:gd name="connsiteX5" fmla="*/ 1874 w 4320057"/>
              <a:gd name="connsiteY5" fmla="*/ 4605715 h 5569200"/>
              <a:gd name="connsiteX6" fmla="*/ 0 w 4320057"/>
              <a:gd name="connsiteY6" fmla="*/ 917957 h 5569200"/>
              <a:gd name="connsiteX7" fmla="*/ 4313321 w 4320057"/>
              <a:gd name="connsiteY7" fmla="*/ 0 h 5569200"/>
              <a:gd name="connsiteX0" fmla="*/ 4313321 w 4320057"/>
              <a:gd name="connsiteY0" fmla="*/ 0 h 5580051"/>
              <a:gd name="connsiteX1" fmla="*/ 4320057 w 4320057"/>
              <a:gd name="connsiteY1" fmla="*/ 0 h 5580051"/>
              <a:gd name="connsiteX2" fmla="*/ 4320057 w 4320057"/>
              <a:gd name="connsiteY2" fmla="*/ 5569200 h 5580051"/>
              <a:gd name="connsiteX3" fmla="*/ 4298089 w 4320057"/>
              <a:gd name="connsiteY3" fmla="*/ 5569200 h 5580051"/>
              <a:gd name="connsiteX4" fmla="*/ 4318467 w 4320057"/>
              <a:gd name="connsiteY4" fmla="*/ 5580051 h 5580051"/>
              <a:gd name="connsiteX5" fmla="*/ 1874 w 4320057"/>
              <a:gd name="connsiteY5" fmla="*/ 4605715 h 5580051"/>
              <a:gd name="connsiteX6" fmla="*/ 0 w 4320057"/>
              <a:gd name="connsiteY6" fmla="*/ 917957 h 5580051"/>
              <a:gd name="connsiteX7" fmla="*/ 4313321 w 4320057"/>
              <a:gd name="connsiteY7" fmla="*/ 0 h 5580051"/>
              <a:gd name="connsiteX0" fmla="*/ 4313321 w 4320057"/>
              <a:gd name="connsiteY0" fmla="*/ 0 h 5580051"/>
              <a:gd name="connsiteX1" fmla="*/ 4320057 w 4320057"/>
              <a:gd name="connsiteY1" fmla="*/ 0 h 5580051"/>
              <a:gd name="connsiteX2" fmla="*/ 4320057 w 4320057"/>
              <a:gd name="connsiteY2" fmla="*/ 5569200 h 5580051"/>
              <a:gd name="connsiteX3" fmla="*/ 4298089 w 4320057"/>
              <a:gd name="connsiteY3" fmla="*/ 5559511 h 5580051"/>
              <a:gd name="connsiteX4" fmla="*/ 4318467 w 4320057"/>
              <a:gd name="connsiteY4" fmla="*/ 5580051 h 5580051"/>
              <a:gd name="connsiteX5" fmla="*/ 1874 w 4320057"/>
              <a:gd name="connsiteY5" fmla="*/ 4605715 h 5580051"/>
              <a:gd name="connsiteX6" fmla="*/ 0 w 4320057"/>
              <a:gd name="connsiteY6" fmla="*/ 917957 h 5580051"/>
              <a:gd name="connsiteX7" fmla="*/ 4313321 w 4320057"/>
              <a:gd name="connsiteY7" fmla="*/ 0 h 5580051"/>
              <a:gd name="connsiteX0" fmla="*/ 4313321 w 4320057"/>
              <a:gd name="connsiteY0" fmla="*/ 0 h 5678204"/>
              <a:gd name="connsiteX1" fmla="*/ 4320057 w 4320057"/>
              <a:gd name="connsiteY1" fmla="*/ 0 h 5678204"/>
              <a:gd name="connsiteX2" fmla="*/ 4320057 w 4320057"/>
              <a:gd name="connsiteY2" fmla="*/ 5569200 h 5678204"/>
              <a:gd name="connsiteX3" fmla="*/ 4298089 w 4320057"/>
              <a:gd name="connsiteY3" fmla="*/ 5678204 h 5678204"/>
              <a:gd name="connsiteX4" fmla="*/ 4318467 w 4320057"/>
              <a:gd name="connsiteY4" fmla="*/ 5580051 h 5678204"/>
              <a:gd name="connsiteX5" fmla="*/ 1874 w 4320057"/>
              <a:gd name="connsiteY5" fmla="*/ 4605715 h 5678204"/>
              <a:gd name="connsiteX6" fmla="*/ 0 w 4320057"/>
              <a:gd name="connsiteY6" fmla="*/ 917957 h 5678204"/>
              <a:gd name="connsiteX7" fmla="*/ 4313321 w 4320057"/>
              <a:gd name="connsiteY7" fmla="*/ 0 h 5678204"/>
              <a:gd name="connsiteX0" fmla="*/ 4313321 w 4320057"/>
              <a:gd name="connsiteY0" fmla="*/ 0 h 5580051"/>
              <a:gd name="connsiteX1" fmla="*/ 4320057 w 4320057"/>
              <a:gd name="connsiteY1" fmla="*/ 0 h 5580051"/>
              <a:gd name="connsiteX2" fmla="*/ 4320057 w 4320057"/>
              <a:gd name="connsiteY2" fmla="*/ 5569200 h 5580051"/>
              <a:gd name="connsiteX3" fmla="*/ 4318467 w 4320057"/>
              <a:gd name="connsiteY3" fmla="*/ 5580051 h 5580051"/>
              <a:gd name="connsiteX4" fmla="*/ 1874 w 4320057"/>
              <a:gd name="connsiteY4" fmla="*/ 4605715 h 5580051"/>
              <a:gd name="connsiteX5" fmla="*/ 0 w 4320057"/>
              <a:gd name="connsiteY5" fmla="*/ 917957 h 5580051"/>
              <a:gd name="connsiteX6" fmla="*/ 4313321 w 4320057"/>
              <a:gd name="connsiteY6" fmla="*/ 0 h 5580051"/>
              <a:gd name="connsiteX0" fmla="*/ 4313321 w 4320464"/>
              <a:gd name="connsiteY0" fmla="*/ 0 h 5575206"/>
              <a:gd name="connsiteX1" fmla="*/ 4320057 w 4320464"/>
              <a:gd name="connsiteY1" fmla="*/ 0 h 5575206"/>
              <a:gd name="connsiteX2" fmla="*/ 4320057 w 4320464"/>
              <a:gd name="connsiteY2" fmla="*/ 5569200 h 5575206"/>
              <a:gd name="connsiteX3" fmla="*/ 4320464 w 4320464"/>
              <a:gd name="connsiteY3" fmla="*/ 5575206 h 5575206"/>
              <a:gd name="connsiteX4" fmla="*/ 1874 w 4320464"/>
              <a:gd name="connsiteY4" fmla="*/ 4605715 h 5575206"/>
              <a:gd name="connsiteX5" fmla="*/ 0 w 4320464"/>
              <a:gd name="connsiteY5" fmla="*/ 917957 h 5575206"/>
              <a:gd name="connsiteX6" fmla="*/ 4313321 w 4320464"/>
              <a:gd name="connsiteY6" fmla="*/ 0 h 5575206"/>
              <a:gd name="connsiteX0" fmla="*/ 4313321 w 4320464"/>
              <a:gd name="connsiteY0" fmla="*/ 0 h 5575206"/>
              <a:gd name="connsiteX1" fmla="*/ 4320057 w 4320464"/>
              <a:gd name="connsiteY1" fmla="*/ 0 h 5575206"/>
              <a:gd name="connsiteX2" fmla="*/ 4320057 w 4320464"/>
              <a:gd name="connsiteY2" fmla="*/ 5569200 h 5575206"/>
              <a:gd name="connsiteX3" fmla="*/ 4320464 w 4320464"/>
              <a:gd name="connsiteY3" fmla="*/ 5575206 h 5575206"/>
              <a:gd name="connsiteX4" fmla="*/ 3689 w 4320464"/>
              <a:gd name="connsiteY4" fmla="*/ 4610112 h 5575206"/>
              <a:gd name="connsiteX5" fmla="*/ 0 w 4320464"/>
              <a:gd name="connsiteY5" fmla="*/ 917957 h 5575206"/>
              <a:gd name="connsiteX6" fmla="*/ 4313321 w 4320464"/>
              <a:gd name="connsiteY6" fmla="*/ 0 h 5575206"/>
              <a:gd name="connsiteX0" fmla="*/ 4313321 w 4320464"/>
              <a:gd name="connsiteY0" fmla="*/ 0 h 5575206"/>
              <a:gd name="connsiteX1" fmla="*/ 4320057 w 4320464"/>
              <a:gd name="connsiteY1" fmla="*/ 0 h 5575206"/>
              <a:gd name="connsiteX2" fmla="*/ 4320057 w 4320464"/>
              <a:gd name="connsiteY2" fmla="*/ 5569200 h 5575206"/>
              <a:gd name="connsiteX3" fmla="*/ 4320464 w 4320464"/>
              <a:gd name="connsiteY3" fmla="*/ 5575206 h 5575206"/>
              <a:gd name="connsiteX4" fmla="*/ 1874 w 4320464"/>
              <a:gd name="connsiteY4" fmla="*/ 4610112 h 5575206"/>
              <a:gd name="connsiteX5" fmla="*/ 0 w 4320464"/>
              <a:gd name="connsiteY5" fmla="*/ 917957 h 5575206"/>
              <a:gd name="connsiteX6" fmla="*/ 4313321 w 4320464"/>
              <a:gd name="connsiteY6" fmla="*/ 0 h 5575206"/>
              <a:gd name="connsiteX0" fmla="*/ 4313321 w 4320464"/>
              <a:gd name="connsiteY0" fmla="*/ 0 h 5575206"/>
              <a:gd name="connsiteX1" fmla="*/ 4320057 w 4320464"/>
              <a:gd name="connsiteY1" fmla="*/ 0 h 5575206"/>
              <a:gd name="connsiteX2" fmla="*/ 4320057 w 4320464"/>
              <a:gd name="connsiteY2" fmla="*/ 5569200 h 5575206"/>
              <a:gd name="connsiteX3" fmla="*/ 4320464 w 4320464"/>
              <a:gd name="connsiteY3" fmla="*/ 5575206 h 5575206"/>
              <a:gd name="connsiteX4" fmla="*/ 1874 w 4320464"/>
              <a:gd name="connsiteY4" fmla="*/ 4616706 h 5575206"/>
              <a:gd name="connsiteX5" fmla="*/ 0 w 4320464"/>
              <a:gd name="connsiteY5" fmla="*/ 917957 h 5575206"/>
              <a:gd name="connsiteX6" fmla="*/ 4313321 w 4320464"/>
              <a:gd name="connsiteY6" fmla="*/ 0 h 5575206"/>
              <a:gd name="connsiteX0" fmla="*/ 4314073 w 4321216"/>
              <a:gd name="connsiteY0" fmla="*/ 0 h 5575206"/>
              <a:gd name="connsiteX1" fmla="*/ 4320809 w 4321216"/>
              <a:gd name="connsiteY1" fmla="*/ 0 h 5575206"/>
              <a:gd name="connsiteX2" fmla="*/ 4320809 w 4321216"/>
              <a:gd name="connsiteY2" fmla="*/ 5569200 h 5575206"/>
              <a:gd name="connsiteX3" fmla="*/ 4321216 w 4321216"/>
              <a:gd name="connsiteY3" fmla="*/ 5575206 h 5575206"/>
              <a:gd name="connsiteX4" fmla="*/ 811 w 4321216"/>
              <a:gd name="connsiteY4" fmla="*/ 4612310 h 5575206"/>
              <a:gd name="connsiteX5" fmla="*/ 752 w 4321216"/>
              <a:gd name="connsiteY5" fmla="*/ 917957 h 5575206"/>
              <a:gd name="connsiteX6" fmla="*/ 4314073 w 4321216"/>
              <a:gd name="connsiteY6" fmla="*/ 0 h 5575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21216" h="5575206">
                <a:moveTo>
                  <a:pt x="4314073" y="0"/>
                </a:moveTo>
                <a:lnTo>
                  <a:pt x="4320809" y="0"/>
                </a:lnTo>
                <a:lnTo>
                  <a:pt x="4320809" y="5569200"/>
                </a:lnTo>
                <a:cubicBezTo>
                  <a:pt x="4320945" y="5571202"/>
                  <a:pt x="4321080" y="5573204"/>
                  <a:pt x="4321216" y="5575206"/>
                </a:cubicBezTo>
                <a:lnTo>
                  <a:pt x="811" y="4612310"/>
                </a:lnTo>
                <a:cubicBezTo>
                  <a:pt x="-1977" y="3329370"/>
                  <a:pt x="3540" y="2200897"/>
                  <a:pt x="752" y="917957"/>
                </a:cubicBezTo>
                <a:lnTo>
                  <a:pt x="4314073" y="0"/>
                </a:lnTo>
                <a:close/>
              </a:path>
            </a:pathLst>
          </a:custGeom>
          <a:solidFill>
            <a:schemeClr val="bg2">
              <a:alpha val="54000"/>
            </a:schemeClr>
          </a:solidFill>
        </p:spPr>
        <p:txBody>
          <a:bodyPr wrap="square" tIns="0" bIns="9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da-DK" dirty="0"/>
              <a:t>Vælg billedpladsholderen </a:t>
            </a:r>
            <a:br>
              <a:rPr lang="da-DK" dirty="0"/>
            </a:br>
            <a:r>
              <a:rPr lang="da-DK" dirty="0"/>
              <a:t>og indsæt billede via </a:t>
            </a:r>
            <a:br>
              <a:rPr lang="da-DK" dirty="0"/>
            </a:b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41" name="Blue"/>
          <p:cNvSpPr>
            <a:spLocks noGrp="1"/>
          </p:cNvSpPr>
          <p:nvPr>
            <p:ph type="body" sz="quarter" idx="20" hasCustomPrompt="1"/>
          </p:nvPr>
        </p:nvSpPr>
        <p:spPr>
          <a:xfrm>
            <a:off x="6428035" y="4749243"/>
            <a:ext cx="5761565" cy="2113473"/>
          </a:xfrm>
          <a:custGeom>
            <a:avLst/>
            <a:gdLst>
              <a:gd name="connsiteX0" fmla="*/ 4321174 w 4321174"/>
              <a:gd name="connsiteY0" fmla="*/ 0 h 1526318"/>
              <a:gd name="connsiteX1" fmla="*/ 4321174 w 4321174"/>
              <a:gd name="connsiteY1" fmla="*/ 1526318 h 1526318"/>
              <a:gd name="connsiteX2" fmla="*/ 0 w 4321174"/>
              <a:gd name="connsiteY2" fmla="*/ 763159 h 1526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21174" h="1526318">
                <a:moveTo>
                  <a:pt x="4321174" y="0"/>
                </a:moveTo>
                <a:lnTo>
                  <a:pt x="4321174" y="1526318"/>
                </a:lnTo>
                <a:lnTo>
                  <a:pt x="0" y="763159"/>
                </a:lnTo>
                <a:close/>
              </a:path>
            </a:pathLst>
          </a:custGeom>
          <a:solidFill>
            <a:schemeClr val="accent2">
              <a:alpha val="9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pic>
        <p:nvPicPr>
          <p:cNvPr id="11" name="Logo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749" y="346665"/>
            <a:ext cx="1404000" cy="256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95886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+ billede (A)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rey"/>
          <p:cNvSpPr>
            <a:spLocks/>
          </p:cNvSpPr>
          <p:nvPr userDrawn="1"/>
        </p:nvSpPr>
        <p:spPr bwMode="auto">
          <a:xfrm>
            <a:off x="670984" y="5805488"/>
            <a:ext cx="11521016" cy="1057228"/>
          </a:xfrm>
          <a:custGeom>
            <a:avLst/>
            <a:gdLst>
              <a:gd name="T0" fmla="*/ 0 w 5443"/>
              <a:gd name="T1" fmla="*/ 481 h 481"/>
              <a:gd name="T2" fmla="*/ 5443 w 5443"/>
              <a:gd name="T3" fmla="*/ 481 h 481"/>
              <a:gd name="T4" fmla="*/ 2721 w 5443"/>
              <a:gd name="T5" fmla="*/ 0 h 481"/>
              <a:gd name="T6" fmla="*/ 0 w 5443"/>
              <a:gd name="T7" fmla="*/ 481 h 4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443" h="481">
                <a:moveTo>
                  <a:pt x="0" y="481"/>
                </a:moveTo>
                <a:lnTo>
                  <a:pt x="5443" y="481"/>
                </a:lnTo>
                <a:lnTo>
                  <a:pt x="2721" y="0"/>
                </a:lnTo>
                <a:lnTo>
                  <a:pt x="0" y="48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sz="1800" dirty="0"/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672002" y="1285200"/>
            <a:ext cx="5087449" cy="954000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7"/>
          </p:nvPr>
        </p:nvSpPr>
        <p:spPr>
          <a:xfrm>
            <a:off x="672000" y="2565400"/>
            <a:ext cx="5087451" cy="3240088"/>
          </a:xfrm>
        </p:spPr>
        <p:txBody>
          <a:bodyPr/>
          <a:lstStyle/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styles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40" name="Picture"/>
          <p:cNvSpPr>
            <a:spLocks noGrp="1"/>
          </p:cNvSpPr>
          <p:nvPr>
            <p:ph type="pic" sz="quarter" idx="14" hasCustomPrompt="1"/>
          </p:nvPr>
        </p:nvSpPr>
        <p:spPr>
          <a:xfrm>
            <a:off x="6434722" y="728700"/>
            <a:ext cx="5759941" cy="6135910"/>
          </a:xfrm>
          <a:custGeom>
            <a:avLst/>
            <a:gdLst>
              <a:gd name="connsiteX0" fmla="*/ 4314189 w 4320925"/>
              <a:gd name="connsiteY0" fmla="*/ 0 h 5569200"/>
              <a:gd name="connsiteX1" fmla="*/ 4320925 w 4320925"/>
              <a:gd name="connsiteY1" fmla="*/ 0 h 5569200"/>
              <a:gd name="connsiteX2" fmla="*/ 4320925 w 4320925"/>
              <a:gd name="connsiteY2" fmla="*/ 5569200 h 5569200"/>
              <a:gd name="connsiteX3" fmla="*/ 4298957 w 4320925"/>
              <a:gd name="connsiteY3" fmla="*/ 5569200 h 5569200"/>
              <a:gd name="connsiteX4" fmla="*/ 4319335 w 4320925"/>
              <a:gd name="connsiteY4" fmla="*/ 5565601 h 5569200"/>
              <a:gd name="connsiteX5" fmla="*/ 0 w 4320925"/>
              <a:gd name="connsiteY5" fmla="*/ 4802767 h 5569200"/>
              <a:gd name="connsiteX6" fmla="*/ 0 w 4320925"/>
              <a:gd name="connsiteY6" fmla="*/ 761434 h 5569200"/>
              <a:gd name="connsiteX0" fmla="*/ 4314189 w 4320925"/>
              <a:gd name="connsiteY0" fmla="*/ 0 h 5569200"/>
              <a:gd name="connsiteX1" fmla="*/ 4320925 w 4320925"/>
              <a:gd name="connsiteY1" fmla="*/ 0 h 5569200"/>
              <a:gd name="connsiteX2" fmla="*/ 4320925 w 4320925"/>
              <a:gd name="connsiteY2" fmla="*/ 5569200 h 5569200"/>
              <a:gd name="connsiteX3" fmla="*/ 4298957 w 4320925"/>
              <a:gd name="connsiteY3" fmla="*/ 5569200 h 5569200"/>
              <a:gd name="connsiteX4" fmla="*/ 4319335 w 4320925"/>
              <a:gd name="connsiteY4" fmla="*/ 5565601 h 5569200"/>
              <a:gd name="connsiteX5" fmla="*/ 8363 w 4320925"/>
              <a:gd name="connsiteY5" fmla="*/ 4610254 h 5569200"/>
              <a:gd name="connsiteX6" fmla="*/ 0 w 4320925"/>
              <a:gd name="connsiteY6" fmla="*/ 761434 h 5569200"/>
              <a:gd name="connsiteX7" fmla="*/ 4314189 w 4320925"/>
              <a:gd name="connsiteY7" fmla="*/ 0 h 5569200"/>
              <a:gd name="connsiteX0" fmla="*/ 4306631 w 4313367"/>
              <a:gd name="connsiteY0" fmla="*/ 0 h 5569200"/>
              <a:gd name="connsiteX1" fmla="*/ 4313367 w 4313367"/>
              <a:gd name="connsiteY1" fmla="*/ 0 h 5569200"/>
              <a:gd name="connsiteX2" fmla="*/ 4313367 w 4313367"/>
              <a:gd name="connsiteY2" fmla="*/ 5569200 h 5569200"/>
              <a:gd name="connsiteX3" fmla="*/ 4291399 w 4313367"/>
              <a:gd name="connsiteY3" fmla="*/ 5569200 h 5569200"/>
              <a:gd name="connsiteX4" fmla="*/ 4311777 w 4313367"/>
              <a:gd name="connsiteY4" fmla="*/ 5565601 h 5569200"/>
              <a:gd name="connsiteX5" fmla="*/ 805 w 4313367"/>
              <a:gd name="connsiteY5" fmla="*/ 4610254 h 5569200"/>
              <a:gd name="connsiteX6" fmla="*/ 805 w 4313367"/>
              <a:gd name="connsiteY6" fmla="*/ 913417 h 5569200"/>
              <a:gd name="connsiteX7" fmla="*/ 4306631 w 4313367"/>
              <a:gd name="connsiteY7" fmla="*/ 0 h 5569200"/>
              <a:gd name="connsiteX0" fmla="*/ 4313321 w 4320057"/>
              <a:gd name="connsiteY0" fmla="*/ 0 h 5569200"/>
              <a:gd name="connsiteX1" fmla="*/ 4320057 w 4320057"/>
              <a:gd name="connsiteY1" fmla="*/ 0 h 5569200"/>
              <a:gd name="connsiteX2" fmla="*/ 4320057 w 4320057"/>
              <a:gd name="connsiteY2" fmla="*/ 5569200 h 5569200"/>
              <a:gd name="connsiteX3" fmla="*/ 4298089 w 4320057"/>
              <a:gd name="connsiteY3" fmla="*/ 5569200 h 5569200"/>
              <a:gd name="connsiteX4" fmla="*/ 4318467 w 4320057"/>
              <a:gd name="connsiteY4" fmla="*/ 5565601 h 5569200"/>
              <a:gd name="connsiteX5" fmla="*/ 7495 w 4320057"/>
              <a:gd name="connsiteY5" fmla="*/ 4610254 h 5569200"/>
              <a:gd name="connsiteX6" fmla="*/ 0 w 4320057"/>
              <a:gd name="connsiteY6" fmla="*/ 913417 h 5569200"/>
              <a:gd name="connsiteX7" fmla="*/ 4313321 w 4320057"/>
              <a:gd name="connsiteY7" fmla="*/ 0 h 5569200"/>
              <a:gd name="connsiteX0" fmla="*/ 4313321 w 4320057"/>
              <a:gd name="connsiteY0" fmla="*/ 0 h 5569200"/>
              <a:gd name="connsiteX1" fmla="*/ 4320057 w 4320057"/>
              <a:gd name="connsiteY1" fmla="*/ 0 h 5569200"/>
              <a:gd name="connsiteX2" fmla="*/ 4320057 w 4320057"/>
              <a:gd name="connsiteY2" fmla="*/ 5569200 h 5569200"/>
              <a:gd name="connsiteX3" fmla="*/ 4298089 w 4320057"/>
              <a:gd name="connsiteY3" fmla="*/ 5569200 h 5569200"/>
              <a:gd name="connsiteX4" fmla="*/ 4318467 w 4320057"/>
              <a:gd name="connsiteY4" fmla="*/ 5565601 h 5569200"/>
              <a:gd name="connsiteX5" fmla="*/ 7495 w 4320057"/>
              <a:gd name="connsiteY5" fmla="*/ 4610254 h 5569200"/>
              <a:gd name="connsiteX6" fmla="*/ 0 w 4320057"/>
              <a:gd name="connsiteY6" fmla="*/ 917957 h 5569200"/>
              <a:gd name="connsiteX7" fmla="*/ 4313321 w 4320057"/>
              <a:gd name="connsiteY7" fmla="*/ 0 h 5569200"/>
              <a:gd name="connsiteX0" fmla="*/ 4313321 w 4320057"/>
              <a:gd name="connsiteY0" fmla="*/ 0 h 5569200"/>
              <a:gd name="connsiteX1" fmla="*/ 4320057 w 4320057"/>
              <a:gd name="connsiteY1" fmla="*/ 0 h 5569200"/>
              <a:gd name="connsiteX2" fmla="*/ 4320057 w 4320057"/>
              <a:gd name="connsiteY2" fmla="*/ 5569200 h 5569200"/>
              <a:gd name="connsiteX3" fmla="*/ 4298089 w 4320057"/>
              <a:gd name="connsiteY3" fmla="*/ 5569200 h 5569200"/>
              <a:gd name="connsiteX4" fmla="*/ 4318467 w 4320057"/>
              <a:gd name="connsiteY4" fmla="*/ 5565601 h 5569200"/>
              <a:gd name="connsiteX5" fmla="*/ 1874 w 4320057"/>
              <a:gd name="connsiteY5" fmla="*/ 4603444 h 5569200"/>
              <a:gd name="connsiteX6" fmla="*/ 0 w 4320057"/>
              <a:gd name="connsiteY6" fmla="*/ 917957 h 5569200"/>
              <a:gd name="connsiteX7" fmla="*/ 4313321 w 4320057"/>
              <a:gd name="connsiteY7" fmla="*/ 0 h 5569200"/>
              <a:gd name="connsiteX0" fmla="*/ 4313321 w 4320057"/>
              <a:gd name="connsiteY0" fmla="*/ 0 h 5569200"/>
              <a:gd name="connsiteX1" fmla="*/ 4320057 w 4320057"/>
              <a:gd name="connsiteY1" fmla="*/ 0 h 5569200"/>
              <a:gd name="connsiteX2" fmla="*/ 4320057 w 4320057"/>
              <a:gd name="connsiteY2" fmla="*/ 5569200 h 5569200"/>
              <a:gd name="connsiteX3" fmla="*/ 4298089 w 4320057"/>
              <a:gd name="connsiteY3" fmla="*/ 5569200 h 5569200"/>
              <a:gd name="connsiteX4" fmla="*/ 4318467 w 4320057"/>
              <a:gd name="connsiteY4" fmla="*/ 5565601 h 5569200"/>
              <a:gd name="connsiteX5" fmla="*/ 1874 w 4320057"/>
              <a:gd name="connsiteY5" fmla="*/ 4605715 h 5569200"/>
              <a:gd name="connsiteX6" fmla="*/ 0 w 4320057"/>
              <a:gd name="connsiteY6" fmla="*/ 917957 h 5569200"/>
              <a:gd name="connsiteX7" fmla="*/ 4313321 w 4320057"/>
              <a:gd name="connsiteY7" fmla="*/ 0 h 5569200"/>
              <a:gd name="connsiteX0" fmla="*/ 4313321 w 4320057"/>
              <a:gd name="connsiteY0" fmla="*/ 0 h 5580051"/>
              <a:gd name="connsiteX1" fmla="*/ 4320057 w 4320057"/>
              <a:gd name="connsiteY1" fmla="*/ 0 h 5580051"/>
              <a:gd name="connsiteX2" fmla="*/ 4320057 w 4320057"/>
              <a:gd name="connsiteY2" fmla="*/ 5569200 h 5580051"/>
              <a:gd name="connsiteX3" fmla="*/ 4298089 w 4320057"/>
              <a:gd name="connsiteY3" fmla="*/ 5569200 h 5580051"/>
              <a:gd name="connsiteX4" fmla="*/ 4318467 w 4320057"/>
              <a:gd name="connsiteY4" fmla="*/ 5580051 h 5580051"/>
              <a:gd name="connsiteX5" fmla="*/ 1874 w 4320057"/>
              <a:gd name="connsiteY5" fmla="*/ 4605715 h 5580051"/>
              <a:gd name="connsiteX6" fmla="*/ 0 w 4320057"/>
              <a:gd name="connsiteY6" fmla="*/ 917957 h 5580051"/>
              <a:gd name="connsiteX7" fmla="*/ 4313321 w 4320057"/>
              <a:gd name="connsiteY7" fmla="*/ 0 h 5580051"/>
              <a:gd name="connsiteX0" fmla="*/ 4313321 w 4320057"/>
              <a:gd name="connsiteY0" fmla="*/ 0 h 5580051"/>
              <a:gd name="connsiteX1" fmla="*/ 4320057 w 4320057"/>
              <a:gd name="connsiteY1" fmla="*/ 0 h 5580051"/>
              <a:gd name="connsiteX2" fmla="*/ 4320057 w 4320057"/>
              <a:gd name="connsiteY2" fmla="*/ 5569200 h 5580051"/>
              <a:gd name="connsiteX3" fmla="*/ 4298089 w 4320057"/>
              <a:gd name="connsiteY3" fmla="*/ 5559511 h 5580051"/>
              <a:gd name="connsiteX4" fmla="*/ 4318467 w 4320057"/>
              <a:gd name="connsiteY4" fmla="*/ 5580051 h 5580051"/>
              <a:gd name="connsiteX5" fmla="*/ 1874 w 4320057"/>
              <a:gd name="connsiteY5" fmla="*/ 4605715 h 5580051"/>
              <a:gd name="connsiteX6" fmla="*/ 0 w 4320057"/>
              <a:gd name="connsiteY6" fmla="*/ 917957 h 5580051"/>
              <a:gd name="connsiteX7" fmla="*/ 4313321 w 4320057"/>
              <a:gd name="connsiteY7" fmla="*/ 0 h 5580051"/>
              <a:gd name="connsiteX0" fmla="*/ 4313321 w 4320057"/>
              <a:gd name="connsiteY0" fmla="*/ 0 h 5678204"/>
              <a:gd name="connsiteX1" fmla="*/ 4320057 w 4320057"/>
              <a:gd name="connsiteY1" fmla="*/ 0 h 5678204"/>
              <a:gd name="connsiteX2" fmla="*/ 4320057 w 4320057"/>
              <a:gd name="connsiteY2" fmla="*/ 5569200 h 5678204"/>
              <a:gd name="connsiteX3" fmla="*/ 4298089 w 4320057"/>
              <a:gd name="connsiteY3" fmla="*/ 5678204 h 5678204"/>
              <a:gd name="connsiteX4" fmla="*/ 4318467 w 4320057"/>
              <a:gd name="connsiteY4" fmla="*/ 5580051 h 5678204"/>
              <a:gd name="connsiteX5" fmla="*/ 1874 w 4320057"/>
              <a:gd name="connsiteY5" fmla="*/ 4605715 h 5678204"/>
              <a:gd name="connsiteX6" fmla="*/ 0 w 4320057"/>
              <a:gd name="connsiteY6" fmla="*/ 917957 h 5678204"/>
              <a:gd name="connsiteX7" fmla="*/ 4313321 w 4320057"/>
              <a:gd name="connsiteY7" fmla="*/ 0 h 5678204"/>
              <a:gd name="connsiteX0" fmla="*/ 4313321 w 4320057"/>
              <a:gd name="connsiteY0" fmla="*/ 0 h 5580051"/>
              <a:gd name="connsiteX1" fmla="*/ 4320057 w 4320057"/>
              <a:gd name="connsiteY1" fmla="*/ 0 h 5580051"/>
              <a:gd name="connsiteX2" fmla="*/ 4320057 w 4320057"/>
              <a:gd name="connsiteY2" fmla="*/ 5569200 h 5580051"/>
              <a:gd name="connsiteX3" fmla="*/ 4318467 w 4320057"/>
              <a:gd name="connsiteY3" fmla="*/ 5580051 h 5580051"/>
              <a:gd name="connsiteX4" fmla="*/ 1874 w 4320057"/>
              <a:gd name="connsiteY4" fmla="*/ 4605715 h 5580051"/>
              <a:gd name="connsiteX5" fmla="*/ 0 w 4320057"/>
              <a:gd name="connsiteY5" fmla="*/ 917957 h 5580051"/>
              <a:gd name="connsiteX6" fmla="*/ 4313321 w 4320057"/>
              <a:gd name="connsiteY6" fmla="*/ 0 h 5580051"/>
              <a:gd name="connsiteX0" fmla="*/ 4313321 w 4320464"/>
              <a:gd name="connsiteY0" fmla="*/ 0 h 5575206"/>
              <a:gd name="connsiteX1" fmla="*/ 4320057 w 4320464"/>
              <a:gd name="connsiteY1" fmla="*/ 0 h 5575206"/>
              <a:gd name="connsiteX2" fmla="*/ 4320057 w 4320464"/>
              <a:gd name="connsiteY2" fmla="*/ 5569200 h 5575206"/>
              <a:gd name="connsiteX3" fmla="*/ 4320464 w 4320464"/>
              <a:gd name="connsiteY3" fmla="*/ 5575206 h 5575206"/>
              <a:gd name="connsiteX4" fmla="*/ 1874 w 4320464"/>
              <a:gd name="connsiteY4" fmla="*/ 4605715 h 5575206"/>
              <a:gd name="connsiteX5" fmla="*/ 0 w 4320464"/>
              <a:gd name="connsiteY5" fmla="*/ 917957 h 5575206"/>
              <a:gd name="connsiteX6" fmla="*/ 4313321 w 4320464"/>
              <a:gd name="connsiteY6" fmla="*/ 0 h 5575206"/>
              <a:gd name="connsiteX0" fmla="*/ 4313321 w 4320464"/>
              <a:gd name="connsiteY0" fmla="*/ 0 h 5575206"/>
              <a:gd name="connsiteX1" fmla="*/ 4320057 w 4320464"/>
              <a:gd name="connsiteY1" fmla="*/ 0 h 5575206"/>
              <a:gd name="connsiteX2" fmla="*/ 4320057 w 4320464"/>
              <a:gd name="connsiteY2" fmla="*/ 5569200 h 5575206"/>
              <a:gd name="connsiteX3" fmla="*/ 4320464 w 4320464"/>
              <a:gd name="connsiteY3" fmla="*/ 5575206 h 5575206"/>
              <a:gd name="connsiteX4" fmla="*/ 3689 w 4320464"/>
              <a:gd name="connsiteY4" fmla="*/ 4610112 h 5575206"/>
              <a:gd name="connsiteX5" fmla="*/ 0 w 4320464"/>
              <a:gd name="connsiteY5" fmla="*/ 917957 h 5575206"/>
              <a:gd name="connsiteX6" fmla="*/ 4313321 w 4320464"/>
              <a:gd name="connsiteY6" fmla="*/ 0 h 5575206"/>
              <a:gd name="connsiteX0" fmla="*/ 4313321 w 4320464"/>
              <a:gd name="connsiteY0" fmla="*/ 0 h 5575206"/>
              <a:gd name="connsiteX1" fmla="*/ 4320057 w 4320464"/>
              <a:gd name="connsiteY1" fmla="*/ 0 h 5575206"/>
              <a:gd name="connsiteX2" fmla="*/ 4320057 w 4320464"/>
              <a:gd name="connsiteY2" fmla="*/ 5569200 h 5575206"/>
              <a:gd name="connsiteX3" fmla="*/ 4320464 w 4320464"/>
              <a:gd name="connsiteY3" fmla="*/ 5575206 h 5575206"/>
              <a:gd name="connsiteX4" fmla="*/ 1874 w 4320464"/>
              <a:gd name="connsiteY4" fmla="*/ 4610112 h 5575206"/>
              <a:gd name="connsiteX5" fmla="*/ 0 w 4320464"/>
              <a:gd name="connsiteY5" fmla="*/ 917957 h 5575206"/>
              <a:gd name="connsiteX6" fmla="*/ 4313321 w 4320464"/>
              <a:gd name="connsiteY6" fmla="*/ 0 h 5575206"/>
              <a:gd name="connsiteX0" fmla="*/ 4313321 w 4320464"/>
              <a:gd name="connsiteY0" fmla="*/ 0 h 5575206"/>
              <a:gd name="connsiteX1" fmla="*/ 4320057 w 4320464"/>
              <a:gd name="connsiteY1" fmla="*/ 0 h 5575206"/>
              <a:gd name="connsiteX2" fmla="*/ 4320057 w 4320464"/>
              <a:gd name="connsiteY2" fmla="*/ 5569200 h 5575206"/>
              <a:gd name="connsiteX3" fmla="*/ 4320464 w 4320464"/>
              <a:gd name="connsiteY3" fmla="*/ 5575206 h 5575206"/>
              <a:gd name="connsiteX4" fmla="*/ 1874 w 4320464"/>
              <a:gd name="connsiteY4" fmla="*/ 4616706 h 5575206"/>
              <a:gd name="connsiteX5" fmla="*/ 0 w 4320464"/>
              <a:gd name="connsiteY5" fmla="*/ 917957 h 5575206"/>
              <a:gd name="connsiteX6" fmla="*/ 4313321 w 4320464"/>
              <a:gd name="connsiteY6" fmla="*/ 0 h 5575206"/>
              <a:gd name="connsiteX0" fmla="*/ 4314073 w 4321216"/>
              <a:gd name="connsiteY0" fmla="*/ 0 h 5575206"/>
              <a:gd name="connsiteX1" fmla="*/ 4320809 w 4321216"/>
              <a:gd name="connsiteY1" fmla="*/ 0 h 5575206"/>
              <a:gd name="connsiteX2" fmla="*/ 4320809 w 4321216"/>
              <a:gd name="connsiteY2" fmla="*/ 5569200 h 5575206"/>
              <a:gd name="connsiteX3" fmla="*/ 4321216 w 4321216"/>
              <a:gd name="connsiteY3" fmla="*/ 5575206 h 5575206"/>
              <a:gd name="connsiteX4" fmla="*/ 811 w 4321216"/>
              <a:gd name="connsiteY4" fmla="*/ 4612310 h 5575206"/>
              <a:gd name="connsiteX5" fmla="*/ 752 w 4321216"/>
              <a:gd name="connsiteY5" fmla="*/ 917957 h 5575206"/>
              <a:gd name="connsiteX6" fmla="*/ 4314073 w 4321216"/>
              <a:gd name="connsiteY6" fmla="*/ 0 h 5575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21216" h="5575206">
                <a:moveTo>
                  <a:pt x="4314073" y="0"/>
                </a:moveTo>
                <a:lnTo>
                  <a:pt x="4320809" y="0"/>
                </a:lnTo>
                <a:lnTo>
                  <a:pt x="4320809" y="5569200"/>
                </a:lnTo>
                <a:cubicBezTo>
                  <a:pt x="4320945" y="5571202"/>
                  <a:pt x="4321080" y="5573204"/>
                  <a:pt x="4321216" y="5575206"/>
                </a:cubicBezTo>
                <a:lnTo>
                  <a:pt x="811" y="4612310"/>
                </a:lnTo>
                <a:cubicBezTo>
                  <a:pt x="-1977" y="3329370"/>
                  <a:pt x="3540" y="2200897"/>
                  <a:pt x="752" y="917957"/>
                </a:cubicBezTo>
                <a:lnTo>
                  <a:pt x="4314073" y="0"/>
                </a:lnTo>
                <a:close/>
              </a:path>
            </a:pathLst>
          </a:custGeom>
          <a:solidFill>
            <a:schemeClr val="bg2">
              <a:alpha val="54000"/>
            </a:schemeClr>
          </a:solidFill>
        </p:spPr>
        <p:txBody>
          <a:bodyPr wrap="square" tIns="0" bIns="9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da-DK" dirty="0"/>
              <a:t>Vælg billedpladsholderen </a:t>
            </a:r>
            <a:br>
              <a:rPr lang="da-DK" dirty="0"/>
            </a:br>
            <a:r>
              <a:rPr lang="da-DK" dirty="0"/>
              <a:t>og indsæt billede via </a:t>
            </a:r>
            <a:br>
              <a:rPr lang="da-DK" dirty="0"/>
            </a:b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41" name="Blue"/>
          <p:cNvSpPr>
            <a:spLocks noGrp="1"/>
          </p:cNvSpPr>
          <p:nvPr>
            <p:ph type="body" sz="quarter" idx="20" hasCustomPrompt="1"/>
          </p:nvPr>
        </p:nvSpPr>
        <p:spPr>
          <a:xfrm>
            <a:off x="6428035" y="4749243"/>
            <a:ext cx="5761565" cy="2113473"/>
          </a:xfrm>
          <a:custGeom>
            <a:avLst/>
            <a:gdLst>
              <a:gd name="connsiteX0" fmla="*/ 4321174 w 4321174"/>
              <a:gd name="connsiteY0" fmla="*/ 0 h 1526318"/>
              <a:gd name="connsiteX1" fmla="*/ 4321174 w 4321174"/>
              <a:gd name="connsiteY1" fmla="*/ 1526318 h 1526318"/>
              <a:gd name="connsiteX2" fmla="*/ 0 w 4321174"/>
              <a:gd name="connsiteY2" fmla="*/ 763159 h 1526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21174" h="1526318">
                <a:moveTo>
                  <a:pt x="4321174" y="0"/>
                </a:moveTo>
                <a:lnTo>
                  <a:pt x="4321174" y="1526318"/>
                </a:lnTo>
                <a:lnTo>
                  <a:pt x="0" y="763159"/>
                </a:lnTo>
                <a:close/>
              </a:path>
            </a:pathLst>
          </a:custGeom>
          <a:solidFill>
            <a:schemeClr val="accent3">
              <a:alpha val="9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pic>
        <p:nvPicPr>
          <p:cNvPr id="11" name="Logo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749" y="346665"/>
            <a:ext cx="1404000" cy="256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907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28">
          <p15:clr>
            <a:srgbClr val="00000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B 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icture Placeholder 38"/>
          <p:cNvSpPr>
            <a:spLocks noGrp="1"/>
          </p:cNvSpPr>
          <p:nvPr>
            <p:ph type="pic" sz="quarter" idx="13" hasCustomPrompt="1"/>
          </p:nvPr>
        </p:nvSpPr>
        <p:spPr>
          <a:xfrm>
            <a:off x="-4800" y="-3600"/>
            <a:ext cx="12206400" cy="6865200"/>
          </a:xfrm>
          <a:prstGeom prst="rect">
            <a:avLst/>
          </a:prstGeom>
          <a:solidFill>
            <a:schemeClr val="bg2"/>
          </a:solidFill>
        </p:spPr>
        <p:txBody>
          <a:bodyPr wrap="square" lIns="108000" tIns="108000" rIns="8496000" bIns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4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aseline="0"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4079874" y="0"/>
            <a:ext cx="8112125" cy="6858000"/>
          </a:xfrm>
          <a:custGeom>
            <a:avLst/>
            <a:gdLst>
              <a:gd name="connsiteX0" fmla="*/ 0 w 8112125"/>
              <a:gd name="connsiteY0" fmla="*/ 6853584 h 6858000"/>
              <a:gd name="connsiteX1" fmla="*/ 8112125 w 8112125"/>
              <a:gd name="connsiteY1" fmla="*/ 6855002 h 6858000"/>
              <a:gd name="connsiteX2" fmla="*/ 8112125 w 8112125"/>
              <a:gd name="connsiteY2" fmla="*/ 6858000 h 6858000"/>
              <a:gd name="connsiteX3" fmla="*/ 0 w 8112125"/>
              <a:gd name="connsiteY3" fmla="*/ 6858000 h 6858000"/>
              <a:gd name="connsiteX4" fmla="*/ 8099855 w 8112125"/>
              <a:gd name="connsiteY4" fmla="*/ 6852814 h 6858000"/>
              <a:gd name="connsiteX5" fmla="*/ 8112125 w 8112125"/>
              <a:gd name="connsiteY5" fmla="*/ 6852816 h 6858000"/>
              <a:gd name="connsiteX6" fmla="*/ 8112125 w 8112125"/>
              <a:gd name="connsiteY6" fmla="*/ 6855002 h 6858000"/>
              <a:gd name="connsiteX7" fmla="*/ 0 w 8112125"/>
              <a:gd name="connsiteY7" fmla="*/ 0 h 6858000"/>
              <a:gd name="connsiteX8" fmla="*/ 8112125 w 8112125"/>
              <a:gd name="connsiteY8" fmla="*/ 0 h 6858000"/>
              <a:gd name="connsiteX9" fmla="*/ 8112125 w 8112125"/>
              <a:gd name="connsiteY9" fmla="*/ 6852816 h 6858000"/>
              <a:gd name="connsiteX10" fmla="*/ 8063369 w 8112125"/>
              <a:gd name="connsiteY10" fmla="*/ 6846308 h 6858000"/>
              <a:gd name="connsiteX11" fmla="*/ 0 w 8112125"/>
              <a:gd name="connsiteY11" fmla="*/ 5408521 h 6858000"/>
              <a:gd name="connsiteX0" fmla="*/ 0 w 8112125"/>
              <a:gd name="connsiteY0" fmla="*/ 6858000 h 6858000"/>
              <a:gd name="connsiteX1" fmla="*/ 8112125 w 8112125"/>
              <a:gd name="connsiteY1" fmla="*/ 6855002 h 6858000"/>
              <a:gd name="connsiteX2" fmla="*/ 8112125 w 8112125"/>
              <a:gd name="connsiteY2" fmla="*/ 6858000 h 6858000"/>
              <a:gd name="connsiteX3" fmla="*/ 0 w 8112125"/>
              <a:gd name="connsiteY3" fmla="*/ 6858000 h 6858000"/>
              <a:gd name="connsiteX4" fmla="*/ 8099855 w 8112125"/>
              <a:gd name="connsiteY4" fmla="*/ 6852814 h 6858000"/>
              <a:gd name="connsiteX5" fmla="*/ 8112125 w 8112125"/>
              <a:gd name="connsiteY5" fmla="*/ 6852816 h 6858000"/>
              <a:gd name="connsiteX6" fmla="*/ 8112125 w 8112125"/>
              <a:gd name="connsiteY6" fmla="*/ 6855002 h 6858000"/>
              <a:gd name="connsiteX7" fmla="*/ 8099855 w 8112125"/>
              <a:gd name="connsiteY7" fmla="*/ 6852814 h 6858000"/>
              <a:gd name="connsiteX8" fmla="*/ 0 w 8112125"/>
              <a:gd name="connsiteY8" fmla="*/ 0 h 6858000"/>
              <a:gd name="connsiteX9" fmla="*/ 8112125 w 8112125"/>
              <a:gd name="connsiteY9" fmla="*/ 0 h 6858000"/>
              <a:gd name="connsiteX10" fmla="*/ 8112125 w 8112125"/>
              <a:gd name="connsiteY10" fmla="*/ 6852816 h 6858000"/>
              <a:gd name="connsiteX11" fmla="*/ 8063369 w 8112125"/>
              <a:gd name="connsiteY11" fmla="*/ 6846308 h 6858000"/>
              <a:gd name="connsiteX12" fmla="*/ 0 w 8112125"/>
              <a:gd name="connsiteY12" fmla="*/ 5408521 h 6858000"/>
              <a:gd name="connsiteX13" fmla="*/ 0 w 8112125"/>
              <a:gd name="connsiteY13" fmla="*/ 0 h 6858000"/>
              <a:gd name="connsiteX0" fmla="*/ 0 w 8112125"/>
              <a:gd name="connsiteY0" fmla="*/ 6858000 h 6858000"/>
              <a:gd name="connsiteX1" fmla="*/ 8112125 w 8112125"/>
              <a:gd name="connsiteY1" fmla="*/ 6855002 h 6858000"/>
              <a:gd name="connsiteX2" fmla="*/ 8112125 w 8112125"/>
              <a:gd name="connsiteY2" fmla="*/ 6858000 h 6858000"/>
              <a:gd name="connsiteX3" fmla="*/ 0 w 8112125"/>
              <a:gd name="connsiteY3" fmla="*/ 6858000 h 6858000"/>
              <a:gd name="connsiteX4" fmla="*/ 8112125 w 8112125"/>
              <a:gd name="connsiteY4" fmla="*/ 6855002 h 6858000"/>
              <a:gd name="connsiteX5" fmla="*/ 8112125 w 8112125"/>
              <a:gd name="connsiteY5" fmla="*/ 6852816 h 6858000"/>
              <a:gd name="connsiteX6" fmla="*/ 8112125 w 8112125"/>
              <a:gd name="connsiteY6" fmla="*/ 6855002 h 6858000"/>
              <a:gd name="connsiteX7" fmla="*/ 0 w 8112125"/>
              <a:gd name="connsiteY7" fmla="*/ 0 h 6858000"/>
              <a:gd name="connsiteX8" fmla="*/ 8112125 w 8112125"/>
              <a:gd name="connsiteY8" fmla="*/ 0 h 6858000"/>
              <a:gd name="connsiteX9" fmla="*/ 8112125 w 8112125"/>
              <a:gd name="connsiteY9" fmla="*/ 6852816 h 6858000"/>
              <a:gd name="connsiteX10" fmla="*/ 8063369 w 8112125"/>
              <a:gd name="connsiteY10" fmla="*/ 6846308 h 6858000"/>
              <a:gd name="connsiteX11" fmla="*/ 0 w 8112125"/>
              <a:gd name="connsiteY11" fmla="*/ 5408521 h 6858000"/>
              <a:gd name="connsiteX12" fmla="*/ 0 w 8112125"/>
              <a:gd name="connsiteY1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112125" h="6858000">
                <a:moveTo>
                  <a:pt x="0" y="6858000"/>
                </a:moveTo>
                <a:lnTo>
                  <a:pt x="8112125" y="6855002"/>
                </a:lnTo>
                <a:lnTo>
                  <a:pt x="8112125" y="6858000"/>
                </a:lnTo>
                <a:lnTo>
                  <a:pt x="0" y="6858000"/>
                </a:lnTo>
                <a:close/>
                <a:moveTo>
                  <a:pt x="8112125" y="6855002"/>
                </a:moveTo>
                <a:lnTo>
                  <a:pt x="8112125" y="6852816"/>
                </a:lnTo>
                <a:lnTo>
                  <a:pt x="8112125" y="6855002"/>
                </a:lnTo>
                <a:close/>
                <a:moveTo>
                  <a:pt x="0" y="0"/>
                </a:moveTo>
                <a:lnTo>
                  <a:pt x="8112125" y="0"/>
                </a:lnTo>
                <a:lnTo>
                  <a:pt x="8112125" y="6852816"/>
                </a:lnTo>
                <a:lnTo>
                  <a:pt x="8063369" y="6846308"/>
                </a:lnTo>
                <a:lnTo>
                  <a:pt x="0" y="540852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alpha val="90000"/>
            </a:schemeClr>
          </a:solidFill>
        </p:spPr>
        <p:txBody>
          <a:bodyPr wrap="square" lIns="655200" tIns="2304000" rIns="630000" bIns="2538000" anchor="t" anchorCtr="0">
            <a:noAutofit/>
          </a:bodyPr>
          <a:lstStyle>
            <a:lvl1pPr>
              <a:lnSpc>
                <a:spcPct val="87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Præsentationstitel i maksimum to linjer</a:t>
            </a:r>
            <a:endParaRPr lang="da-DK"/>
          </a:p>
        </p:txBody>
      </p:sp>
      <p:sp>
        <p:nvSpPr>
          <p:cNvPr id="3" name="Undertitel 2"/>
          <p:cNvSpPr>
            <a:spLocks noGrp="1"/>
          </p:cNvSpPr>
          <p:nvPr>
            <p:ph type="subTitle" idx="1" hasCustomPrompt="1"/>
          </p:nvPr>
        </p:nvSpPr>
        <p:spPr>
          <a:xfrm>
            <a:off x="4067909" y="3512736"/>
            <a:ext cx="7450992" cy="498834"/>
          </a:xfrm>
        </p:spPr>
        <p:txBody>
          <a:bodyPr lIns="702000" rIns="511200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Klik, og tilføj undertitel</a:t>
            </a:r>
            <a:endParaRPr lang="da-DK"/>
          </a:p>
        </p:txBody>
      </p:sp>
      <p:sp>
        <p:nvSpPr>
          <p:cNvPr id="6" name="Indsæt TitleName"/>
          <p:cNvSpPr>
            <a:spLocks noGrp="1"/>
          </p:cNvSpPr>
          <p:nvPr>
            <p:ph type="body" sz="quarter" idx="14" hasCustomPrompt="1"/>
          </p:nvPr>
        </p:nvSpPr>
        <p:spPr>
          <a:xfrm>
            <a:off x="4079875" y="1345848"/>
            <a:ext cx="7439026" cy="360040"/>
          </a:xfrm>
        </p:spPr>
        <p:txBody>
          <a:bodyPr lIns="684000" anchor="b" anchorCtr="0"/>
          <a:lstStyle>
            <a:lvl1pPr>
              <a:lnSpc>
                <a:spcPct val="110000"/>
              </a:lnSpc>
              <a:defRPr sz="10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Indsæt titel, navn</a:t>
            </a:r>
            <a:endParaRPr lang="da-DK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408614"/>
            <a:ext cx="12192000" cy="1447802"/>
          </a:xfrm>
          <a:custGeom>
            <a:avLst/>
            <a:gdLst>
              <a:gd name="connsiteX0" fmla="*/ 3054350 w 9144000"/>
              <a:gd name="connsiteY0" fmla="*/ 0 h 1077913"/>
              <a:gd name="connsiteX1" fmla="*/ 9144000 w 9144000"/>
              <a:gd name="connsiteY1" fmla="*/ 1077913 h 1077913"/>
              <a:gd name="connsiteX2" fmla="*/ 0 w 9144000"/>
              <a:gd name="connsiteY2" fmla="*/ 1076326 h 1077913"/>
              <a:gd name="connsiteX3" fmla="*/ 0 w 9144000"/>
              <a:gd name="connsiteY3" fmla="*/ 538163 h 1077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1077913">
                <a:moveTo>
                  <a:pt x="3054350" y="0"/>
                </a:moveTo>
                <a:lnTo>
                  <a:pt x="9144000" y="1077913"/>
                </a:lnTo>
                <a:lnTo>
                  <a:pt x="0" y="1076326"/>
                </a:lnTo>
                <a:lnTo>
                  <a:pt x="0" y="538163"/>
                </a:lnTo>
                <a:close/>
              </a:path>
            </a:pathLst>
          </a:custGeom>
          <a:solidFill>
            <a:schemeClr val="accent4">
              <a:alpha val="6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071600" y="3960000"/>
            <a:ext cx="8118000" cy="2901600"/>
          </a:xfrm>
          <a:custGeom>
            <a:avLst/>
            <a:gdLst>
              <a:gd name="connsiteX0" fmla="*/ 6116484 w 6118225"/>
              <a:gd name="connsiteY0" fmla="*/ 0 h 2159720"/>
              <a:gd name="connsiteX1" fmla="*/ 6118225 w 6118225"/>
              <a:gd name="connsiteY1" fmla="*/ 0 h 2159720"/>
              <a:gd name="connsiteX2" fmla="*/ 6118225 w 6118225"/>
              <a:gd name="connsiteY2" fmla="*/ 2159720 h 2159720"/>
              <a:gd name="connsiteX3" fmla="*/ 0 w 6118225"/>
              <a:gd name="connsiteY3" fmla="*/ 1078913 h 2159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18225" h="2159720">
                <a:moveTo>
                  <a:pt x="6116484" y="0"/>
                </a:moveTo>
                <a:lnTo>
                  <a:pt x="6118225" y="0"/>
                </a:lnTo>
                <a:lnTo>
                  <a:pt x="6118225" y="2159720"/>
                </a:lnTo>
                <a:lnTo>
                  <a:pt x="0" y="1078913"/>
                </a:lnTo>
                <a:close/>
              </a:path>
            </a:pathLst>
          </a:custGeom>
          <a:solidFill>
            <a:srgbClr val="EB4430"/>
          </a:solidFill>
        </p:spPr>
        <p:txBody>
          <a:bodyPr wrap="square">
            <a:noAutofit/>
          </a:bodyPr>
          <a:lstStyle>
            <a:lvl1pPr marL="0" indent="0">
              <a:buNone/>
              <a:defRPr sz="100"/>
            </a:lvl1pPr>
            <a:lvl2pPr marL="0" indent="0">
              <a:buNone/>
              <a:defRPr sz="100"/>
            </a:lvl2pPr>
            <a:lvl3pPr marL="216000" indent="0">
              <a:buNone/>
              <a:defRPr sz="100"/>
            </a:lvl3pPr>
            <a:lvl4pPr marL="432000" indent="0">
              <a:buNone/>
              <a:defRPr sz="100"/>
            </a:lvl4pPr>
            <a:lvl5pPr marL="648000" indent="0">
              <a:buNone/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17" name="Text Placeholder 3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4764088" y="345600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9" name="TextBox 8"/>
          <p:cNvSpPr txBox="1"/>
          <p:nvPr userDrawn="1"/>
        </p:nvSpPr>
        <p:spPr>
          <a:xfrm>
            <a:off x="-14179" y="-214438"/>
            <a:ext cx="122064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100" b="1" noProof="0" dirty="0">
                <a:solidFill>
                  <a:schemeClr val="accent1"/>
                </a:solidFill>
              </a:rPr>
              <a:t>Bemærk</a:t>
            </a:r>
            <a:r>
              <a:rPr lang="da-DK" sz="1100" noProof="0" dirty="0">
                <a:solidFill>
                  <a:schemeClr val="accent1"/>
                </a:solidFill>
              </a:rPr>
              <a:t> at billedet ses under boksen som er transparent. Derfor skal billedet fylde hele siden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562498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01">
          <p15:clr>
            <a:srgbClr val="FBAE40"/>
          </p15:clr>
        </p15:guide>
        <p15:guide id="2" pos="2570">
          <p15:clr>
            <a:srgbClr val="FBAE40"/>
          </p15:clr>
        </p15:guide>
        <p15:guide id="3" orient="horz" pos="3407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+ billede (A) 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rey"/>
          <p:cNvSpPr>
            <a:spLocks/>
          </p:cNvSpPr>
          <p:nvPr userDrawn="1"/>
        </p:nvSpPr>
        <p:spPr bwMode="auto">
          <a:xfrm>
            <a:off x="670984" y="5805488"/>
            <a:ext cx="11521016" cy="1057228"/>
          </a:xfrm>
          <a:custGeom>
            <a:avLst/>
            <a:gdLst>
              <a:gd name="T0" fmla="*/ 0 w 5443"/>
              <a:gd name="T1" fmla="*/ 481 h 481"/>
              <a:gd name="T2" fmla="*/ 5443 w 5443"/>
              <a:gd name="T3" fmla="*/ 481 h 481"/>
              <a:gd name="T4" fmla="*/ 2721 w 5443"/>
              <a:gd name="T5" fmla="*/ 0 h 481"/>
              <a:gd name="T6" fmla="*/ 0 w 5443"/>
              <a:gd name="T7" fmla="*/ 481 h 4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443" h="481">
                <a:moveTo>
                  <a:pt x="0" y="481"/>
                </a:moveTo>
                <a:lnTo>
                  <a:pt x="5443" y="481"/>
                </a:lnTo>
                <a:lnTo>
                  <a:pt x="2721" y="0"/>
                </a:lnTo>
                <a:lnTo>
                  <a:pt x="0" y="48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sz="1800" dirty="0"/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672002" y="1285200"/>
            <a:ext cx="5087449" cy="954000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7"/>
          </p:nvPr>
        </p:nvSpPr>
        <p:spPr>
          <a:xfrm>
            <a:off x="672000" y="2565400"/>
            <a:ext cx="5087451" cy="3240088"/>
          </a:xfrm>
        </p:spPr>
        <p:txBody>
          <a:bodyPr/>
          <a:lstStyle/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styles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40" name="Picture"/>
          <p:cNvSpPr>
            <a:spLocks noGrp="1"/>
          </p:cNvSpPr>
          <p:nvPr>
            <p:ph type="pic" sz="quarter" idx="14" hasCustomPrompt="1"/>
          </p:nvPr>
        </p:nvSpPr>
        <p:spPr>
          <a:xfrm>
            <a:off x="6434722" y="728700"/>
            <a:ext cx="5759941" cy="6135910"/>
          </a:xfrm>
          <a:custGeom>
            <a:avLst/>
            <a:gdLst>
              <a:gd name="connsiteX0" fmla="*/ 4314189 w 4320925"/>
              <a:gd name="connsiteY0" fmla="*/ 0 h 5569200"/>
              <a:gd name="connsiteX1" fmla="*/ 4320925 w 4320925"/>
              <a:gd name="connsiteY1" fmla="*/ 0 h 5569200"/>
              <a:gd name="connsiteX2" fmla="*/ 4320925 w 4320925"/>
              <a:gd name="connsiteY2" fmla="*/ 5569200 h 5569200"/>
              <a:gd name="connsiteX3" fmla="*/ 4298957 w 4320925"/>
              <a:gd name="connsiteY3" fmla="*/ 5569200 h 5569200"/>
              <a:gd name="connsiteX4" fmla="*/ 4319335 w 4320925"/>
              <a:gd name="connsiteY4" fmla="*/ 5565601 h 5569200"/>
              <a:gd name="connsiteX5" fmla="*/ 0 w 4320925"/>
              <a:gd name="connsiteY5" fmla="*/ 4802767 h 5569200"/>
              <a:gd name="connsiteX6" fmla="*/ 0 w 4320925"/>
              <a:gd name="connsiteY6" fmla="*/ 761434 h 5569200"/>
              <a:gd name="connsiteX0" fmla="*/ 4314189 w 4320925"/>
              <a:gd name="connsiteY0" fmla="*/ 0 h 5569200"/>
              <a:gd name="connsiteX1" fmla="*/ 4320925 w 4320925"/>
              <a:gd name="connsiteY1" fmla="*/ 0 h 5569200"/>
              <a:gd name="connsiteX2" fmla="*/ 4320925 w 4320925"/>
              <a:gd name="connsiteY2" fmla="*/ 5569200 h 5569200"/>
              <a:gd name="connsiteX3" fmla="*/ 4298957 w 4320925"/>
              <a:gd name="connsiteY3" fmla="*/ 5569200 h 5569200"/>
              <a:gd name="connsiteX4" fmla="*/ 4319335 w 4320925"/>
              <a:gd name="connsiteY4" fmla="*/ 5565601 h 5569200"/>
              <a:gd name="connsiteX5" fmla="*/ 8363 w 4320925"/>
              <a:gd name="connsiteY5" fmla="*/ 4610254 h 5569200"/>
              <a:gd name="connsiteX6" fmla="*/ 0 w 4320925"/>
              <a:gd name="connsiteY6" fmla="*/ 761434 h 5569200"/>
              <a:gd name="connsiteX7" fmla="*/ 4314189 w 4320925"/>
              <a:gd name="connsiteY7" fmla="*/ 0 h 5569200"/>
              <a:gd name="connsiteX0" fmla="*/ 4306631 w 4313367"/>
              <a:gd name="connsiteY0" fmla="*/ 0 h 5569200"/>
              <a:gd name="connsiteX1" fmla="*/ 4313367 w 4313367"/>
              <a:gd name="connsiteY1" fmla="*/ 0 h 5569200"/>
              <a:gd name="connsiteX2" fmla="*/ 4313367 w 4313367"/>
              <a:gd name="connsiteY2" fmla="*/ 5569200 h 5569200"/>
              <a:gd name="connsiteX3" fmla="*/ 4291399 w 4313367"/>
              <a:gd name="connsiteY3" fmla="*/ 5569200 h 5569200"/>
              <a:gd name="connsiteX4" fmla="*/ 4311777 w 4313367"/>
              <a:gd name="connsiteY4" fmla="*/ 5565601 h 5569200"/>
              <a:gd name="connsiteX5" fmla="*/ 805 w 4313367"/>
              <a:gd name="connsiteY5" fmla="*/ 4610254 h 5569200"/>
              <a:gd name="connsiteX6" fmla="*/ 805 w 4313367"/>
              <a:gd name="connsiteY6" fmla="*/ 913417 h 5569200"/>
              <a:gd name="connsiteX7" fmla="*/ 4306631 w 4313367"/>
              <a:gd name="connsiteY7" fmla="*/ 0 h 5569200"/>
              <a:gd name="connsiteX0" fmla="*/ 4313321 w 4320057"/>
              <a:gd name="connsiteY0" fmla="*/ 0 h 5569200"/>
              <a:gd name="connsiteX1" fmla="*/ 4320057 w 4320057"/>
              <a:gd name="connsiteY1" fmla="*/ 0 h 5569200"/>
              <a:gd name="connsiteX2" fmla="*/ 4320057 w 4320057"/>
              <a:gd name="connsiteY2" fmla="*/ 5569200 h 5569200"/>
              <a:gd name="connsiteX3" fmla="*/ 4298089 w 4320057"/>
              <a:gd name="connsiteY3" fmla="*/ 5569200 h 5569200"/>
              <a:gd name="connsiteX4" fmla="*/ 4318467 w 4320057"/>
              <a:gd name="connsiteY4" fmla="*/ 5565601 h 5569200"/>
              <a:gd name="connsiteX5" fmla="*/ 7495 w 4320057"/>
              <a:gd name="connsiteY5" fmla="*/ 4610254 h 5569200"/>
              <a:gd name="connsiteX6" fmla="*/ 0 w 4320057"/>
              <a:gd name="connsiteY6" fmla="*/ 913417 h 5569200"/>
              <a:gd name="connsiteX7" fmla="*/ 4313321 w 4320057"/>
              <a:gd name="connsiteY7" fmla="*/ 0 h 5569200"/>
              <a:gd name="connsiteX0" fmla="*/ 4313321 w 4320057"/>
              <a:gd name="connsiteY0" fmla="*/ 0 h 5569200"/>
              <a:gd name="connsiteX1" fmla="*/ 4320057 w 4320057"/>
              <a:gd name="connsiteY1" fmla="*/ 0 h 5569200"/>
              <a:gd name="connsiteX2" fmla="*/ 4320057 w 4320057"/>
              <a:gd name="connsiteY2" fmla="*/ 5569200 h 5569200"/>
              <a:gd name="connsiteX3" fmla="*/ 4298089 w 4320057"/>
              <a:gd name="connsiteY3" fmla="*/ 5569200 h 5569200"/>
              <a:gd name="connsiteX4" fmla="*/ 4318467 w 4320057"/>
              <a:gd name="connsiteY4" fmla="*/ 5565601 h 5569200"/>
              <a:gd name="connsiteX5" fmla="*/ 7495 w 4320057"/>
              <a:gd name="connsiteY5" fmla="*/ 4610254 h 5569200"/>
              <a:gd name="connsiteX6" fmla="*/ 0 w 4320057"/>
              <a:gd name="connsiteY6" fmla="*/ 917957 h 5569200"/>
              <a:gd name="connsiteX7" fmla="*/ 4313321 w 4320057"/>
              <a:gd name="connsiteY7" fmla="*/ 0 h 5569200"/>
              <a:gd name="connsiteX0" fmla="*/ 4313321 w 4320057"/>
              <a:gd name="connsiteY0" fmla="*/ 0 h 5569200"/>
              <a:gd name="connsiteX1" fmla="*/ 4320057 w 4320057"/>
              <a:gd name="connsiteY1" fmla="*/ 0 h 5569200"/>
              <a:gd name="connsiteX2" fmla="*/ 4320057 w 4320057"/>
              <a:gd name="connsiteY2" fmla="*/ 5569200 h 5569200"/>
              <a:gd name="connsiteX3" fmla="*/ 4298089 w 4320057"/>
              <a:gd name="connsiteY3" fmla="*/ 5569200 h 5569200"/>
              <a:gd name="connsiteX4" fmla="*/ 4318467 w 4320057"/>
              <a:gd name="connsiteY4" fmla="*/ 5565601 h 5569200"/>
              <a:gd name="connsiteX5" fmla="*/ 1874 w 4320057"/>
              <a:gd name="connsiteY5" fmla="*/ 4603444 h 5569200"/>
              <a:gd name="connsiteX6" fmla="*/ 0 w 4320057"/>
              <a:gd name="connsiteY6" fmla="*/ 917957 h 5569200"/>
              <a:gd name="connsiteX7" fmla="*/ 4313321 w 4320057"/>
              <a:gd name="connsiteY7" fmla="*/ 0 h 5569200"/>
              <a:gd name="connsiteX0" fmla="*/ 4313321 w 4320057"/>
              <a:gd name="connsiteY0" fmla="*/ 0 h 5569200"/>
              <a:gd name="connsiteX1" fmla="*/ 4320057 w 4320057"/>
              <a:gd name="connsiteY1" fmla="*/ 0 h 5569200"/>
              <a:gd name="connsiteX2" fmla="*/ 4320057 w 4320057"/>
              <a:gd name="connsiteY2" fmla="*/ 5569200 h 5569200"/>
              <a:gd name="connsiteX3" fmla="*/ 4298089 w 4320057"/>
              <a:gd name="connsiteY3" fmla="*/ 5569200 h 5569200"/>
              <a:gd name="connsiteX4" fmla="*/ 4318467 w 4320057"/>
              <a:gd name="connsiteY4" fmla="*/ 5565601 h 5569200"/>
              <a:gd name="connsiteX5" fmla="*/ 1874 w 4320057"/>
              <a:gd name="connsiteY5" fmla="*/ 4605715 h 5569200"/>
              <a:gd name="connsiteX6" fmla="*/ 0 w 4320057"/>
              <a:gd name="connsiteY6" fmla="*/ 917957 h 5569200"/>
              <a:gd name="connsiteX7" fmla="*/ 4313321 w 4320057"/>
              <a:gd name="connsiteY7" fmla="*/ 0 h 5569200"/>
              <a:gd name="connsiteX0" fmla="*/ 4313321 w 4320057"/>
              <a:gd name="connsiteY0" fmla="*/ 0 h 5580051"/>
              <a:gd name="connsiteX1" fmla="*/ 4320057 w 4320057"/>
              <a:gd name="connsiteY1" fmla="*/ 0 h 5580051"/>
              <a:gd name="connsiteX2" fmla="*/ 4320057 w 4320057"/>
              <a:gd name="connsiteY2" fmla="*/ 5569200 h 5580051"/>
              <a:gd name="connsiteX3" fmla="*/ 4298089 w 4320057"/>
              <a:gd name="connsiteY3" fmla="*/ 5569200 h 5580051"/>
              <a:gd name="connsiteX4" fmla="*/ 4318467 w 4320057"/>
              <a:gd name="connsiteY4" fmla="*/ 5580051 h 5580051"/>
              <a:gd name="connsiteX5" fmla="*/ 1874 w 4320057"/>
              <a:gd name="connsiteY5" fmla="*/ 4605715 h 5580051"/>
              <a:gd name="connsiteX6" fmla="*/ 0 w 4320057"/>
              <a:gd name="connsiteY6" fmla="*/ 917957 h 5580051"/>
              <a:gd name="connsiteX7" fmla="*/ 4313321 w 4320057"/>
              <a:gd name="connsiteY7" fmla="*/ 0 h 5580051"/>
              <a:gd name="connsiteX0" fmla="*/ 4313321 w 4320057"/>
              <a:gd name="connsiteY0" fmla="*/ 0 h 5580051"/>
              <a:gd name="connsiteX1" fmla="*/ 4320057 w 4320057"/>
              <a:gd name="connsiteY1" fmla="*/ 0 h 5580051"/>
              <a:gd name="connsiteX2" fmla="*/ 4320057 w 4320057"/>
              <a:gd name="connsiteY2" fmla="*/ 5569200 h 5580051"/>
              <a:gd name="connsiteX3" fmla="*/ 4298089 w 4320057"/>
              <a:gd name="connsiteY3" fmla="*/ 5559511 h 5580051"/>
              <a:gd name="connsiteX4" fmla="*/ 4318467 w 4320057"/>
              <a:gd name="connsiteY4" fmla="*/ 5580051 h 5580051"/>
              <a:gd name="connsiteX5" fmla="*/ 1874 w 4320057"/>
              <a:gd name="connsiteY5" fmla="*/ 4605715 h 5580051"/>
              <a:gd name="connsiteX6" fmla="*/ 0 w 4320057"/>
              <a:gd name="connsiteY6" fmla="*/ 917957 h 5580051"/>
              <a:gd name="connsiteX7" fmla="*/ 4313321 w 4320057"/>
              <a:gd name="connsiteY7" fmla="*/ 0 h 5580051"/>
              <a:gd name="connsiteX0" fmla="*/ 4313321 w 4320057"/>
              <a:gd name="connsiteY0" fmla="*/ 0 h 5678204"/>
              <a:gd name="connsiteX1" fmla="*/ 4320057 w 4320057"/>
              <a:gd name="connsiteY1" fmla="*/ 0 h 5678204"/>
              <a:gd name="connsiteX2" fmla="*/ 4320057 w 4320057"/>
              <a:gd name="connsiteY2" fmla="*/ 5569200 h 5678204"/>
              <a:gd name="connsiteX3" fmla="*/ 4298089 w 4320057"/>
              <a:gd name="connsiteY3" fmla="*/ 5678204 h 5678204"/>
              <a:gd name="connsiteX4" fmla="*/ 4318467 w 4320057"/>
              <a:gd name="connsiteY4" fmla="*/ 5580051 h 5678204"/>
              <a:gd name="connsiteX5" fmla="*/ 1874 w 4320057"/>
              <a:gd name="connsiteY5" fmla="*/ 4605715 h 5678204"/>
              <a:gd name="connsiteX6" fmla="*/ 0 w 4320057"/>
              <a:gd name="connsiteY6" fmla="*/ 917957 h 5678204"/>
              <a:gd name="connsiteX7" fmla="*/ 4313321 w 4320057"/>
              <a:gd name="connsiteY7" fmla="*/ 0 h 5678204"/>
              <a:gd name="connsiteX0" fmla="*/ 4313321 w 4320057"/>
              <a:gd name="connsiteY0" fmla="*/ 0 h 5580051"/>
              <a:gd name="connsiteX1" fmla="*/ 4320057 w 4320057"/>
              <a:gd name="connsiteY1" fmla="*/ 0 h 5580051"/>
              <a:gd name="connsiteX2" fmla="*/ 4320057 w 4320057"/>
              <a:gd name="connsiteY2" fmla="*/ 5569200 h 5580051"/>
              <a:gd name="connsiteX3" fmla="*/ 4318467 w 4320057"/>
              <a:gd name="connsiteY3" fmla="*/ 5580051 h 5580051"/>
              <a:gd name="connsiteX4" fmla="*/ 1874 w 4320057"/>
              <a:gd name="connsiteY4" fmla="*/ 4605715 h 5580051"/>
              <a:gd name="connsiteX5" fmla="*/ 0 w 4320057"/>
              <a:gd name="connsiteY5" fmla="*/ 917957 h 5580051"/>
              <a:gd name="connsiteX6" fmla="*/ 4313321 w 4320057"/>
              <a:gd name="connsiteY6" fmla="*/ 0 h 5580051"/>
              <a:gd name="connsiteX0" fmla="*/ 4313321 w 4320464"/>
              <a:gd name="connsiteY0" fmla="*/ 0 h 5575206"/>
              <a:gd name="connsiteX1" fmla="*/ 4320057 w 4320464"/>
              <a:gd name="connsiteY1" fmla="*/ 0 h 5575206"/>
              <a:gd name="connsiteX2" fmla="*/ 4320057 w 4320464"/>
              <a:gd name="connsiteY2" fmla="*/ 5569200 h 5575206"/>
              <a:gd name="connsiteX3" fmla="*/ 4320464 w 4320464"/>
              <a:gd name="connsiteY3" fmla="*/ 5575206 h 5575206"/>
              <a:gd name="connsiteX4" fmla="*/ 1874 w 4320464"/>
              <a:gd name="connsiteY4" fmla="*/ 4605715 h 5575206"/>
              <a:gd name="connsiteX5" fmla="*/ 0 w 4320464"/>
              <a:gd name="connsiteY5" fmla="*/ 917957 h 5575206"/>
              <a:gd name="connsiteX6" fmla="*/ 4313321 w 4320464"/>
              <a:gd name="connsiteY6" fmla="*/ 0 h 5575206"/>
              <a:gd name="connsiteX0" fmla="*/ 4313321 w 4320464"/>
              <a:gd name="connsiteY0" fmla="*/ 0 h 5575206"/>
              <a:gd name="connsiteX1" fmla="*/ 4320057 w 4320464"/>
              <a:gd name="connsiteY1" fmla="*/ 0 h 5575206"/>
              <a:gd name="connsiteX2" fmla="*/ 4320057 w 4320464"/>
              <a:gd name="connsiteY2" fmla="*/ 5569200 h 5575206"/>
              <a:gd name="connsiteX3" fmla="*/ 4320464 w 4320464"/>
              <a:gd name="connsiteY3" fmla="*/ 5575206 h 5575206"/>
              <a:gd name="connsiteX4" fmla="*/ 3689 w 4320464"/>
              <a:gd name="connsiteY4" fmla="*/ 4610112 h 5575206"/>
              <a:gd name="connsiteX5" fmla="*/ 0 w 4320464"/>
              <a:gd name="connsiteY5" fmla="*/ 917957 h 5575206"/>
              <a:gd name="connsiteX6" fmla="*/ 4313321 w 4320464"/>
              <a:gd name="connsiteY6" fmla="*/ 0 h 5575206"/>
              <a:gd name="connsiteX0" fmla="*/ 4313321 w 4320464"/>
              <a:gd name="connsiteY0" fmla="*/ 0 h 5575206"/>
              <a:gd name="connsiteX1" fmla="*/ 4320057 w 4320464"/>
              <a:gd name="connsiteY1" fmla="*/ 0 h 5575206"/>
              <a:gd name="connsiteX2" fmla="*/ 4320057 w 4320464"/>
              <a:gd name="connsiteY2" fmla="*/ 5569200 h 5575206"/>
              <a:gd name="connsiteX3" fmla="*/ 4320464 w 4320464"/>
              <a:gd name="connsiteY3" fmla="*/ 5575206 h 5575206"/>
              <a:gd name="connsiteX4" fmla="*/ 1874 w 4320464"/>
              <a:gd name="connsiteY4" fmla="*/ 4610112 h 5575206"/>
              <a:gd name="connsiteX5" fmla="*/ 0 w 4320464"/>
              <a:gd name="connsiteY5" fmla="*/ 917957 h 5575206"/>
              <a:gd name="connsiteX6" fmla="*/ 4313321 w 4320464"/>
              <a:gd name="connsiteY6" fmla="*/ 0 h 5575206"/>
              <a:gd name="connsiteX0" fmla="*/ 4313321 w 4320464"/>
              <a:gd name="connsiteY0" fmla="*/ 0 h 5575206"/>
              <a:gd name="connsiteX1" fmla="*/ 4320057 w 4320464"/>
              <a:gd name="connsiteY1" fmla="*/ 0 h 5575206"/>
              <a:gd name="connsiteX2" fmla="*/ 4320057 w 4320464"/>
              <a:gd name="connsiteY2" fmla="*/ 5569200 h 5575206"/>
              <a:gd name="connsiteX3" fmla="*/ 4320464 w 4320464"/>
              <a:gd name="connsiteY3" fmla="*/ 5575206 h 5575206"/>
              <a:gd name="connsiteX4" fmla="*/ 1874 w 4320464"/>
              <a:gd name="connsiteY4" fmla="*/ 4616706 h 5575206"/>
              <a:gd name="connsiteX5" fmla="*/ 0 w 4320464"/>
              <a:gd name="connsiteY5" fmla="*/ 917957 h 5575206"/>
              <a:gd name="connsiteX6" fmla="*/ 4313321 w 4320464"/>
              <a:gd name="connsiteY6" fmla="*/ 0 h 5575206"/>
              <a:gd name="connsiteX0" fmla="*/ 4314073 w 4321216"/>
              <a:gd name="connsiteY0" fmla="*/ 0 h 5575206"/>
              <a:gd name="connsiteX1" fmla="*/ 4320809 w 4321216"/>
              <a:gd name="connsiteY1" fmla="*/ 0 h 5575206"/>
              <a:gd name="connsiteX2" fmla="*/ 4320809 w 4321216"/>
              <a:gd name="connsiteY2" fmla="*/ 5569200 h 5575206"/>
              <a:gd name="connsiteX3" fmla="*/ 4321216 w 4321216"/>
              <a:gd name="connsiteY3" fmla="*/ 5575206 h 5575206"/>
              <a:gd name="connsiteX4" fmla="*/ 811 w 4321216"/>
              <a:gd name="connsiteY4" fmla="*/ 4612310 h 5575206"/>
              <a:gd name="connsiteX5" fmla="*/ 752 w 4321216"/>
              <a:gd name="connsiteY5" fmla="*/ 917957 h 5575206"/>
              <a:gd name="connsiteX6" fmla="*/ 4314073 w 4321216"/>
              <a:gd name="connsiteY6" fmla="*/ 0 h 5575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21216" h="5575206">
                <a:moveTo>
                  <a:pt x="4314073" y="0"/>
                </a:moveTo>
                <a:lnTo>
                  <a:pt x="4320809" y="0"/>
                </a:lnTo>
                <a:lnTo>
                  <a:pt x="4320809" y="5569200"/>
                </a:lnTo>
                <a:cubicBezTo>
                  <a:pt x="4320945" y="5571202"/>
                  <a:pt x="4321080" y="5573204"/>
                  <a:pt x="4321216" y="5575206"/>
                </a:cubicBezTo>
                <a:lnTo>
                  <a:pt x="811" y="4612310"/>
                </a:lnTo>
                <a:cubicBezTo>
                  <a:pt x="-1977" y="3329370"/>
                  <a:pt x="3540" y="2200897"/>
                  <a:pt x="752" y="917957"/>
                </a:cubicBezTo>
                <a:lnTo>
                  <a:pt x="4314073" y="0"/>
                </a:lnTo>
                <a:close/>
              </a:path>
            </a:pathLst>
          </a:custGeom>
          <a:solidFill>
            <a:schemeClr val="bg2">
              <a:alpha val="54000"/>
            </a:schemeClr>
          </a:solidFill>
        </p:spPr>
        <p:txBody>
          <a:bodyPr wrap="square" tIns="0" bIns="9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da-DK" dirty="0"/>
              <a:t>Vælg billedpladsholderen </a:t>
            </a:r>
            <a:br>
              <a:rPr lang="da-DK" dirty="0"/>
            </a:br>
            <a:r>
              <a:rPr lang="da-DK" dirty="0"/>
              <a:t>og indsæt billede via </a:t>
            </a:r>
            <a:br>
              <a:rPr lang="da-DK" dirty="0"/>
            </a:b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41" name="Blue"/>
          <p:cNvSpPr>
            <a:spLocks noGrp="1"/>
          </p:cNvSpPr>
          <p:nvPr>
            <p:ph type="body" sz="quarter" idx="20" hasCustomPrompt="1"/>
          </p:nvPr>
        </p:nvSpPr>
        <p:spPr>
          <a:xfrm>
            <a:off x="6428035" y="4749243"/>
            <a:ext cx="5761565" cy="2113473"/>
          </a:xfrm>
          <a:custGeom>
            <a:avLst/>
            <a:gdLst>
              <a:gd name="connsiteX0" fmla="*/ 4321174 w 4321174"/>
              <a:gd name="connsiteY0" fmla="*/ 0 h 1526318"/>
              <a:gd name="connsiteX1" fmla="*/ 4321174 w 4321174"/>
              <a:gd name="connsiteY1" fmla="*/ 1526318 h 1526318"/>
              <a:gd name="connsiteX2" fmla="*/ 0 w 4321174"/>
              <a:gd name="connsiteY2" fmla="*/ 763159 h 1526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21174" h="1526318">
                <a:moveTo>
                  <a:pt x="4321174" y="0"/>
                </a:moveTo>
                <a:lnTo>
                  <a:pt x="4321174" y="1526318"/>
                </a:lnTo>
                <a:lnTo>
                  <a:pt x="0" y="763159"/>
                </a:lnTo>
                <a:close/>
              </a:path>
            </a:pathLst>
          </a:custGeom>
          <a:solidFill>
            <a:schemeClr val="accent4">
              <a:alpha val="9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pic>
        <p:nvPicPr>
          <p:cNvPr id="11" name="Logo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749" y="346665"/>
            <a:ext cx="1404000" cy="256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49894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+ billede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rey"/>
          <p:cNvSpPr>
            <a:spLocks/>
          </p:cNvSpPr>
          <p:nvPr userDrawn="1"/>
        </p:nvSpPr>
        <p:spPr bwMode="auto">
          <a:xfrm>
            <a:off x="670984" y="5805488"/>
            <a:ext cx="11521016" cy="1057228"/>
          </a:xfrm>
          <a:custGeom>
            <a:avLst/>
            <a:gdLst>
              <a:gd name="T0" fmla="*/ 0 w 5443"/>
              <a:gd name="T1" fmla="*/ 481 h 481"/>
              <a:gd name="T2" fmla="*/ 5443 w 5443"/>
              <a:gd name="T3" fmla="*/ 481 h 481"/>
              <a:gd name="T4" fmla="*/ 2721 w 5443"/>
              <a:gd name="T5" fmla="*/ 0 h 481"/>
              <a:gd name="T6" fmla="*/ 0 w 5443"/>
              <a:gd name="T7" fmla="*/ 481 h 4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443" h="481">
                <a:moveTo>
                  <a:pt x="0" y="481"/>
                </a:moveTo>
                <a:lnTo>
                  <a:pt x="5443" y="481"/>
                </a:lnTo>
                <a:lnTo>
                  <a:pt x="2721" y="0"/>
                </a:lnTo>
                <a:lnTo>
                  <a:pt x="0" y="48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sz="1800" dirty="0"/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672002" y="1285200"/>
            <a:ext cx="5087449" cy="889200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7"/>
          </p:nvPr>
        </p:nvSpPr>
        <p:spPr>
          <a:xfrm>
            <a:off x="672000" y="2565400"/>
            <a:ext cx="5087451" cy="3240088"/>
          </a:xfrm>
        </p:spPr>
        <p:txBody>
          <a:bodyPr/>
          <a:lstStyle/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styles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4" hasCustomPrompt="1"/>
          </p:nvPr>
        </p:nvSpPr>
        <p:spPr>
          <a:xfrm>
            <a:off x="6430434" y="0"/>
            <a:ext cx="5763686" cy="6858000"/>
          </a:xfrm>
          <a:custGeom>
            <a:avLst/>
            <a:gdLst>
              <a:gd name="connsiteX0" fmla="*/ 0 w 5753919"/>
              <a:gd name="connsiteY0" fmla="*/ 0 h 6858000"/>
              <a:gd name="connsiteX1" fmla="*/ 5753919 w 5753919"/>
              <a:gd name="connsiteY1" fmla="*/ 0 h 6858000"/>
              <a:gd name="connsiteX2" fmla="*/ 5753919 w 5753919"/>
              <a:gd name="connsiteY2" fmla="*/ 6858000 h 6858000"/>
              <a:gd name="connsiteX3" fmla="*/ 5726099 w 5753919"/>
              <a:gd name="connsiteY3" fmla="*/ 6858000 h 6858000"/>
              <a:gd name="connsiteX4" fmla="*/ 5725806 w 5753919"/>
              <a:gd name="connsiteY4" fmla="*/ 6857946 h 6858000"/>
              <a:gd name="connsiteX5" fmla="*/ 5752852 w 5753919"/>
              <a:gd name="connsiteY5" fmla="*/ 6854359 h 6858000"/>
              <a:gd name="connsiteX6" fmla="*/ 5584781 w 5753919"/>
              <a:gd name="connsiteY6" fmla="*/ 6832069 h 6858000"/>
              <a:gd name="connsiteX7" fmla="*/ 0 w 5753919"/>
              <a:gd name="connsiteY7" fmla="*/ 580728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753919" h="6858000">
                <a:moveTo>
                  <a:pt x="0" y="0"/>
                </a:moveTo>
                <a:lnTo>
                  <a:pt x="5753919" y="0"/>
                </a:lnTo>
                <a:lnTo>
                  <a:pt x="5753919" y="6858000"/>
                </a:lnTo>
                <a:lnTo>
                  <a:pt x="5726099" y="6858000"/>
                </a:lnTo>
                <a:lnTo>
                  <a:pt x="5725806" y="6857946"/>
                </a:lnTo>
                <a:lnTo>
                  <a:pt x="5752852" y="6854359"/>
                </a:lnTo>
                <a:lnTo>
                  <a:pt x="5584781" y="6832069"/>
                </a:lnTo>
                <a:lnTo>
                  <a:pt x="0" y="580728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tIns="0" bIns="9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da-DK" dirty="0"/>
              <a:t>Vælg billedpladsholderen </a:t>
            </a:r>
            <a:br>
              <a:rPr lang="da-DK" dirty="0"/>
            </a:br>
            <a:r>
              <a:rPr lang="da-DK" dirty="0"/>
              <a:t>og indsæt billede via </a:t>
            </a:r>
            <a:br>
              <a:rPr lang="da-DK" dirty="0"/>
            </a:b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41" name="Blue"/>
          <p:cNvSpPr>
            <a:spLocks noGrp="1"/>
          </p:cNvSpPr>
          <p:nvPr>
            <p:ph type="body" sz="quarter" idx="20" hasCustomPrompt="1"/>
          </p:nvPr>
        </p:nvSpPr>
        <p:spPr>
          <a:xfrm>
            <a:off x="6430434" y="4761148"/>
            <a:ext cx="5761565" cy="2094839"/>
          </a:xfrm>
          <a:custGeom>
            <a:avLst/>
            <a:gdLst>
              <a:gd name="connsiteX0" fmla="*/ 4321174 w 4321174"/>
              <a:gd name="connsiteY0" fmla="*/ 0 h 1526318"/>
              <a:gd name="connsiteX1" fmla="*/ 4321174 w 4321174"/>
              <a:gd name="connsiteY1" fmla="*/ 1526318 h 1526318"/>
              <a:gd name="connsiteX2" fmla="*/ 0 w 4321174"/>
              <a:gd name="connsiteY2" fmla="*/ 763159 h 1526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21174" h="1526318">
                <a:moveTo>
                  <a:pt x="4321174" y="0"/>
                </a:moveTo>
                <a:lnTo>
                  <a:pt x="4321174" y="1526318"/>
                </a:lnTo>
                <a:lnTo>
                  <a:pt x="0" y="763159"/>
                </a:lnTo>
                <a:close/>
              </a:path>
            </a:pathLst>
          </a:custGeom>
          <a:solidFill>
            <a:schemeClr val="accent1">
              <a:alpha val="9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pic>
        <p:nvPicPr>
          <p:cNvPr id="12" name="Logo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749" y="346665"/>
            <a:ext cx="1404000" cy="256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6009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51">
          <p15:clr>
            <a:srgbClr val="00000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+ billede (B)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rey"/>
          <p:cNvSpPr>
            <a:spLocks/>
          </p:cNvSpPr>
          <p:nvPr userDrawn="1"/>
        </p:nvSpPr>
        <p:spPr bwMode="auto">
          <a:xfrm>
            <a:off x="670984" y="5805488"/>
            <a:ext cx="11521016" cy="1057228"/>
          </a:xfrm>
          <a:custGeom>
            <a:avLst/>
            <a:gdLst>
              <a:gd name="T0" fmla="*/ 0 w 5443"/>
              <a:gd name="T1" fmla="*/ 481 h 481"/>
              <a:gd name="T2" fmla="*/ 5443 w 5443"/>
              <a:gd name="T3" fmla="*/ 481 h 481"/>
              <a:gd name="T4" fmla="*/ 2721 w 5443"/>
              <a:gd name="T5" fmla="*/ 0 h 481"/>
              <a:gd name="T6" fmla="*/ 0 w 5443"/>
              <a:gd name="T7" fmla="*/ 481 h 4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443" h="481">
                <a:moveTo>
                  <a:pt x="0" y="481"/>
                </a:moveTo>
                <a:lnTo>
                  <a:pt x="5443" y="481"/>
                </a:lnTo>
                <a:lnTo>
                  <a:pt x="2721" y="0"/>
                </a:lnTo>
                <a:lnTo>
                  <a:pt x="0" y="48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sz="1800" dirty="0"/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672002" y="1285200"/>
            <a:ext cx="5087449" cy="889200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7"/>
          </p:nvPr>
        </p:nvSpPr>
        <p:spPr>
          <a:xfrm>
            <a:off x="672000" y="2565400"/>
            <a:ext cx="5087451" cy="3240088"/>
          </a:xfrm>
        </p:spPr>
        <p:txBody>
          <a:bodyPr/>
          <a:lstStyle/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styles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4" hasCustomPrompt="1"/>
          </p:nvPr>
        </p:nvSpPr>
        <p:spPr>
          <a:xfrm>
            <a:off x="6430434" y="0"/>
            <a:ext cx="5763686" cy="6858000"/>
          </a:xfrm>
          <a:custGeom>
            <a:avLst/>
            <a:gdLst>
              <a:gd name="connsiteX0" fmla="*/ 0 w 5753919"/>
              <a:gd name="connsiteY0" fmla="*/ 0 h 6858000"/>
              <a:gd name="connsiteX1" fmla="*/ 5753919 w 5753919"/>
              <a:gd name="connsiteY1" fmla="*/ 0 h 6858000"/>
              <a:gd name="connsiteX2" fmla="*/ 5753919 w 5753919"/>
              <a:gd name="connsiteY2" fmla="*/ 6858000 h 6858000"/>
              <a:gd name="connsiteX3" fmla="*/ 5726099 w 5753919"/>
              <a:gd name="connsiteY3" fmla="*/ 6858000 h 6858000"/>
              <a:gd name="connsiteX4" fmla="*/ 5725806 w 5753919"/>
              <a:gd name="connsiteY4" fmla="*/ 6857946 h 6858000"/>
              <a:gd name="connsiteX5" fmla="*/ 5752852 w 5753919"/>
              <a:gd name="connsiteY5" fmla="*/ 6854359 h 6858000"/>
              <a:gd name="connsiteX6" fmla="*/ 5584781 w 5753919"/>
              <a:gd name="connsiteY6" fmla="*/ 6832069 h 6858000"/>
              <a:gd name="connsiteX7" fmla="*/ 0 w 5753919"/>
              <a:gd name="connsiteY7" fmla="*/ 580728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753919" h="6858000">
                <a:moveTo>
                  <a:pt x="0" y="0"/>
                </a:moveTo>
                <a:lnTo>
                  <a:pt x="5753919" y="0"/>
                </a:lnTo>
                <a:lnTo>
                  <a:pt x="5753919" y="6858000"/>
                </a:lnTo>
                <a:lnTo>
                  <a:pt x="5726099" y="6858000"/>
                </a:lnTo>
                <a:lnTo>
                  <a:pt x="5725806" y="6857946"/>
                </a:lnTo>
                <a:lnTo>
                  <a:pt x="5752852" y="6854359"/>
                </a:lnTo>
                <a:lnTo>
                  <a:pt x="5584781" y="6832069"/>
                </a:lnTo>
                <a:lnTo>
                  <a:pt x="0" y="580728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tIns="0" bIns="9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da-DK" dirty="0"/>
              <a:t>Vælg billedpladsholderen </a:t>
            </a:r>
            <a:br>
              <a:rPr lang="da-DK" dirty="0"/>
            </a:br>
            <a:r>
              <a:rPr lang="da-DK" dirty="0"/>
              <a:t>og indsæt billede via </a:t>
            </a:r>
            <a:br>
              <a:rPr lang="da-DK" dirty="0"/>
            </a:b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41" name="Blue"/>
          <p:cNvSpPr>
            <a:spLocks noGrp="1"/>
          </p:cNvSpPr>
          <p:nvPr>
            <p:ph type="body" sz="quarter" idx="20" hasCustomPrompt="1"/>
          </p:nvPr>
        </p:nvSpPr>
        <p:spPr>
          <a:xfrm>
            <a:off x="6430434" y="4761148"/>
            <a:ext cx="5761565" cy="2094839"/>
          </a:xfrm>
          <a:custGeom>
            <a:avLst/>
            <a:gdLst>
              <a:gd name="connsiteX0" fmla="*/ 4321174 w 4321174"/>
              <a:gd name="connsiteY0" fmla="*/ 0 h 1526318"/>
              <a:gd name="connsiteX1" fmla="*/ 4321174 w 4321174"/>
              <a:gd name="connsiteY1" fmla="*/ 1526318 h 1526318"/>
              <a:gd name="connsiteX2" fmla="*/ 0 w 4321174"/>
              <a:gd name="connsiteY2" fmla="*/ 763159 h 1526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21174" h="1526318">
                <a:moveTo>
                  <a:pt x="4321174" y="0"/>
                </a:moveTo>
                <a:lnTo>
                  <a:pt x="4321174" y="1526318"/>
                </a:lnTo>
                <a:lnTo>
                  <a:pt x="0" y="763159"/>
                </a:lnTo>
                <a:close/>
              </a:path>
            </a:pathLst>
          </a:custGeom>
          <a:solidFill>
            <a:schemeClr val="accent2">
              <a:alpha val="9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pic>
        <p:nvPicPr>
          <p:cNvPr id="12" name="Logo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749" y="346665"/>
            <a:ext cx="1404000" cy="256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5896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51">
          <p15:clr>
            <a:srgbClr val="00000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+ billede (B)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rey"/>
          <p:cNvSpPr>
            <a:spLocks/>
          </p:cNvSpPr>
          <p:nvPr userDrawn="1"/>
        </p:nvSpPr>
        <p:spPr bwMode="auto">
          <a:xfrm>
            <a:off x="670984" y="5805488"/>
            <a:ext cx="11521016" cy="1057228"/>
          </a:xfrm>
          <a:custGeom>
            <a:avLst/>
            <a:gdLst>
              <a:gd name="T0" fmla="*/ 0 w 5443"/>
              <a:gd name="T1" fmla="*/ 481 h 481"/>
              <a:gd name="T2" fmla="*/ 5443 w 5443"/>
              <a:gd name="T3" fmla="*/ 481 h 481"/>
              <a:gd name="T4" fmla="*/ 2721 w 5443"/>
              <a:gd name="T5" fmla="*/ 0 h 481"/>
              <a:gd name="T6" fmla="*/ 0 w 5443"/>
              <a:gd name="T7" fmla="*/ 481 h 4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443" h="481">
                <a:moveTo>
                  <a:pt x="0" y="481"/>
                </a:moveTo>
                <a:lnTo>
                  <a:pt x="5443" y="481"/>
                </a:lnTo>
                <a:lnTo>
                  <a:pt x="2721" y="0"/>
                </a:lnTo>
                <a:lnTo>
                  <a:pt x="0" y="48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sz="1800" dirty="0"/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672002" y="1285200"/>
            <a:ext cx="5087449" cy="889200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7"/>
          </p:nvPr>
        </p:nvSpPr>
        <p:spPr>
          <a:xfrm>
            <a:off x="672000" y="2565400"/>
            <a:ext cx="5087451" cy="3240088"/>
          </a:xfrm>
        </p:spPr>
        <p:txBody>
          <a:bodyPr/>
          <a:lstStyle/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styles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4" hasCustomPrompt="1"/>
          </p:nvPr>
        </p:nvSpPr>
        <p:spPr>
          <a:xfrm>
            <a:off x="6430434" y="0"/>
            <a:ext cx="5763686" cy="6858000"/>
          </a:xfrm>
          <a:custGeom>
            <a:avLst/>
            <a:gdLst>
              <a:gd name="connsiteX0" fmla="*/ 0 w 5753919"/>
              <a:gd name="connsiteY0" fmla="*/ 0 h 6858000"/>
              <a:gd name="connsiteX1" fmla="*/ 5753919 w 5753919"/>
              <a:gd name="connsiteY1" fmla="*/ 0 h 6858000"/>
              <a:gd name="connsiteX2" fmla="*/ 5753919 w 5753919"/>
              <a:gd name="connsiteY2" fmla="*/ 6858000 h 6858000"/>
              <a:gd name="connsiteX3" fmla="*/ 5726099 w 5753919"/>
              <a:gd name="connsiteY3" fmla="*/ 6858000 h 6858000"/>
              <a:gd name="connsiteX4" fmla="*/ 5725806 w 5753919"/>
              <a:gd name="connsiteY4" fmla="*/ 6857946 h 6858000"/>
              <a:gd name="connsiteX5" fmla="*/ 5752852 w 5753919"/>
              <a:gd name="connsiteY5" fmla="*/ 6854359 h 6858000"/>
              <a:gd name="connsiteX6" fmla="*/ 5584781 w 5753919"/>
              <a:gd name="connsiteY6" fmla="*/ 6832069 h 6858000"/>
              <a:gd name="connsiteX7" fmla="*/ 0 w 5753919"/>
              <a:gd name="connsiteY7" fmla="*/ 580728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753919" h="6858000">
                <a:moveTo>
                  <a:pt x="0" y="0"/>
                </a:moveTo>
                <a:lnTo>
                  <a:pt x="5753919" y="0"/>
                </a:lnTo>
                <a:lnTo>
                  <a:pt x="5753919" y="6858000"/>
                </a:lnTo>
                <a:lnTo>
                  <a:pt x="5726099" y="6858000"/>
                </a:lnTo>
                <a:lnTo>
                  <a:pt x="5725806" y="6857946"/>
                </a:lnTo>
                <a:lnTo>
                  <a:pt x="5752852" y="6854359"/>
                </a:lnTo>
                <a:lnTo>
                  <a:pt x="5584781" y="6832069"/>
                </a:lnTo>
                <a:lnTo>
                  <a:pt x="0" y="580728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tIns="0" bIns="9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da-DK" dirty="0"/>
              <a:t>Vælg billedpladsholderen </a:t>
            </a:r>
            <a:br>
              <a:rPr lang="da-DK" dirty="0"/>
            </a:br>
            <a:r>
              <a:rPr lang="da-DK" dirty="0"/>
              <a:t>og indsæt billede via </a:t>
            </a:r>
            <a:br>
              <a:rPr lang="da-DK" dirty="0"/>
            </a:b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41" name="Blue"/>
          <p:cNvSpPr>
            <a:spLocks noGrp="1"/>
          </p:cNvSpPr>
          <p:nvPr>
            <p:ph type="body" sz="quarter" idx="20" hasCustomPrompt="1"/>
          </p:nvPr>
        </p:nvSpPr>
        <p:spPr>
          <a:xfrm>
            <a:off x="6430434" y="4761148"/>
            <a:ext cx="5761565" cy="2094839"/>
          </a:xfrm>
          <a:custGeom>
            <a:avLst/>
            <a:gdLst>
              <a:gd name="connsiteX0" fmla="*/ 4321174 w 4321174"/>
              <a:gd name="connsiteY0" fmla="*/ 0 h 1526318"/>
              <a:gd name="connsiteX1" fmla="*/ 4321174 w 4321174"/>
              <a:gd name="connsiteY1" fmla="*/ 1526318 h 1526318"/>
              <a:gd name="connsiteX2" fmla="*/ 0 w 4321174"/>
              <a:gd name="connsiteY2" fmla="*/ 763159 h 1526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21174" h="1526318">
                <a:moveTo>
                  <a:pt x="4321174" y="0"/>
                </a:moveTo>
                <a:lnTo>
                  <a:pt x="4321174" y="1526318"/>
                </a:lnTo>
                <a:lnTo>
                  <a:pt x="0" y="763159"/>
                </a:lnTo>
                <a:close/>
              </a:path>
            </a:pathLst>
          </a:custGeom>
          <a:solidFill>
            <a:schemeClr val="accent3">
              <a:alpha val="9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pic>
        <p:nvPicPr>
          <p:cNvPr id="12" name="Logo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749" y="346665"/>
            <a:ext cx="1404000" cy="256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8197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51">
          <p15:clr>
            <a:srgbClr val="00000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+ billede (B) 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rey"/>
          <p:cNvSpPr>
            <a:spLocks/>
          </p:cNvSpPr>
          <p:nvPr userDrawn="1"/>
        </p:nvSpPr>
        <p:spPr bwMode="auto">
          <a:xfrm>
            <a:off x="670984" y="5805488"/>
            <a:ext cx="11521016" cy="1057228"/>
          </a:xfrm>
          <a:custGeom>
            <a:avLst/>
            <a:gdLst>
              <a:gd name="T0" fmla="*/ 0 w 5443"/>
              <a:gd name="T1" fmla="*/ 481 h 481"/>
              <a:gd name="T2" fmla="*/ 5443 w 5443"/>
              <a:gd name="T3" fmla="*/ 481 h 481"/>
              <a:gd name="T4" fmla="*/ 2721 w 5443"/>
              <a:gd name="T5" fmla="*/ 0 h 481"/>
              <a:gd name="T6" fmla="*/ 0 w 5443"/>
              <a:gd name="T7" fmla="*/ 481 h 4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443" h="481">
                <a:moveTo>
                  <a:pt x="0" y="481"/>
                </a:moveTo>
                <a:lnTo>
                  <a:pt x="5443" y="481"/>
                </a:lnTo>
                <a:lnTo>
                  <a:pt x="2721" y="0"/>
                </a:lnTo>
                <a:lnTo>
                  <a:pt x="0" y="48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sz="1800" dirty="0"/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672002" y="1285200"/>
            <a:ext cx="5087449" cy="889200"/>
          </a:xfrm>
        </p:spPr>
        <p:txBody>
          <a:bodyPr/>
          <a:lstStyle>
            <a:lvl1pPr>
              <a:defRPr/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7"/>
          </p:nvPr>
        </p:nvSpPr>
        <p:spPr>
          <a:xfrm>
            <a:off x="672000" y="2565400"/>
            <a:ext cx="5087451" cy="3240088"/>
          </a:xfrm>
        </p:spPr>
        <p:txBody>
          <a:bodyPr/>
          <a:lstStyle/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styles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4" hasCustomPrompt="1"/>
          </p:nvPr>
        </p:nvSpPr>
        <p:spPr>
          <a:xfrm>
            <a:off x="6430434" y="0"/>
            <a:ext cx="5763686" cy="6858000"/>
          </a:xfrm>
          <a:custGeom>
            <a:avLst/>
            <a:gdLst>
              <a:gd name="connsiteX0" fmla="*/ 0 w 5753919"/>
              <a:gd name="connsiteY0" fmla="*/ 0 h 6858000"/>
              <a:gd name="connsiteX1" fmla="*/ 5753919 w 5753919"/>
              <a:gd name="connsiteY1" fmla="*/ 0 h 6858000"/>
              <a:gd name="connsiteX2" fmla="*/ 5753919 w 5753919"/>
              <a:gd name="connsiteY2" fmla="*/ 6858000 h 6858000"/>
              <a:gd name="connsiteX3" fmla="*/ 5726099 w 5753919"/>
              <a:gd name="connsiteY3" fmla="*/ 6858000 h 6858000"/>
              <a:gd name="connsiteX4" fmla="*/ 5725806 w 5753919"/>
              <a:gd name="connsiteY4" fmla="*/ 6857946 h 6858000"/>
              <a:gd name="connsiteX5" fmla="*/ 5752852 w 5753919"/>
              <a:gd name="connsiteY5" fmla="*/ 6854359 h 6858000"/>
              <a:gd name="connsiteX6" fmla="*/ 5584781 w 5753919"/>
              <a:gd name="connsiteY6" fmla="*/ 6832069 h 6858000"/>
              <a:gd name="connsiteX7" fmla="*/ 0 w 5753919"/>
              <a:gd name="connsiteY7" fmla="*/ 580728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753919" h="6858000">
                <a:moveTo>
                  <a:pt x="0" y="0"/>
                </a:moveTo>
                <a:lnTo>
                  <a:pt x="5753919" y="0"/>
                </a:lnTo>
                <a:lnTo>
                  <a:pt x="5753919" y="6858000"/>
                </a:lnTo>
                <a:lnTo>
                  <a:pt x="5726099" y="6858000"/>
                </a:lnTo>
                <a:lnTo>
                  <a:pt x="5725806" y="6857946"/>
                </a:lnTo>
                <a:lnTo>
                  <a:pt x="5752852" y="6854359"/>
                </a:lnTo>
                <a:lnTo>
                  <a:pt x="5584781" y="6832069"/>
                </a:lnTo>
                <a:lnTo>
                  <a:pt x="0" y="580728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tIns="0" bIns="972000" anchor="ctr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r>
              <a:rPr lang="da-DK" dirty="0"/>
              <a:t>Vælg billedpladsholderen </a:t>
            </a:r>
            <a:br>
              <a:rPr lang="da-DK" dirty="0"/>
            </a:br>
            <a:r>
              <a:rPr lang="da-DK" dirty="0"/>
              <a:t>og indsæt billede via </a:t>
            </a:r>
            <a:br>
              <a:rPr lang="da-DK" dirty="0"/>
            </a:b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41" name="Blue"/>
          <p:cNvSpPr>
            <a:spLocks noGrp="1"/>
          </p:cNvSpPr>
          <p:nvPr>
            <p:ph type="body" sz="quarter" idx="20" hasCustomPrompt="1"/>
          </p:nvPr>
        </p:nvSpPr>
        <p:spPr>
          <a:xfrm>
            <a:off x="6430434" y="4761148"/>
            <a:ext cx="5761565" cy="2094839"/>
          </a:xfrm>
          <a:custGeom>
            <a:avLst/>
            <a:gdLst>
              <a:gd name="connsiteX0" fmla="*/ 4321174 w 4321174"/>
              <a:gd name="connsiteY0" fmla="*/ 0 h 1526318"/>
              <a:gd name="connsiteX1" fmla="*/ 4321174 w 4321174"/>
              <a:gd name="connsiteY1" fmla="*/ 1526318 h 1526318"/>
              <a:gd name="connsiteX2" fmla="*/ 0 w 4321174"/>
              <a:gd name="connsiteY2" fmla="*/ 763159 h 1526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321174" h="1526318">
                <a:moveTo>
                  <a:pt x="4321174" y="0"/>
                </a:moveTo>
                <a:lnTo>
                  <a:pt x="4321174" y="1526318"/>
                </a:lnTo>
                <a:lnTo>
                  <a:pt x="0" y="763159"/>
                </a:lnTo>
                <a:close/>
              </a:path>
            </a:pathLst>
          </a:custGeom>
          <a:solidFill>
            <a:schemeClr val="accent4">
              <a:alpha val="90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pic>
        <p:nvPicPr>
          <p:cNvPr id="12" name="Logo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749" y="346665"/>
            <a:ext cx="1404000" cy="256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7103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51">
          <p15:clr>
            <a:srgbClr val="00000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+ billede (D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1755796 w 12192000"/>
              <a:gd name="connsiteY0" fmla="*/ 6780008 h 6858000"/>
              <a:gd name="connsiteX1" fmla="*/ 12192000 w 12192000"/>
              <a:gd name="connsiteY1" fmla="*/ 6857361 h 6858000"/>
              <a:gd name="connsiteX2" fmla="*/ 12192000 w 12192000"/>
              <a:gd name="connsiteY2" fmla="*/ 6857792 h 6858000"/>
              <a:gd name="connsiteX3" fmla="*/ 0 w 12192000"/>
              <a:gd name="connsiteY3" fmla="*/ 0 h 6858000"/>
              <a:gd name="connsiteX4" fmla="*/ 12192000 w 12192000"/>
              <a:gd name="connsiteY4" fmla="*/ 0 h 6858000"/>
              <a:gd name="connsiteX5" fmla="*/ 12192000 w 12192000"/>
              <a:gd name="connsiteY5" fmla="*/ 5432604 h 6858000"/>
              <a:gd name="connsiteX6" fmla="*/ 8113714 w 12192000"/>
              <a:gd name="connsiteY6" fmla="*/ 6130302 h 6858000"/>
              <a:gd name="connsiteX7" fmla="*/ 8114190 w 12192000"/>
              <a:gd name="connsiteY7" fmla="*/ 6130635 h 6858000"/>
              <a:gd name="connsiteX8" fmla="*/ 8106713 w 12192000"/>
              <a:gd name="connsiteY8" fmla="*/ 6129302 h 6858000"/>
              <a:gd name="connsiteX9" fmla="*/ 4037726 w 12192000"/>
              <a:gd name="connsiteY9" fmla="*/ 6854478 h 6858000"/>
              <a:gd name="connsiteX10" fmla="*/ 4037726 w 12192000"/>
              <a:gd name="connsiteY10" fmla="*/ 6857792 h 6858000"/>
              <a:gd name="connsiteX11" fmla="*/ 12192000 w 12192000"/>
              <a:gd name="connsiteY11" fmla="*/ 6857792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0" fmla="*/ 12192000 w 12192000"/>
              <a:gd name="connsiteY0" fmla="*/ 6857792 h 6858000"/>
              <a:gd name="connsiteX1" fmla="*/ 12192000 w 12192000"/>
              <a:gd name="connsiteY1" fmla="*/ 6857361 h 6858000"/>
              <a:gd name="connsiteX2" fmla="*/ 12192000 w 12192000"/>
              <a:gd name="connsiteY2" fmla="*/ 6857792 h 6858000"/>
              <a:gd name="connsiteX3" fmla="*/ 0 w 12192000"/>
              <a:gd name="connsiteY3" fmla="*/ 0 h 6858000"/>
              <a:gd name="connsiteX4" fmla="*/ 12192000 w 12192000"/>
              <a:gd name="connsiteY4" fmla="*/ 0 h 6858000"/>
              <a:gd name="connsiteX5" fmla="*/ 12192000 w 12192000"/>
              <a:gd name="connsiteY5" fmla="*/ 5432604 h 6858000"/>
              <a:gd name="connsiteX6" fmla="*/ 8113714 w 12192000"/>
              <a:gd name="connsiteY6" fmla="*/ 6130302 h 6858000"/>
              <a:gd name="connsiteX7" fmla="*/ 8114190 w 12192000"/>
              <a:gd name="connsiteY7" fmla="*/ 6130635 h 6858000"/>
              <a:gd name="connsiteX8" fmla="*/ 8106713 w 12192000"/>
              <a:gd name="connsiteY8" fmla="*/ 6129302 h 6858000"/>
              <a:gd name="connsiteX9" fmla="*/ 4037726 w 12192000"/>
              <a:gd name="connsiteY9" fmla="*/ 6854478 h 6858000"/>
              <a:gd name="connsiteX10" fmla="*/ 4037726 w 12192000"/>
              <a:gd name="connsiteY10" fmla="*/ 6857792 h 6858000"/>
              <a:gd name="connsiteX11" fmla="*/ 12192000 w 12192000"/>
              <a:gd name="connsiteY11" fmla="*/ 6857792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12192000 w 12192000"/>
              <a:gd name="connsiteY0" fmla="*/ 6857792 h 6858000"/>
              <a:gd name="connsiteX1" fmla="*/ 12192000 w 12192000"/>
              <a:gd name="connsiteY1" fmla="*/ 6857361 h 6858000"/>
              <a:gd name="connsiteX2" fmla="*/ 12192000 w 12192000"/>
              <a:gd name="connsiteY2" fmla="*/ 6857792 h 6858000"/>
              <a:gd name="connsiteX3" fmla="*/ 0 w 12192000"/>
              <a:gd name="connsiteY3" fmla="*/ 0 h 6858000"/>
              <a:gd name="connsiteX4" fmla="*/ 12192000 w 12192000"/>
              <a:gd name="connsiteY4" fmla="*/ 0 h 6858000"/>
              <a:gd name="connsiteX5" fmla="*/ 12192000 w 12192000"/>
              <a:gd name="connsiteY5" fmla="*/ 5432604 h 6858000"/>
              <a:gd name="connsiteX6" fmla="*/ 8113714 w 12192000"/>
              <a:gd name="connsiteY6" fmla="*/ 6130302 h 6858000"/>
              <a:gd name="connsiteX7" fmla="*/ 8114190 w 12192000"/>
              <a:gd name="connsiteY7" fmla="*/ 6130635 h 6858000"/>
              <a:gd name="connsiteX8" fmla="*/ 8106713 w 12192000"/>
              <a:gd name="connsiteY8" fmla="*/ 6129302 h 6858000"/>
              <a:gd name="connsiteX9" fmla="*/ 4037726 w 12192000"/>
              <a:gd name="connsiteY9" fmla="*/ 6854478 h 6858000"/>
              <a:gd name="connsiteX10" fmla="*/ 4037726 w 12192000"/>
              <a:gd name="connsiteY10" fmla="*/ 6857792 h 6858000"/>
              <a:gd name="connsiteX11" fmla="*/ 12192000 w 12192000"/>
              <a:gd name="connsiteY11" fmla="*/ 6857792 h 6858000"/>
              <a:gd name="connsiteX12" fmla="*/ 0 w 12192000"/>
              <a:gd name="connsiteY12" fmla="*/ 6858000 h 6858000"/>
              <a:gd name="connsiteX13" fmla="*/ 0 w 12192000"/>
              <a:gd name="connsiteY13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6858000">
                <a:moveTo>
                  <a:pt x="12192000" y="6857792"/>
                </a:moveTo>
                <a:lnTo>
                  <a:pt x="12192000" y="6857361"/>
                </a:lnTo>
                <a:lnTo>
                  <a:pt x="12192000" y="685779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5432604"/>
                </a:lnTo>
                <a:lnTo>
                  <a:pt x="8113714" y="6130302"/>
                </a:lnTo>
                <a:lnTo>
                  <a:pt x="8114190" y="6130635"/>
                </a:lnTo>
                <a:lnTo>
                  <a:pt x="8106713" y="6129302"/>
                </a:lnTo>
                <a:lnTo>
                  <a:pt x="4037726" y="6854478"/>
                </a:lnTo>
                <a:lnTo>
                  <a:pt x="4037726" y="6857792"/>
                </a:lnTo>
                <a:lnTo>
                  <a:pt x="12192000" y="6857792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504000" bIns="1044000" anchor="ctr" anchorCtr="0">
            <a:noAutofit/>
          </a:bodyPr>
          <a:lstStyle>
            <a:lvl1pPr algn="l">
              <a:defRPr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>
          <a:xfrm>
            <a:off x="8113185" y="1458000"/>
            <a:ext cx="4082400" cy="4676400"/>
          </a:xfrm>
          <a:custGeom>
            <a:avLst/>
            <a:gdLst>
              <a:gd name="connsiteX0" fmla="*/ 4054602 w 4078815"/>
              <a:gd name="connsiteY0" fmla="*/ 0 h 4671791"/>
              <a:gd name="connsiteX1" fmla="*/ 4078815 w 4078815"/>
              <a:gd name="connsiteY1" fmla="*/ 0 h 4671791"/>
              <a:gd name="connsiteX2" fmla="*/ 4075382 w 4078815"/>
              <a:gd name="connsiteY2" fmla="*/ 3976900 h 4671791"/>
              <a:gd name="connsiteX3" fmla="*/ 13427 w 4078815"/>
              <a:gd name="connsiteY3" fmla="*/ 4671791 h 4671791"/>
              <a:gd name="connsiteX4" fmla="*/ 0 w 4078815"/>
              <a:gd name="connsiteY4" fmla="*/ 4671791 h 4671791"/>
              <a:gd name="connsiteX5" fmla="*/ 0 w 4078815"/>
              <a:gd name="connsiteY5" fmla="*/ 694290 h 4671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78815" h="4671791">
                <a:moveTo>
                  <a:pt x="4054602" y="0"/>
                </a:moveTo>
                <a:lnTo>
                  <a:pt x="4078815" y="0"/>
                </a:lnTo>
                <a:cubicBezTo>
                  <a:pt x="4077671" y="1325634"/>
                  <a:pt x="4076526" y="2651266"/>
                  <a:pt x="4075382" y="3976900"/>
                </a:cubicBezTo>
                <a:lnTo>
                  <a:pt x="13427" y="4671791"/>
                </a:lnTo>
                <a:lnTo>
                  <a:pt x="0" y="4671791"/>
                </a:lnTo>
                <a:lnTo>
                  <a:pt x="0" y="694290"/>
                </a:lnTo>
                <a:close/>
              </a:path>
            </a:pathLst>
          </a:custGeom>
          <a:solidFill>
            <a:schemeClr val="accent1">
              <a:alpha val="90000"/>
            </a:schemeClr>
          </a:solidFill>
        </p:spPr>
        <p:txBody>
          <a:bodyPr wrap="square" lIns="666000" tIns="1296000" rIns="666000">
            <a:noAutofit/>
          </a:bodyPr>
          <a:lstStyle>
            <a:lvl1pPr>
              <a:lnSpc>
                <a:spcPct val="92000"/>
              </a:lnSpc>
              <a:defRPr sz="18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7" hasCustomPrompt="1"/>
          </p:nvPr>
        </p:nvSpPr>
        <p:spPr>
          <a:xfrm>
            <a:off x="8113185" y="3430800"/>
            <a:ext cx="4081497" cy="2001600"/>
          </a:xfrm>
        </p:spPr>
        <p:txBody>
          <a:bodyPr lIns="684000" rIns="684000"/>
          <a:lstStyle>
            <a:lvl1pPr marL="0" indent="0"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5pPr>
            <a:lvl6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6pPr>
            <a:lvl7pPr>
              <a:lnSpc>
                <a:spcPct val="110000"/>
              </a:lnSpc>
              <a:spcBef>
                <a:spcPts val="300"/>
              </a:spcBef>
              <a:defRPr>
                <a:solidFill>
                  <a:schemeClr val="bg1"/>
                </a:solidFill>
              </a:defRPr>
            </a:lvl7pPr>
            <a:lvl8pPr>
              <a:lnSpc>
                <a:spcPct val="110000"/>
              </a:lnSpc>
              <a:spcBef>
                <a:spcPts val="300"/>
              </a:spcBef>
              <a:defRPr>
                <a:solidFill>
                  <a:schemeClr val="bg1"/>
                </a:solidFill>
              </a:defRPr>
            </a:lvl8pPr>
            <a:lvl9pPr>
              <a:lnSpc>
                <a:spcPct val="110000"/>
              </a:lnSpc>
              <a:spcBef>
                <a:spcPts val="300"/>
              </a:spcBef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styles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17" name="TextBox 16"/>
          <p:cNvSpPr txBox="1">
            <a:spLocks/>
          </p:cNvSpPr>
          <p:nvPr userDrawn="1"/>
        </p:nvSpPr>
        <p:spPr>
          <a:xfrm>
            <a:off x="8113714" y="5432400"/>
            <a:ext cx="4081871" cy="1425600"/>
          </a:xfrm>
          <a:custGeom>
            <a:avLst/>
            <a:gdLst>
              <a:gd name="connsiteX0" fmla="*/ 4079472 w 4081871"/>
              <a:gd name="connsiteY0" fmla="*/ 0 h 1425595"/>
              <a:gd name="connsiteX1" fmla="*/ 4080004 w 4081871"/>
              <a:gd name="connsiteY1" fmla="*/ 0 h 1425595"/>
              <a:gd name="connsiteX2" fmla="*/ 4081871 w 4081871"/>
              <a:gd name="connsiteY2" fmla="*/ 1401578 h 1425595"/>
              <a:gd name="connsiteX3" fmla="*/ 4081871 w 4081871"/>
              <a:gd name="connsiteY3" fmla="*/ 1425595 h 1425595"/>
              <a:gd name="connsiteX4" fmla="*/ 7353 w 4081871"/>
              <a:gd name="connsiteY4" fmla="*/ 703055 h 1425595"/>
              <a:gd name="connsiteX5" fmla="*/ 0 w 4081871"/>
              <a:gd name="connsiteY5" fmla="*/ 697901 h 14255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81871" h="1425595">
                <a:moveTo>
                  <a:pt x="4079472" y="0"/>
                </a:moveTo>
                <a:lnTo>
                  <a:pt x="4080004" y="0"/>
                </a:lnTo>
                <a:lnTo>
                  <a:pt x="4081871" y="1401578"/>
                </a:lnTo>
                <a:lnTo>
                  <a:pt x="4081871" y="1425595"/>
                </a:lnTo>
                <a:lnTo>
                  <a:pt x="7353" y="703055"/>
                </a:lnTo>
                <a:lnTo>
                  <a:pt x="0" y="697901"/>
                </a:lnTo>
                <a:close/>
              </a:path>
            </a:pathLst>
          </a:custGeom>
          <a:solidFill>
            <a:srgbClr val="061C48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700"/>
              </a:spcBef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24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0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56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56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756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756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756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100" dirty="0"/>
              <a:t>.</a:t>
            </a:r>
            <a:endParaRPr lang="da-DK"/>
          </a:p>
        </p:txBody>
      </p:sp>
      <p:sp>
        <p:nvSpPr>
          <p:cNvPr id="19" name="Text Placeholder 3"/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684000" y="345600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458517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515">
          <p15:clr>
            <a:srgbClr val="000000"/>
          </p15:clr>
        </p15:guide>
        <p15:guide id="3" pos="3833">
          <p15:clr>
            <a:srgbClr val="00000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+ billede (D) 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1755796 w 12192000"/>
              <a:gd name="connsiteY0" fmla="*/ 6780008 h 6858000"/>
              <a:gd name="connsiteX1" fmla="*/ 12192000 w 12192000"/>
              <a:gd name="connsiteY1" fmla="*/ 6857361 h 6858000"/>
              <a:gd name="connsiteX2" fmla="*/ 12192000 w 12192000"/>
              <a:gd name="connsiteY2" fmla="*/ 6857792 h 6858000"/>
              <a:gd name="connsiteX3" fmla="*/ 0 w 12192000"/>
              <a:gd name="connsiteY3" fmla="*/ 0 h 6858000"/>
              <a:gd name="connsiteX4" fmla="*/ 12192000 w 12192000"/>
              <a:gd name="connsiteY4" fmla="*/ 0 h 6858000"/>
              <a:gd name="connsiteX5" fmla="*/ 12192000 w 12192000"/>
              <a:gd name="connsiteY5" fmla="*/ 5432604 h 6858000"/>
              <a:gd name="connsiteX6" fmla="*/ 8113714 w 12192000"/>
              <a:gd name="connsiteY6" fmla="*/ 6130302 h 6858000"/>
              <a:gd name="connsiteX7" fmla="*/ 8114190 w 12192000"/>
              <a:gd name="connsiteY7" fmla="*/ 6130635 h 6858000"/>
              <a:gd name="connsiteX8" fmla="*/ 8106713 w 12192000"/>
              <a:gd name="connsiteY8" fmla="*/ 6129302 h 6858000"/>
              <a:gd name="connsiteX9" fmla="*/ 4037726 w 12192000"/>
              <a:gd name="connsiteY9" fmla="*/ 6854478 h 6858000"/>
              <a:gd name="connsiteX10" fmla="*/ 4037726 w 12192000"/>
              <a:gd name="connsiteY10" fmla="*/ 6857792 h 6858000"/>
              <a:gd name="connsiteX11" fmla="*/ 12192000 w 12192000"/>
              <a:gd name="connsiteY11" fmla="*/ 6857792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0" fmla="*/ 12192000 w 12192000"/>
              <a:gd name="connsiteY0" fmla="*/ 6857792 h 6858000"/>
              <a:gd name="connsiteX1" fmla="*/ 12192000 w 12192000"/>
              <a:gd name="connsiteY1" fmla="*/ 6857361 h 6858000"/>
              <a:gd name="connsiteX2" fmla="*/ 12192000 w 12192000"/>
              <a:gd name="connsiteY2" fmla="*/ 6857792 h 6858000"/>
              <a:gd name="connsiteX3" fmla="*/ 0 w 12192000"/>
              <a:gd name="connsiteY3" fmla="*/ 0 h 6858000"/>
              <a:gd name="connsiteX4" fmla="*/ 12192000 w 12192000"/>
              <a:gd name="connsiteY4" fmla="*/ 0 h 6858000"/>
              <a:gd name="connsiteX5" fmla="*/ 12192000 w 12192000"/>
              <a:gd name="connsiteY5" fmla="*/ 5432604 h 6858000"/>
              <a:gd name="connsiteX6" fmla="*/ 8113714 w 12192000"/>
              <a:gd name="connsiteY6" fmla="*/ 6130302 h 6858000"/>
              <a:gd name="connsiteX7" fmla="*/ 8114190 w 12192000"/>
              <a:gd name="connsiteY7" fmla="*/ 6130635 h 6858000"/>
              <a:gd name="connsiteX8" fmla="*/ 8106713 w 12192000"/>
              <a:gd name="connsiteY8" fmla="*/ 6129302 h 6858000"/>
              <a:gd name="connsiteX9" fmla="*/ 4037726 w 12192000"/>
              <a:gd name="connsiteY9" fmla="*/ 6854478 h 6858000"/>
              <a:gd name="connsiteX10" fmla="*/ 4037726 w 12192000"/>
              <a:gd name="connsiteY10" fmla="*/ 6857792 h 6858000"/>
              <a:gd name="connsiteX11" fmla="*/ 12192000 w 12192000"/>
              <a:gd name="connsiteY11" fmla="*/ 6857792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12192000 w 12192000"/>
              <a:gd name="connsiteY0" fmla="*/ 6857792 h 6858000"/>
              <a:gd name="connsiteX1" fmla="*/ 12192000 w 12192000"/>
              <a:gd name="connsiteY1" fmla="*/ 6857361 h 6858000"/>
              <a:gd name="connsiteX2" fmla="*/ 12192000 w 12192000"/>
              <a:gd name="connsiteY2" fmla="*/ 6857792 h 6858000"/>
              <a:gd name="connsiteX3" fmla="*/ 0 w 12192000"/>
              <a:gd name="connsiteY3" fmla="*/ 0 h 6858000"/>
              <a:gd name="connsiteX4" fmla="*/ 12192000 w 12192000"/>
              <a:gd name="connsiteY4" fmla="*/ 0 h 6858000"/>
              <a:gd name="connsiteX5" fmla="*/ 12192000 w 12192000"/>
              <a:gd name="connsiteY5" fmla="*/ 5432604 h 6858000"/>
              <a:gd name="connsiteX6" fmla="*/ 8113714 w 12192000"/>
              <a:gd name="connsiteY6" fmla="*/ 6130302 h 6858000"/>
              <a:gd name="connsiteX7" fmla="*/ 8114190 w 12192000"/>
              <a:gd name="connsiteY7" fmla="*/ 6130635 h 6858000"/>
              <a:gd name="connsiteX8" fmla="*/ 8106713 w 12192000"/>
              <a:gd name="connsiteY8" fmla="*/ 6129302 h 6858000"/>
              <a:gd name="connsiteX9" fmla="*/ 4037726 w 12192000"/>
              <a:gd name="connsiteY9" fmla="*/ 6854478 h 6858000"/>
              <a:gd name="connsiteX10" fmla="*/ 4037726 w 12192000"/>
              <a:gd name="connsiteY10" fmla="*/ 6857792 h 6858000"/>
              <a:gd name="connsiteX11" fmla="*/ 12192000 w 12192000"/>
              <a:gd name="connsiteY11" fmla="*/ 6857792 h 6858000"/>
              <a:gd name="connsiteX12" fmla="*/ 0 w 12192000"/>
              <a:gd name="connsiteY12" fmla="*/ 6858000 h 6858000"/>
              <a:gd name="connsiteX13" fmla="*/ 0 w 12192000"/>
              <a:gd name="connsiteY13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6858000">
                <a:moveTo>
                  <a:pt x="12192000" y="6857792"/>
                </a:moveTo>
                <a:lnTo>
                  <a:pt x="12192000" y="6857361"/>
                </a:lnTo>
                <a:lnTo>
                  <a:pt x="12192000" y="685779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5432604"/>
                </a:lnTo>
                <a:lnTo>
                  <a:pt x="8113714" y="6130302"/>
                </a:lnTo>
                <a:lnTo>
                  <a:pt x="8114190" y="6130635"/>
                </a:lnTo>
                <a:lnTo>
                  <a:pt x="8106713" y="6129302"/>
                </a:lnTo>
                <a:lnTo>
                  <a:pt x="4037726" y="6854478"/>
                </a:lnTo>
                <a:lnTo>
                  <a:pt x="4037726" y="6857792"/>
                </a:lnTo>
                <a:lnTo>
                  <a:pt x="12192000" y="6857792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504000" bIns="1044000" anchor="ctr" anchorCtr="0">
            <a:noAutofit/>
          </a:bodyPr>
          <a:lstStyle>
            <a:lvl1pPr algn="l">
              <a:defRPr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>
          <a:xfrm>
            <a:off x="8113185" y="1458000"/>
            <a:ext cx="4082400" cy="4676400"/>
          </a:xfrm>
          <a:custGeom>
            <a:avLst/>
            <a:gdLst>
              <a:gd name="connsiteX0" fmla="*/ 4054602 w 4078815"/>
              <a:gd name="connsiteY0" fmla="*/ 0 h 4671791"/>
              <a:gd name="connsiteX1" fmla="*/ 4078815 w 4078815"/>
              <a:gd name="connsiteY1" fmla="*/ 0 h 4671791"/>
              <a:gd name="connsiteX2" fmla="*/ 4075382 w 4078815"/>
              <a:gd name="connsiteY2" fmla="*/ 3976900 h 4671791"/>
              <a:gd name="connsiteX3" fmla="*/ 13427 w 4078815"/>
              <a:gd name="connsiteY3" fmla="*/ 4671791 h 4671791"/>
              <a:gd name="connsiteX4" fmla="*/ 0 w 4078815"/>
              <a:gd name="connsiteY4" fmla="*/ 4671791 h 4671791"/>
              <a:gd name="connsiteX5" fmla="*/ 0 w 4078815"/>
              <a:gd name="connsiteY5" fmla="*/ 694290 h 4671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78815" h="4671791">
                <a:moveTo>
                  <a:pt x="4054602" y="0"/>
                </a:moveTo>
                <a:lnTo>
                  <a:pt x="4078815" y="0"/>
                </a:lnTo>
                <a:cubicBezTo>
                  <a:pt x="4077671" y="1325634"/>
                  <a:pt x="4076526" y="2651266"/>
                  <a:pt x="4075382" y="3976900"/>
                </a:cubicBezTo>
                <a:lnTo>
                  <a:pt x="13427" y="4671791"/>
                </a:lnTo>
                <a:lnTo>
                  <a:pt x="0" y="4671791"/>
                </a:lnTo>
                <a:lnTo>
                  <a:pt x="0" y="694290"/>
                </a:lnTo>
                <a:close/>
              </a:path>
            </a:pathLst>
          </a:custGeom>
          <a:solidFill>
            <a:schemeClr val="accent2">
              <a:alpha val="90000"/>
            </a:schemeClr>
          </a:solidFill>
        </p:spPr>
        <p:txBody>
          <a:bodyPr wrap="square" lIns="666000" tIns="1296000" rIns="666000">
            <a:noAutofit/>
          </a:bodyPr>
          <a:lstStyle>
            <a:lvl1pPr>
              <a:lnSpc>
                <a:spcPct val="92000"/>
              </a:lnSpc>
              <a:defRPr sz="18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7" hasCustomPrompt="1"/>
          </p:nvPr>
        </p:nvSpPr>
        <p:spPr>
          <a:xfrm>
            <a:off x="8113185" y="3430800"/>
            <a:ext cx="4081497" cy="2001600"/>
          </a:xfrm>
        </p:spPr>
        <p:txBody>
          <a:bodyPr lIns="684000" rIns="684000"/>
          <a:lstStyle>
            <a:lvl1pPr marL="0" indent="0"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5pPr>
            <a:lvl6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6pPr>
            <a:lvl7pPr>
              <a:lnSpc>
                <a:spcPct val="110000"/>
              </a:lnSpc>
              <a:spcBef>
                <a:spcPts val="300"/>
              </a:spcBef>
              <a:defRPr>
                <a:solidFill>
                  <a:schemeClr val="bg1"/>
                </a:solidFill>
              </a:defRPr>
            </a:lvl7pPr>
            <a:lvl8pPr>
              <a:lnSpc>
                <a:spcPct val="110000"/>
              </a:lnSpc>
              <a:spcBef>
                <a:spcPts val="300"/>
              </a:spcBef>
              <a:defRPr>
                <a:solidFill>
                  <a:schemeClr val="bg1"/>
                </a:solidFill>
              </a:defRPr>
            </a:lvl8pPr>
            <a:lvl9pPr>
              <a:lnSpc>
                <a:spcPct val="110000"/>
              </a:lnSpc>
              <a:spcBef>
                <a:spcPts val="300"/>
              </a:spcBef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styles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17" name="TextBox 16"/>
          <p:cNvSpPr txBox="1">
            <a:spLocks/>
          </p:cNvSpPr>
          <p:nvPr userDrawn="1"/>
        </p:nvSpPr>
        <p:spPr>
          <a:xfrm>
            <a:off x="8113714" y="5432400"/>
            <a:ext cx="4081871" cy="1425600"/>
          </a:xfrm>
          <a:custGeom>
            <a:avLst/>
            <a:gdLst>
              <a:gd name="connsiteX0" fmla="*/ 4079472 w 4081871"/>
              <a:gd name="connsiteY0" fmla="*/ 0 h 1425595"/>
              <a:gd name="connsiteX1" fmla="*/ 4080004 w 4081871"/>
              <a:gd name="connsiteY1" fmla="*/ 0 h 1425595"/>
              <a:gd name="connsiteX2" fmla="*/ 4081871 w 4081871"/>
              <a:gd name="connsiteY2" fmla="*/ 1401578 h 1425595"/>
              <a:gd name="connsiteX3" fmla="*/ 4081871 w 4081871"/>
              <a:gd name="connsiteY3" fmla="*/ 1425595 h 1425595"/>
              <a:gd name="connsiteX4" fmla="*/ 7353 w 4081871"/>
              <a:gd name="connsiteY4" fmla="*/ 703055 h 1425595"/>
              <a:gd name="connsiteX5" fmla="*/ 0 w 4081871"/>
              <a:gd name="connsiteY5" fmla="*/ 697901 h 14255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81871" h="1425595">
                <a:moveTo>
                  <a:pt x="4079472" y="0"/>
                </a:moveTo>
                <a:lnTo>
                  <a:pt x="4080004" y="0"/>
                </a:lnTo>
                <a:lnTo>
                  <a:pt x="4081871" y="1401578"/>
                </a:lnTo>
                <a:lnTo>
                  <a:pt x="4081871" y="1425595"/>
                </a:lnTo>
                <a:lnTo>
                  <a:pt x="7353" y="703055"/>
                </a:lnTo>
                <a:lnTo>
                  <a:pt x="0" y="697901"/>
                </a:lnTo>
                <a:close/>
              </a:path>
            </a:pathLst>
          </a:custGeom>
          <a:solidFill>
            <a:srgbClr val="27A1BD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700"/>
              </a:spcBef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24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0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56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56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756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756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756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100" dirty="0"/>
              <a:t>.</a:t>
            </a:r>
            <a:endParaRPr lang="da-DK"/>
          </a:p>
        </p:txBody>
      </p:sp>
      <p:sp>
        <p:nvSpPr>
          <p:cNvPr id="19" name="Text Placeholder 3"/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684000" y="345600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029601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515">
          <p15:clr>
            <a:srgbClr val="000000"/>
          </p15:clr>
        </p15:guide>
        <p15:guide id="3" pos="3833">
          <p15:clr>
            <a:srgbClr val="00000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+ billede (D)  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1755796 w 12192000"/>
              <a:gd name="connsiteY0" fmla="*/ 6780008 h 6858000"/>
              <a:gd name="connsiteX1" fmla="*/ 12192000 w 12192000"/>
              <a:gd name="connsiteY1" fmla="*/ 6857361 h 6858000"/>
              <a:gd name="connsiteX2" fmla="*/ 12192000 w 12192000"/>
              <a:gd name="connsiteY2" fmla="*/ 6857792 h 6858000"/>
              <a:gd name="connsiteX3" fmla="*/ 0 w 12192000"/>
              <a:gd name="connsiteY3" fmla="*/ 0 h 6858000"/>
              <a:gd name="connsiteX4" fmla="*/ 12192000 w 12192000"/>
              <a:gd name="connsiteY4" fmla="*/ 0 h 6858000"/>
              <a:gd name="connsiteX5" fmla="*/ 12192000 w 12192000"/>
              <a:gd name="connsiteY5" fmla="*/ 5432604 h 6858000"/>
              <a:gd name="connsiteX6" fmla="*/ 8113714 w 12192000"/>
              <a:gd name="connsiteY6" fmla="*/ 6130302 h 6858000"/>
              <a:gd name="connsiteX7" fmla="*/ 8114190 w 12192000"/>
              <a:gd name="connsiteY7" fmla="*/ 6130635 h 6858000"/>
              <a:gd name="connsiteX8" fmla="*/ 8106713 w 12192000"/>
              <a:gd name="connsiteY8" fmla="*/ 6129302 h 6858000"/>
              <a:gd name="connsiteX9" fmla="*/ 4037726 w 12192000"/>
              <a:gd name="connsiteY9" fmla="*/ 6854478 h 6858000"/>
              <a:gd name="connsiteX10" fmla="*/ 4037726 w 12192000"/>
              <a:gd name="connsiteY10" fmla="*/ 6857792 h 6858000"/>
              <a:gd name="connsiteX11" fmla="*/ 12192000 w 12192000"/>
              <a:gd name="connsiteY11" fmla="*/ 6857792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0" fmla="*/ 12192000 w 12192000"/>
              <a:gd name="connsiteY0" fmla="*/ 6857792 h 6858000"/>
              <a:gd name="connsiteX1" fmla="*/ 12192000 w 12192000"/>
              <a:gd name="connsiteY1" fmla="*/ 6857361 h 6858000"/>
              <a:gd name="connsiteX2" fmla="*/ 12192000 w 12192000"/>
              <a:gd name="connsiteY2" fmla="*/ 6857792 h 6858000"/>
              <a:gd name="connsiteX3" fmla="*/ 0 w 12192000"/>
              <a:gd name="connsiteY3" fmla="*/ 0 h 6858000"/>
              <a:gd name="connsiteX4" fmla="*/ 12192000 w 12192000"/>
              <a:gd name="connsiteY4" fmla="*/ 0 h 6858000"/>
              <a:gd name="connsiteX5" fmla="*/ 12192000 w 12192000"/>
              <a:gd name="connsiteY5" fmla="*/ 5432604 h 6858000"/>
              <a:gd name="connsiteX6" fmla="*/ 8113714 w 12192000"/>
              <a:gd name="connsiteY6" fmla="*/ 6130302 h 6858000"/>
              <a:gd name="connsiteX7" fmla="*/ 8114190 w 12192000"/>
              <a:gd name="connsiteY7" fmla="*/ 6130635 h 6858000"/>
              <a:gd name="connsiteX8" fmla="*/ 8106713 w 12192000"/>
              <a:gd name="connsiteY8" fmla="*/ 6129302 h 6858000"/>
              <a:gd name="connsiteX9" fmla="*/ 4037726 w 12192000"/>
              <a:gd name="connsiteY9" fmla="*/ 6854478 h 6858000"/>
              <a:gd name="connsiteX10" fmla="*/ 4037726 w 12192000"/>
              <a:gd name="connsiteY10" fmla="*/ 6857792 h 6858000"/>
              <a:gd name="connsiteX11" fmla="*/ 12192000 w 12192000"/>
              <a:gd name="connsiteY11" fmla="*/ 6857792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12192000 w 12192000"/>
              <a:gd name="connsiteY0" fmla="*/ 6857792 h 6858000"/>
              <a:gd name="connsiteX1" fmla="*/ 12192000 w 12192000"/>
              <a:gd name="connsiteY1" fmla="*/ 6857361 h 6858000"/>
              <a:gd name="connsiteX2" fmla="*/ 12192000 w 12192000"/>
              <a:gd name="connsiteY2" fmla="*/ 6857792 h 6858000"/>
              <a:gd name="connsiteX3" fmla="*/ 0 w 12192000"/>
              <a:gd name="connsiteY3" fmla="*/ 0 h 6858000"/>
              <a:gd name="connsiteX4" fmla="*/ 12192000 w 12192000"/>
              <a:gd name="connsiteY4" fmla="*/ 0 h 6858000"/>
              <a:gd name="connsiteX5" fmla="*/ 12192000 w 12192000"/>
              <a:gd name="connsiteY5" fmla="*/ 5432604 h 6858000"/>
              <a:gd name="connsiteX6" fmla="*/ 8113714 w 12192000"/>
              <a:gd name="connsiteY6" fmla="*/ 6130302 h 6858000"/>
              <a:gd name="connsiteX7" fmla="*/ 8114190 w 12192000"/>
              <a:gd name="connsiteY7" fmla="*/ 6130635 h 6858000"/>
              <a:gd name="connsiteX8" fmla="*/ 8106713 w 12192000"/>
              <a:gd name="connsiteY8" fmla="*/ 6129302 h 6858000"/>
              <a:gd name="connsiteX9" fmla="*/ 4037726 w 12192000"/>
              <a:gd name="connsiteY9" fmla="*/ 6854478 h 6858000"/>
              <a:gd name="connsiteX10" fmla="*/ 4037726 w 12192000"/>
              <a:gd name="connsiteY10" fmla="*/ 6857792 h 6858000"/>
              <a:gd name="connsiteX11" fmla="*/ 12192000 w 12192000"/>
              <a:gd name="connsiteY11" fmla="*/ 6857792 h 6858000"/>
              <a:gd name="connsiteX12" fmla="*/ 0 w 12192000"/>
              <a:gd name="connsiteY12" fmla="*/ 6858000 h 6858000"/>
              <a:gd name="connsiteX13" fmla="*/ 0 w 12192000"/>
              <a:gd name="connsiteY13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6858000">
                <a:moveTo>
                  <a:pt x="12192000" y="6857792"/>
                </a:moveTo>
                <a:lnTo>
                  <a:pt x="12192000" y="6857361"/>
                </a:lnTo>
                <a:lnTo>
                  <a:pt x="12192000" y="685779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5432604"/>
                </a:lnTo>
                <a:lnTo>
                  <a:pt x="8113714" y="6130302"/>
                </a:lnTo>
                <a:lnTo>
                  <a:pt x="8114190" y="6130635"/>
                </a:lnTo>
                <a:lnTo>
                  <a:pt x="8106713" y="6129302"/>
                </a:lnTo>
                <a:lnTo>
                  <a:pt x="4037726" y="6854478"/>
                </a:lnTo>
                <a:lnTo>
                  <a:pt x="4037726" y="6857792"/>
                </a:lnTo>
                <a:lnTo>
                  <a:pt x="12192000" y="6857792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504000" bIns="1044000" anchor="ctr" anchorCtr="0">
            <a:noAutofit/>
          </a:bodyPr>
          <a:lstStyle>
            <a:lvl1pPr algn="l">
              <a:defRPr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>
          <a:xfrm>
            <a:off x="8113185" y="1458000"/>
            <a:ext cx="4082400" cy="4676400"/>
          </a:xfrm>
          <a:custGeom>
            <a:avLst/>
            <a:gdLst>
              <a:gd name="connsiteX0" fmla="*/ 4054602 w 4078815"/>
              <a:gd name="connsiteY0" fmla="*/ 0 h 4671791"/>
              <a:gd name="connsiteX1" fmla="*/ 4078815 w 4078815"/>
              <a:gd name="connsiteY1" fmla="*/ 0 h 4671791"/>
              <a:gd name="connsiteX2" fmla="*/ 4075382 w 4078815"/>
              <a:gd name="connsiteY2" fmla="*/ 3976900 h 4671791"/>
              <a:gd name="connsiteX3" fmla="*/ 13427 w 4078815"/>
              <a:gd name="connsiteY3" fmla="*/ 4671791 h 4671791"/>
              <a:gd name="connsiteX4" fmla="*/ 0 w 4078815"/>
              <a:gd name="connsiteY4" fmla="*/ 4671791 h 4671791"/>
              <a:gd name="connsiteX5" fmla="*/ 0 w 4078815"/>
              <a:gd name="connsiteY5" fmla="*/ 694290 h 4671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78815" h="4671791">
                <a:moveTo>
                  <a:pt x="4054602" y="0"/>
                </a:moveTo>
                <a:lnTo>
                  <a:pt x="4078815" y="0"/>
                </a:lnTo>
                <a:cubicBezTo>
                  <a:pt x="4077671" y="1325634"/>
                  <a:pt x="4076526" y="2651266"/>
                  <a:pt x="4075382" y="3976900"/>
                </a:cubicBezTo>
                <a:lnTo>
                  <a:pt x="13427" y="4671791"/>
                </a:lnTo>
                <a:lnTo>
                  <a:pt x="0" y="4671791"/>
                </a:lnTo>
                <a:lnTo>
                  <a:pt x="0" y="694290"/>
                </a:lnTo>
                <a:close/>
              </a:path>
            </a:pathLst>
          </a:custGeom>
          <a:solidFill>
            <a:schemeClr val="accent3">
              <a:alpha val="90000"/>
            </a:schemeClr>
          </a:solidFill>
        </p:spPr>
        <p:txBody>
          <a:bodyPr wrap="square" lIns="666000" tIns="1296000" rIns="666000">
            <a:noAutofit/>
          </a:bodyPr>
          <a:lstStyle>
            <a:lvl1pPr>
              <a:lnSpc>
                <a:spcPct val="92000"/>
              </a:lnSpc>
              <a:defRPr sz="18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7" hasCustomPrompt="1"/>
          </p:nvPr>
        </p:nvSpPr>
        <p:spPr>
          <a:xfrm>
            <a:off x="8113185" y="3430800"/>
            <a:ext cx="4081497" cy="2001600"/>
          </a:xfrm>
        </p:spPr>
        <p:txBody>
          <a:bodyPr lIns="684000" rIns="684000"/>
          <a:lstStyle>
            <a:lvl1pPr marL="0" indent="0"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5pPr>
            <a:lvl6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6pPr>
            <a:lvl7pPr>
              <a:lnSpc>
                <a:spcPct val="110000"/>
              </a:lnSpc>
              <a:spcBef>
                <a:spcPts val="300"/>
              </a:spcBef>
              <a:defRPr>
                <a:solidFill>
                  <a:schemeClr val="bg1"/>
                </a:solidFill>
              </a:defRPr>
            </a:lvl7pPr>
            <a:lvl8pPr>
              <a:lnSpc>
                <a:spcPct val="110000"/>
              </a:lnSpc>
              <a:spcBef>
                <a:spcPts val="300"/>
              </a:spcBef>
              <a:defRPr>
                <a:solidFill>
                  <a:schemeClr val="bg1"/>
                </a:solidFill>
              </a:defRPr>
            </a:lvl8pPr>
            <a:lvl9pPr>
              <a:lnSpc>
                <a:spcPct val="110000"/>
              </a:lnSpc>
              <a:spcBef>
                <a:spcPts val="300"/>
              </a:spcBef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styles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17" name="TextBox 16"/>
          <p:cNvSpPr txBox="1">
            <a:spLocks/>
          </p:cNvSpPr>
          <p:nvPr userDrawn="1"/>
        </p:nvSpPr>
        <p:spPr>
          <a:xfrm>
            <a:off x="8113714" y="5432400"/>
            <a:ext cx="4081871" cy="1425600"/>
          </a:xfrm>
          <a:custGeom>
            <a:avLst/>
            <a:gdLst>
              <a:gd name="connsiteX0" fmla="*/ 4079472 w 4081871"/>
              <a:gd name="connsiteY0" fmla="*/ 0 h 1425595"/>
              <a:gd name="connsiteX1" fmla="*/ 4080004 w 4081871"/>
              <a:gd name="connsiteY1" fmla="*/ 0 h 1425595"/>
              <a:gd name="connsiteX2" fmla="*/ 4081871 w 4081871"/>
              <a:gd name="connsiteY2" fmla="*/ 1401578 h 1425595"/>
              <a:gd name="connsiteX3" fmla="*/ 4081871 w 4081871"/>
              <a:gd name="connsiteY3" fmla="*/ 1425595 h 1425595"/>
              <a:gd name="connsiteX4" fmla="*/ 7353 w 4081871"/>
              <a:gd name="connsiteY4" fmla="*/ 703055 h 1425595"/>
              <a:gd name="connsiteX5" fmla="*/ 0 w 4081871"/>
              <a:gd name="connsiteY5" fmla="*/ 697901 h 14255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81871" h="1425595">
                <a:moveTo>
                  <a:pt x="4079472" y="0"/>
                </a:moveTo>
                <a:lnTo>
                  <a:pt x="4080004" y="0"/>
                </a:lnTo>
                <a:lnTo>
                  <a:pt x="4081871" y="1401578"/>
                </a:lnTo>
                <a:lnTo>
                  <a:pt x="4081871" y="1425595"/>
                </a:lnTo>
                <a:lnTo>
                  <a:pt x="7353" y="703055"/>
                </a:lnTo>
                <a:lnTo>
                  <a:pt x="0" y="697901"/>
                </a:lnTo>
                <a:close/>
              </a:path>
            </a:pathLst>
          </a:custGeom>
          <a:solidFill>
            <a:srgbClr val="ECAD28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700"/>
              </a:spcBef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24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0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56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56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756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756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756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100" dirty="0"/>
              <a:t>.</a:t>
            </a:r>
            <a:endParaRPr lang="da-DK"/>
          </a:p>
        </p:txBody>
      </p:sp>
      <p:sp>
        <p:nvSpPr>
          <p:cNvPr id="19" name="Text Placeholder 3"/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684000" y="345600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543512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515">
          <p15:clr>
            <a:srgbClr val="000000"/>
          </p15:clr>
        </p15:guide>
        <p15:guide id="3" pos="3833">
          <p15:clr>
            <a:srgbClr val="00000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+ billede (D)   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1755796 w 12192000"/>
              <a:gd name="connsiteY0" fmla="*/ 6780008 h 6858000"/>
              <a:gd name="connsiteX1" fmla="*/ 12192000 w 12192000"/>
              <a:gd name="connsiteY1" fmla="*/ 6857361 h 6858000"/>
              <a:gd name="connsiteX2" fmla="*/ 12192000 w 12192000"/>
              <a:gd name="connsiteY2" fmla="*/ 6857792 h 6858000"/>
              <a:gd name="connsiteX3" fmla="*/ 0 w 12192000"/>
              <a:gd name="connsiteY3" fmla="*/ 0 h 6858000"/>
              <a:gd name="connsiteX4" fmla="*/ 12192000 w 12192000"/>
              <a:gd name="connsiteY4" fmla="*/ 0 h 6858000"/>
              <a:gd name="connsiteX5" fmla="*/ 12192000 w 12192000"/>
              <a:gd name="connsiteY5" fmla="*/ 5432604 h 6858000"/>
              <a:gd name="connsiteX6" fmla="*/ 8113714 w 12192000"/>
              <a:gd name="connsiteY6" fmla="*/ 6130302 h 6858000"/>
              <a:gd name="connsiteX7" fmla="*/ 8114190 w 12192000"/>
              <a:gd name="connsiteY7" fmla="*/ 6130635 h 6858000"/>
              <a:gd name="connsiteX8" fmla="*/ 8106713 w 12192000"/>
              <a:gd name="connsiteY8" fmla="*/ 6129302 h 6858000"/>
              <a:gd name="connsiteX9" fmla="*/ 4037726 w 12192000"/>
              <a:gd name="connsiteY9" fmla="*/ 6854478 h 6858000"/>
              <a:gd name="connsiteX10" fmla="*/ 4037726 w 12192000"/>
              <a:gd name="connsiteY10" fmla="*/ 6857792 h 6858000"/>
              <a:gd name="connsiteX11" fmla="*/ 12192000 w 12192000"/>
              <a:gd name="connsiteY11" fmla="*/ 6857792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0" fmla="*/ 12192000 w 12192000"/>
              <a:gd name="connsiteY0" fmla="*/ 6857792 h 6858000"/>
              <a:gd name="connsiteX1" fmla="*/ 12192000 w 12192000"/>
              <a:gd name="connsiteY1" fmla="*/ 6857361 h 6858000"/>
              <a:gd name="connsiteX2" fmla="*/ 12192000 w 12192000"/>
              <a:gd name="connsiteY2" fmla="*/ 6857792 h 6858000"/>
              <a:gd name="connsiteX3" fmla="*/ 0 w 12192000"/>
              <a:gd name="connsiteY3" fmla="*/ 0 h 6858000"/>
              <a:gd name="connsiteX4" fmla="*/ 12192000 w 12192000"/>
              <a:gd name="connsiteY4" fmla="*/ 0 h 6858000"/>
              <a:gd name="connsiteX5" fmla="*/ 12192000 w 12192000"/>
              <a:gd name="connsiteY5" fmla="*/ 5432604 h 6858000"/>
              <a:gd name="connsiteX6" fmla="*/ 8113714 w 12192000"/>
              <a:gd name="connsiteY6" fmla="*/ 6130302 h 6858000"/>
              <a:gd name="connsiteX7" fmla="*/ 8114190 w 12192000"/>
              <a:gd name="connsiteY7" fmla="*/ 6130635 h 6858000"/>
              <a:gd name="connsiteX8" fmla="*/ 8106713 w 12192000"/>
              <a:gd name="connsiteY8" fmla="*/ 6129302 h 6858000"/>
              <a:gd name="connsiteX9" fmla="*/ 4037726 w 12192000"/>
              <a:gd name="connsiteY9" fmla="*/ 6854478 h 6858000"/>
              <a:gd name="connsiteX10" fmla="*/ 4037726 w 12192000"/>
              <a:gd name="connsiteY10" fmla="*/ 6857792 h 6858000"/>
              <a:gd name="connsiteX11" fmla="*/ 12192000 w 12192000"/>
              <a:gd name="connsiteY11" fmla="*/ 6857792 h 6858000"/>
              <a:gd name="connsiteX12" fmla="*/ 12192000 w 12192000"/>
              <a:gd name="connsiteY12" fmla="*/ 6858000 h 6858000"/>
              <a:gd name="connsiteX13" fmla="*/ 0 w 12192000"/>
              <a:gd name="connsiteY13" fmla="*/ 6858000 h 6858000"/>
              <a:gd name="connsiteX14" fmla="*/ 0 w 12192000"/>
              <a:gd name="connsiteY14" fmla="*/ 0 h 6858000"/>
              <a:gd name="connsiteX0" fmla="*/ 12192000 w 12192000"/>
              <a:gd name="connsiteY0" fmla="*/ 6857792 h 6858000"/>
              <a:gd name="connsiteX1" fmla="*/ 12192000 w 12192000"/>
              <a:gd name="connsiteY1" fmla="*/ 6857361 h 6858000"/>
              <a:gd name="connsiteX2" fmla="*/ 12192000 w 12192000"/>
              <a:gd name="connsiteY2" fmla="*/ 6857792 h 6858000"/>
              <a:gd name="connsiteX3" fmla="*/ 0 w 12192000"/>
              <a:gd name="connsiteY3" fmla="*/ 0 h 6858000"/>
              <a:gd name="connsiteX4" fmla="*/ 12192000 w 12192000"/>
              <a:gd name="connsiteY4" fmla="*/ 0 h 6858000"/>
              <a:gd name="connsiteX5" fmla="*/ 12192000 w 12192000"/>
              <a:gd name="connsiteY5" fmla="*/ 5432604 h 6858000"/>
              <a:gd name="connsiteX6" fmla="*/ 8113714 w 12192000"/>
              <a:gd name="connsiteY6" fmla="*/ 6130302 h 6858000"/>
              <a:gd name="connsiteX7" fmla="*/ 8114190 w 12192000"/>
              <a:gd name="connsiteY7" fmla="*/ 6130635 h 6858000"/>
              <a:gd name="connsiteX8" fmla="*/ 8106713 w 12192000"/>
              <a:gd name="connsiteY8" fmla="*/ 6129302 h 6858000"/>
              <a:gd name="connsiteX9" fmla="*/ 4037726 w 12192000"/>
              <a:gd name="connsiteY9" fmla="*/ 6854478 h 6858000"/>
              <a:gd name="connsiteX10" fmla="*/ 4037726 w 12192000"/>
              <a:gd name="connsiteY10" fmla="*/ 6857792 h 6858000"/>
              <a:gd name="connsiteX11" fmla="*/ 12192000 w 12192000"/>
              <a:gd name="connsiteY11" fmla="*/ 6857792 h 6858000"/>
              <a:gd name="connsiteX12" fmla="*/ 0 w 12192000"/>
              <a:gd name="connsiteY12" fmla="*/ 6858000 h 6858000"/>
              <a:gd name="connsiteX13" fmla="*/ 0 w 12192000"/>
              <a:gd name="connsiteY13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0" h="6858000">
                <a:moveTo>
                  <a:pt x="12192000" y="6857792"/>
                </a:moveTo>
                <a:lnTo>
                  <a:pt x="12192000" y="6857361"/>
                </a:lnTo>
                <a:lnTo>
                  <a:pt x="12192000" y="6857792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5432604"/>
                </a:lnTo>
                <a:lnTo>
                  <a:pt x="8113714" y="6130302"/>
                </a:lnTo>
                <a:lnTo>
                  <a:pt x="8114190" y="6130635"/>
                </a:lnTo>
                <a:lnTo>
                  <a:pt x="8106713" y="6129302"/>
                </a:lnTo>
                <a:lnTo>
                  <a:pt x="4037726" y="6854478"/>
                </a:lnTo>
                <a:lnTo>
                  <a:pt x="4037726" y="6857792"/>
                </a:lnTo>
                <a:lnTo>
                  <a:pt x="12192000" y="6857792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504000" bIns="1044000" anchor="ctr" anchorCtr="0">
            <a:noAutofit/>
          </a:bodyPr>
          <a:lstStyle>
            <a:lvl1pPr algn="l">
              <a:defRPr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>
          <a:xfrm>
            <a:off x="8113185" y="1458000"/>
            <a:ext cx="4082400" cy="4676400"/>
          </a:xfrm>
          <a:custGeom>
            <a:avLst/>
            <a:gdLst>
              <a:gd name="connsiteX0" fmla="*/ 4054602 w 4078815"/>
              <a:gd name="connsiteY0" fmla="*/ 0 h 4671791"/>
              <a:gd name="connsiteX1" fmla="*/ 4078815 w 4078815"/>
              <a:gd name="connsiteY1" fmla="*/ 0 h 4671791"/>
              <a:gd name="connsiteX2" fmla="*/ 4075382 w 4078815"/>
              <a:gd name="connsiteY2" fmla="*/ 3976900 h 4671791"/>
              <a:gd name="connsiteX3" fmla="*/ 13427 w 4078815"/>
              <a:gd name="connsiteY3" fmla="*/ 4671791 h 4671791"/>
              <a:gd name="connsiteX4" fmla="*/ 0 w 4078815"/>
              <a:gd name="connsiteY4" fmla="*/ 4671791 h 4671791"/>
              <a:gd name="connsiteX5" fmla="*/ 0 w 4078815"/>
              <a:gd name="connsiteY5" fmla="*/ 694290 h 4671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78815" h="4671791">
                <a:moveTo>
                  <a:pt x="4054602" y="0"/>
                </a:moveTo>
                <a:lnTo>
                  <a:pt x="4078815" y="0"/>
                </a:lnTo>
                <a:cubicBezTo>
                  <a:pt x="4077671" y="1325634"/>
                  <a:pt x="4076526" y="2651266"/>
                  <a:pt x="4075382" y="3976900"/>
                </a:cubicBezTo>
                <a:lnTo>
                  <a:pt x="13427" y="4671791"/>
                </a:lnTo>
                <a:lnTo>
                  <a:pt x="0" y="4671791"/>
                </a:lnTo>
                <a:lnTo>
                  <a:pt x="0" y="694290"/>
                </a:lnTo>
                <a:close/>
              </a:path>
            </a:pathLst>
          </a:custGeom>
          <a:solidFill>
            <a:schemeClr val="accent4">
              <a:alpha val="90000"/>
            </a:schemeClr>
          </a:solidFill>
        </p:spPr>
        <p:txBody>
          <a:bodyPr wrap="square" lIns="666000" tIns="1296000" rIns="666000">
            <a:noAutofit/>
          </a:bodyPr>
          <a:lstStyle>
            <a:lvl1pPr>
              <a:lnSpc>
                <a:spcPct val="92000"/>
              </a:lnSpc>
              <a:defRPr sz="18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7" hasCustomPrompt="1"/>
          </p:nvPr>
        </p:nvSpPr>
        <p:spPr>
          <a:xfrm>
            <a:off x="8113185" y="3430800"/>
            <a:ext cx="4081497" cy="2001600"/>
          </a:xfrm>
        </p:spPr>
        <p:txBody>
          <a:bodyPr lIns="684000" rIns="684000"/>
          <a:lstStyle>
            <a:lvl1pPr marL="0" indent="0"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2pPr>
            <a:lvl3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3pPr>
            <a:lvl4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4pPr>
            <a:lvl5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5pPr>
            <a:lvl6pPr>
              <a:lnSpc>
                <a:spcPct val="110000"/>
              </a:lnSpc>
              <a:spcBef>
                <a:spcPts val="300"/>
              </a:spcBef>
              <a:defRPr sz="1400">
                <a:solidFill>
                  <a:schemeClr val="bg1"/>
                </a:solidFill>
              </a:defRPr>
            </a:lvl6pPr>
            <a:lvl7pPr>
              <a:lnSpc>
                <a:spcPct val="110000"/>
              </a:lnSpc>
              <a:spcBef>
                <a:spcPts val="300"/>
              </a:spcBef>
              <a:defRPr>
                <a:solidFill>
                  <a:schemeClr val="bg1"/>
                </a:solidFill>
              </a:defRPr>
            </a:lvl7pPr>
            <a:lvl8pPr>
              <a:lnSpc>
                <a:spcPct val="110000"/>
              </a:lnSpc>
              <a:spcBef>
                <a:spcPts val="300"/>
              </a:spcBef>
              <a:defRPr>
                <a:solidFill>
                  <a:schemeClr val="bg1"/>
                </a:solidFill>
              </a:defRPr>
            </a:lvl8pPr>
            <a:lvl9pPr>
              <a:lnSpc>
                <a:spcPct val="110000"/>
              </a:lnSpc>
              <a:spcBef>
                <a:spcPts val="300"/>
              </a:spcBef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styles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17" name="TextBox 16"/>
          <p:cNvSpPr txBox="1">
            <a:spLocks/>
          </p:cNvSpPr>
          <p:nvPr userDrawn="1"/>
        </p:nvSpPr>
        <p:spPr>
          <a:xfrm>
            <a:off x="8113714" y="5432400"/>
            <a:ext cx="4081871" cy="1425600"/>
          </a:xfrm>
          <a:custGeom>
            <a:avLst/>
            <a:gdLst>
              <a:gd name="connsiteX0" fmla="*/ 4079472 w 4081871"/>
              <a:gd name="connsiteY0" fmla="*/ 0 h 1425595"/>
              <a:gd name="connsiteX1" fmla="*/ 4080004 w 4081871"/>
              <a:gd name="connsiteY1" fmla="*/ 0 h 1425595"/>
              <a:gd name="connsiteX2" fmla="*/ 4081871 w 4081871"/>
              <a:gd name="connsiteY2" fmla="*/ 1401578 h 1425595"/>
              <a:gd name="connsiteX3" fmla="*/ 4081871 w 4081871"/>
              <a:gd name="connsiteY3" fmla="*/ 1425595 h 1425595"/>
              <a:gd name="connsiteX4" fmla="*/ 7353 w 4081871"/>
              <a:gd name="connsiteY4" fmla="*/ 703055 h 1425595"/>
              <a:gd name="connsiteX5" fmla="*/ 0 w 4081871"/>
              <a:gd name="connsiteY5" fmla="*/ 697901 h 14255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81871" h="1425595">
                <a:moveTo>
                  <a:pt x="4079472" y="0"/>
                </a:moveTo>
                <a:lnTo>
                  <a:pt x="4080004" y="0"/>
                </a:lnTo>
                <a:lnTo>
                  <a:pt x="4081871" y="1401578"/>
                </a:lnTo>
                <a:lnTo>
                  <a:pt x="4081871" y="1425595"/>
                </a:lnTo>
                <a:lnTo>
                  <a:pt x="7353" y="703055"/>
                </a:lnTo>
                <a:lnTo>
                  <a:pt x="0" y="697901"/>
                </a:lnTo>
                <a:close/>
              </a:path>
            </a:pathLst>
          </a:custGeom>
          <a:solidFill>
            <a:srgbClr val="EB4430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700"/>
              </a:spcBef>
              <a:buFont typeface="Arial" panose="020B0604020202020204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108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24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0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56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56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756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756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756000" indent="-108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·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100" dirty="0"/>
              <a:t>.</a:t>
            </a:r>
            <a:endParaRPr lang="da-DK"/>
          </a:p>
        </p:txBody>
      </p:sp>
      <p:sp>
        <p:nvSpPr>
          <p:cNvPr id="19" name="Text Placeholder 3"/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684000" y="345600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746536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515">
          <p15:clr>
            <a:srgbClr val="000000"/>
          </p15:clr>
        </p15:guide>
        <p15:guide id="3" pos="3833">
          <p15:clr>
            <a:srgbClr val="00000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hap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3175">
            <a:noFill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4000"/>
              </a:lnSpc>
            </a:pPr>
            <a:endParaRPr lang="da-DK" sz="1800" dirty="0" err="1"/>
          </a:p>
        </p:txBody>
      </p:sp>
      <p:sp>
        <p:nvSpPr>
          <p:cNvPr id="10" name="Shape 1"/>
          <p:cNvSpPr>
            <a:spLocks/>
          </p:cNvSpPr>
          <p:nvPr userDrawn="1"/>
        </p:nvSpPr>
        <p:spPr bwMode="auto">
          <a:xfrm>
            <a:off x="0" y="1"/>
            <a:ext cx="12192000" cy="6856413"/>
          </a:xfrm>
          <a:custGeom>
            <a:avLst/>
            <a:gdLst>
              <a:gd name="T0" fmla="*/ 0 w 5757"/>
              <a:gd name="T1" fmla="*/ 0 h 4319"/>
              <a:gd name="T2" fmla="*/ 0 w 5757"/>
              <a:gd name="T3" fmla="*/ 3304 h 4319"/>
              <a:gd name="T4" fmla="*/ 5757 w 5757"/>
              <a:gd name="T5" fmla="*/ 4319 h 4319"/>
              <a:gd name="T6" fmla="*/ 5757 w 5757"/>
              <a:gd name="T7" fmla="*/ 0 h 4319"/>
              <a:gd name="T8" fmla="*/ 0 w 5757"/>
              <a:gd name="T9" fmla="*/ 0 h 4319"/>
              <a:gd name="connsiteX0" fmla="*/ 0 w 10000"/>
              <a:gd name="connsiteY0" fmla="*/ 0 h 10000"/>
              <a:gd name="connsiteX1" fmla="*/ 2 w 10000"/>
              <a:gd name="connsiteY1" fmla="*/ 6878 h 10000"/>
              <a:gd name="connsiteX2" fmla="*/ 10000 w 10000"/>
              <a:gd name="connsiteY2" fmla="*/ 10000 h 10000"/>
              <a:gd name="connsiteX3" fmla="*/ 10000 w 10000"/>
              <a:gd name="connsiteY3" fmla="*/ 0 h 10000"/>
              <a:gd name="connsiteX4" fmla="*/ 0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0"/>
                </a:moveTo>
                <a:cubicBezTo>
                  <a:pt x="1" y="2293"/>
                  <a:pt x="1" y="4585"/>
                  <a:pt x="2" y="6878"/>
                </a:cubicBezTo>
                <a:lnTo>
                  <a:pt x="10000" y="10000"/>
                </a:lnTo>
                <a:lnTo>
                  <a:pt x="1000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sz="1800" dirty="0"/>
          </a:p>
        </p:txBody>
      </p:sp>
      <p:sp>
        <p:nvSpPr>
          <p:cNvPr id="15" name="Shape 2"/>
          <p:cNvSpPr>
            <a:spLocks/>
          </p:cNvSpPr>
          <p:nvPr userDrawn="1"/>
        </p:nvSpPr>
        <p:spPr bwMode="auto">
          <a:xfrm>
            <a:off x="0" y="2565400"/>
            <a:ext cx="12192000" cy="4291014"/>
          </a:xfrm>
          <a:custGeom>
            <a:avLst/>
            <a:gdLst>
              <a:gd name="T0" fmla="*/ 5760 w 5760"/>
              <a:gd name="T1" fmla="*/ 0 h 2034"/>
              <a:gd name="T2" fmla="*/ 0 w 5760"/>
              <a:gd name="T3" fmla="*/ 1017 h 2034"/>
              <a:gd name="T4" fmla="*/ 5760 w 5760"/>
              <a:gd name="T5" fmla="*/ 2034 h 2034"/>
              <a:gd name="T6" fmla="*/ 5760 w 5760"/>
              <a:gd name="T7" fmla="*/ 0 h 20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760" h="2034">
                <a:moveTo>
                  <a:pt x="5760" y="0"/>
                </a:moveTo>
                <a:lnTo>
                  <a:pt x="0" y="1017"/>
                </a:lnTo>
                <a:lnTo>
                  <a:pt x="5760" y="2034"/>
                </a:lnTo>
                <a:lnTo>
                  <a:pt x="5760" y="0"/>
                </a:lnTo>
                <a:close/>
              </a:path>
            </a:pathLst>
          </a:custGeom>
          <a:solidFill>
            <a:srgbClr val="061C4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sz="18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002" y="1954278"/>
            <a:ext cx="8781561" cy="1224136"/>
          </a:xfrm>
        </p:spPr>
        <p:txBody>
          <a:bodyPr/>
          <a:lstStyle>
            <a:lvl1pPr>
              <a:lnSpc>
                <a:spcPct val="87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pic>
        <p:nvPicPr>
          <p:cNvPr id="11" name="Logo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1055" y="346665"/>
            <a:ext cx="1403387" cy="256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79306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BEBEC"/>
          </a:solidFill>
          <a:ln w="3175">
            <a:noFill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4000"/>
              </a:lnSpc>
            </a:pPr>
            <a:endParaRPr lang="da-DK" sz="1800" dirty="0" err="1"/>
          </a:p>
        </p:txBody>
      </p:sp>
      <p:grpSp>
        <p:nvGrpSpPr>
          <p:cNvPr id="121" name="Lines"/>
          <p:cNvGrpSpPr/>
          <p:nvPr userDrawn="1"/>
        </p:nvGrpSpPr>
        <p:grpSpPr>
          <a:xfrm>
            <a:off x="-792" y="0"/>
            <a:ext cx="12298271" cy="6161964"/>
            <a:chOff x="-792" y="0"/>
            <a:chExt cx="12298271" cy="6161964"/>
          </a:xfrm>
        </p:grpSpPr>
        <p:sp>
          <p:nvSpPr>
            <p:cNvPr id="108" name="Freeform: Shape 107"/>
            <p:cNvSpPr>
              <a:spLocks/>
            </p:cNvSpPr>
            <p:nvPr userDrawn="1"/>
          </p:nvSpPr>
          <p:spPr bwMode="auto">
            <a:xfrm>
              <a:off x="5971967" y="0"/>
              <a:ext cx="6221233" cy="2661061"/>
            </a:xfrm>
            <a:custGeom>
              <a:avLst/>
              <a:gdLst>
                <a:gd name="connsiteX0" fmla="*/ 0 w 6221233"/>
                <a:gd name="connsiteY0" fmla="*/ 0 h 2661061"/>
                <a:gd name="connsiteX1" fmla="*/ 38482 w 6221233"/>
                <a:gd name="connsiteY1" fmla="*/ 0 h 2661061"/>
                <a:gd name="connsiteX2" fmla="*/ 6221233 w 6221233"/>
                <a:gd name="connsiteY2" fmla="*/ 2645019 h 2661061"/>
                <a:gd name="connsiteX3" fmla="*/ 6221233 w 6221233"/>
                <a:gd name="connsiteY3" fmla="*/ 2661061 h 2661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21233" h="2661061">
                  <a:moveTo>
                    <a:pt x="0" y="0"/>
                  </a:moveTo>
                  <a:lnTo>
                    <a:pt x="38482" y="0"/>
                  </a:lnTo>
                  <a:lnTo>
                    <a:pt x="6221233" y="2645019"/>
                  </a:lnTo>
                  <a:lnTo>
                    <a:pt x="6221233" y="2661061"/>
                  </a:lnTo>
                  <a:close/>
                </a:path>
              </a:pathLst>
            </a:custGeom>
            <a:solidFill>
              <a:srgbClr val="C1C3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06" name="Freeform: Shape 105"/>
            <p:cNvSpPr>
              <a:spLocks/>
            </p:cNvSpPr>
            <p:nvPr userDrawn="1"/>
          </p:nvSpPr>
          <p:spPr bwMode="auto">
            <a:xfrm>
              <a:off x="6239739" y="1"/>
              <a:ext cx="5953461" cy="2457299"/>
            </a:xfrm>
            <a:custGeom>
              <a:avLst/>
              <a:gdLst>
                <a:gd name="connsiteX0" fmla="*/ 0 w 5953461"/>
                <a:gd name="connsiteY0" fmla="*/ 0 h 2457299"/>
                <a:gd name="connsiteX1" fmla="*/ 36593 w 5953461"/>
                <a:gd name="connsiteY1" fmla="*/ 0 h 2457299"/>
                <a:gd name="connsiteX2" fmla="*/ 1445423 w 5953461"/>
                <a:gd name="connsiteY2" fmla="*/ 637927 h 2457299"/>
                <a:gd name="connsiteX3" fmla="*/ 2689583 w 5953461"/>
                <a:gd name="connsiteY3" fmla="*/ 1109504 h 2457299"/>
                <a:gd name="connsiteX4" fmla="*/ 3712662 w 5953461"/>
                <a:gd name="connsiteY4" fmla="*/ 1489513 h 2457299"/>
                <a:gd name="connsiteX5" fmla="*/ 5925012 w 5953461"/>
                <a:gd name="connsiteY5" fmla="*/ 2428089 h 2457299"/>
                <a:gd name="connsiteX6" fmla="*/ 5953461 w 5953461"/>
                <a:gd name="connsiteY6" fmla="*/ 2440341 h 2457299"/>
                <a:gd name="connsiteX7" fmla="*/ 5953461 w 5953461"/>
                <a:gd name="connsiteY7" fmla="*/ 2457299 h 2457299"/>
                <a:gd name="connsiteX8" fmla="*/ 5917389 w 5953461"/>
                <a:gd name="connsiteY8" fmla="*/ 2441825 h 2457299"/>
                <a:gd name="connsiteX9" fmla="*/ 3706563 w 5953461"/>
                <a:gd name="connsiteY9" fmla="*/ 1503248 h 2457299"/>
                <a:gd name="connsiteX10" fmla="*/ 2685009 w 5953461"/>
                <a:gd name="connsiteY10" fmla="*/ 1124765 h 2457299"/>
                <a:gd name="connsiteX11" fmla="*/ 1439324 w 5953461"/>
                <a:gd name="connsiteY11" fmla="*/ 651662 h 2457299"/>
                <a:gd name="connsiteX12" fmla="*/ 0 w 5953461"/>
                <a:gd name="connsiteY12" fmla="*/ 0 h 2457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53461" h="2457299">
                  <a:moveTo>
                    <a:pt x="0" y="0"/>
                  </a:moveTo>
                  <a:cubicBezTo>
                    <a:pt x="0" y="0"/>
                    <a:pt x="0" y="0"/>
                    <a:pt x="36593" y="0"/>
                  </a:cubicBezTo>
                  <a:cubicBezTo>
                    <a:pt x="501629" y="218238"/>
                    <a:pt x="972763" y="436476"/>
                    <a:pt x="1445423" y="637927"/>
                  </a:cubicBezTo>
                  <a:cubicBezTo>
                    <a:pt x="1854044" y="811907"/>
                    <a:pt x="2279437" y="962995"/>
                    <a:pt x="2689583" y="1109504"/>
                  </a:cubicBezTo>
                  <a:cubicBezTo>
                    <a:pt x="3026544" y="1230069"/>
                    <a:pt x="3375702" y="1353687"/>
                    <a:pt x="3712662" y="1489513"/>
                  </a:cubicBezTo>
                  <a:cubicBezTo>
                    <a:pt x="4455195" y="1788637"/>
                    <a:pt x="5202301" y="2113704"/>
                    <a:pt x="5925012" y="2428089"/>
                  </a:cubicBezTo>
                  <a:lnTo>
                    <a:pt x="5953461" y="2440341"/>
                  </a:lnTo>
                  <a:lnTo>
                    <a:pt x="5953461" y="2457299"/>
                  </a:lnTo>
                  <a:lnTo>
                    <a:pt x="5917389" y="2441825"/>
                  </a:lnTo>
                  <a:cubicBezTo>
                    <a:pt x="5196202" y="2127440"/>
                    <a:pt x="4449095" y="1802372"/>
                    <a:pt x="3706563" y="1503248"/>
                  </a:cubicBezTo>
                  <a:cubicBezTo>
                    <a:pt x="3369603" y="1367422"/>
                    <a:pt x="3021970" y="1243805"/>
                    <a:pt x="2685009" y="1124765"/>
                  </a:cubicBezTo>
                  <a:cubicBezTo>
                    <a:pt x="2273339" y="978256"/>
                    <a:pt x="1847945" y="825642"/>
                    <a:pt x="1439324" y="651662"/>
                  </a:cubicBezTo>
                  <a:cubicBezTo>
                    <a:pt x="955992" y="445633"/>
                    <a:pt x="474184" y="222817"/>
                    <a:pt x="0" y="0"/>
                  </a:cubicBezTo>
                  <a:close/>
                </a:path>
              </a:pathLst>
            </a:custGeom>
            <a:solidFill>
              <a:srgbClr val="C1C3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04" name="Freeform: Shape 103"/>
            <p:cNvSpPr>
              <a:spLocks/>
            </p:cNvSpPr>
            <p:nvPr userDrawn="1"/>
          </p:nvSpPr>
          <p:spPr bwMode="auto">
            <a:xfrm>
              <a:off x="6472236" y="1"/>
              <a:ext cx="5720965" cy="2253309"/>
            </a:xfrm>
            <a:custGeom>
              <a:avLst/>
              <a:gdLst>
                <a:gd name="connsiteX0" fmla="*/ 0 w 5720965"/>
                <a:gd name="connsiteY0" fmla="*/ 0 h 2253309"/>
                <a:gd name="connsiteX1" fmla="*/ 35073 w 5720965"/>
                <a:gd name="connsiteY1" fmla="*/ 0 h 2253309"/>
                <a:gd name="connsiteX2" fmla="*/ 1262628 w 5720965"/>
                <a:gd name="connsiteY2" fmla="*/ 585870 h 2253309"/>
                <a:gd name="connsiteX3" fmla="*/ 2485607 w 5720965"/>
                <a:gd name="connsiteY3" fmla="*/ 985604 h 2253309"/>
                <a:gd name="connsiteX4" fmla="*/ 3551521 w 5720965"/>
                <a:gd name="connsiteY4" fmla="*/ 1319733 h 2253309"/>
                <a:gd name="connsiteX5" fmla="*/ 4660895 w 5720965"/>
                <a:gd name="connsiteY5" fmla="*/ 1774583 h 2253309"/>
                <a:gd name="connsiteX6" fmla="*/ 5720965 w 5720965"/>
                <a:gd name="connsiteY6" fmla="*/ 2235408 h 2253309"/>
                <a:gd name="connsiteX7" fmla="*/ 5720965 w 5720965"/>
                <a:gd name="connsiteY7" fmla="*/ 2253309 h 2253309"/>
                <a:gd name="connsiteX8" fmla="*/ 4654223 w 5720965"/>
                <a:gd name="connsiteY8" fmla="*/ 1789268 h 2253309"/>
                <a:gd name="connsiteX9" fmla="*/ 3545421 w 5720965"/>
                <a:gd name="connsiteY9" fmla="*/ 1334990 h 2253309"/>
                <a:gd name="connsiteX10" fmla="*/ 2481032 w 5720965"/>
                <a:gd name="connsiteY10" fmla="*/ 1000861 h 2253309"/>
                <a:gd name="connsiteX11" fmla="*/ 1256528 w 5720965"/>
                <a:gd name="connsiteY11" fmla="*/ 601127 h 2253309"/>
                <a:gd name="connsiteX12" fmla="*/ 0 w 5720965"/>
                <a:gd name="connsiteY12" fmla="*/ 0 h 2253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20965" h="2253309">
                  <a:moveTo>
                    <a:pt x="0" y="0"/>
                  </a:moveTo>
                  <a:cubicBezTo>
                    <a:pt x="0" y="0"/>
                    <a:pt x="0" y="0"/>
                    <a:pt x="35073" y="0"/>
                  </a:cubicBezTo>
                  <a:cubicBezTo>
                    <a:pt x="437650" y="207496"/>
                    <a:pt x="847851" y="408888"/>
                    <a:pt x="1262628" y="585870"/>
                  </a:cubicBezTo>
                  <a:cubicBezTo>
                    <a:pt x="1659105" y="755223"/>
                    <a:pt x="2079980" y="872702"/>
                    <a:pt x="2485607" y="985604"/>
                  </a:cubicBezTo>
                  <a:cubicBezTo>
                    <a:pt x="2837862" y="1083249"/>
                    <a:pt x="3202316" y="1185471"/>
                    <a:pt x="3551521" y="1319733"/>
                  </a:cubicBezTo>
                  <a:cubicBezTo>
                    <a:pt x="3922075" y="1463912"/>
                    <a:pt x="4293010" y="1617626"/>
                    <a:pt x="4660895" y="1774583"/>
                  </a:cubicBezTo>
                  <a:lnTo>
                    <a:pt x="5720965" y="2235408"/>
                  </a:lnTo>
                  <a:lnTo>
                    <a:pt x="5720965" y="2253309"/>
                  </a:lnTo>
                  <a:lnTo>
                    <a:pt x="4654223" y="1789268"/>
                  </a:lnTo>
                  <a:cubicBezTo>
                    <a:pt x="4286529" y="1632502"/>
                    <a:pt x="3915975" y="1479169"/>
                    <a:pt x="3545421" y="1334990"/>
                  </a:cubicBezTo>
                  <a:cubicBezTo>
                    <a:pt x="3197741" y="1200728"/>
                    <a:pt x="2833287" y="1098506"/>
                    <a:pt x="2481032" y="1000861"/>
                  </a:cubicBezTo>
                  <a:cubicBezTo>
                    <a:pt x="2073881" y="886433"/>
                    <a:pt x="1654530" y="770480"/>
                    <a:pt x="1256528" y="601127"/>
                  </a:cubicBezTo>
                  <a:cubicBezTo>
                    <a:pt x="831077" y="419568"/>
                    <a:pt x="411727" y="212073"/>
                    <a:pt x="0" y="0"/>
                  </a:cubicBezTo>
                  <a:close/>
                </a:path>
              </a:pathLst>
            </a:custGeom>
            <a:solidFill>
              <a:srgbClr val="C0C2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00" name="Freeform: Shape 99"/>
            <p:cNvSpPr>
              <a:spLocks/>
            </p:cNvSpPr>
            <p:nvPr userDrawn="1"/>
          </p:nvSpPr>
          <p:spPr bwMode="auto">
            <a:xfrm>
              <a:off x="6687094" y="0"/>
              <a:ext cx="5506106" cy="2050042"/>
            </a:xfrm>
            <a:custGeom>
              <a:avLst/>
              <a:gdLst>
                <a:gd name="connsiteX0" fmla="*/ 0 w 5506106"/>
                <a:gd name="connsiteY0" fmla="*/ 0 h 2050042"/>
                <a:gd name="connsiteX1" fmla="*/ 33549 w 5506106"/>
                <a:gd name="connsiteY1" fmla="*/ 0 h 2050042"/>
                <a:gd name="connsiteX2" fmla="*/ 1088817 w 5506106"/>
                <a:gd name="connsiteY2" fmla="*/ 523538 h 2050042"/>
                <a:gd name="connsiteX3" fmla="*/ 2314880 w 5506106"/>
                <a:gd name="connsiteY3" fmla="*/ 863914 h 2050042"/>
                <a:gd name="connsiteX4" fmla="*/ 3406747 w 5506106"/>
                <a:gd name="connsiteY4" fmla="*/ 1150867 h 2050042"/>
                <a:gd name="connsiteX5" fmla="*/ 4514436 w 5506106"/>
                <a:gd name="connsiteY5" fmla="*/ 1599041 h 2050042"/>
                <a:gd name="connsiteX6" fmla="*/ 5506106 w 5506106"/>
                <a:gd name="connsiteY6" fmla="*/ 2033522 h 2050042"/>
                <a:gd name="connsiteX7" fmla="*/ 5506106 w 5506106"/>
                <a:gd name="connsiteY7" fmla="*/ 2050042 h 2050042"/>
                <a:gd name="connsiteX8" fmla="*/ 4508336 w 5506106"/>
                <a:gd name="connsiteY8" fmla="*/ 1614114 h 2050042"/>
                <a:gd name="connsiteX9" fmla="*/ 3400648 w 5506106"/>
                <a:gd name="connsiteY9" fmla="*/ 1166131 h 2050042"/>
                <a:gd name="connsiteX10" fmla="*/ 2311830 w 5506106"/>
                <a:gd name="connsiteY10" fmla="*/ 879177 h 2050042"/>
                <a:gd name="connsiteX11" fmla="*/ 1082718 w 5506106"/>
                <a:gd name="connsiteY11" fmla="*/ 537275 h 2050042"/>
                <a:gd name="connsiteX12" fmla="*/ 0 w 5506106"/>
                <a:gd name="connsiteY12" fmla="*/ 0 h 2050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506106" h="2050042">
                  <a:moveTo>
                    <a:pt x="0" y="0"/>
                  </a:moveTo>
                  <a:cubicBezTo>
                    <a:pt x="0" y="0"/>
                    <a:pt x="0" y="0"/>
                    <a:pt x="33549" y="0"/>
                  </a:cubicBezTo>
                  <a:cubicBezTo>
                    <a:pt x="378189" y="189267"/>
                    <a:pt x="728928" y="369377"/>
                    <a:pt x="1088817" y="523538"/>
                  </a:cubicBezTo>
                  <a:cubicBezTo>
                    <a:pt x="1485305" y="691436"/>
                    <a:pt x="1906193" y="778438"/>
                    <a:pt x="2314880" y="863914"/>
                  </a:cubicBezTo>
                  <a:cubicBezTo>
                    <a:pt x="2676294" y="938705"/>
                    <a:pt x="3051433" y="1016548"/>
                    <a:pt x="3406747" y="1150867"/>
                  </a:cubicBezTo>
                  <a:cubicBezTo>
                    <a:pt x="3777311" y="1290528"/>
                    <a:pt x="4147494" y="1442400"/>
                    <a:pt x="4514436" y="1599041"/>
                  </a:cubicBezTo>
                  <a:lnTo>
                    <a:pt x="5506106" y="2033522"/>
                  </a:lnTo>
                  <a:lnTo>
                    <a:pt x="5506106" y="2050042"/>
                  </a:lnTo>
                  <a:lnTo>
                    <a:pt x="4508336" y="1614114"/>
                  </a:lnTo>
                  <a:cubicBezTo>
                    <a:pt x="4141394" y="1457663"/>
                    <a:pt x="3771211" y="1305792"/>
                    <a:pt x="3400648" y="1166131"/>
                  </a:cubicBezTo>
                  <a:cubicBezTo>
                    <a:pt x="3046858" y="1033338"/>
                    <a:pt x="2673244" y="955494"/>
                    <a:pt x="2311830" y="879177"/>
                  </a:cubicBezTo>
                  <a:cubicBezTo>
                    <a:pt x="1903143" y="795228"/>
                    <a:pt x="1479206" y="706700"/>
                    <a:pt x="1082718" y="537275"/>
                  </a:cubicBezTo>
                  <a:cubicBezTo>
                    <a:pt x="713679" y="380061"/>
                    <a:pt x="352265" y="195373"/>
                    <a:pt x="0" y="0"/>
                  </a:cubicBezTo>
                  <a:close/>
                </a:path>
              </a:pathLst>
            </a:custGeom>
            <a:solidFill>
              <a:srgbClr val="C0C2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02" name="Freeform: Shape 101"/>
            <p:cNvSpPr>
              <a:spLocks/>
            </p:cNvSpPr>
            <p:nvPr userDrawn="1"/>
          </p:nvSpPr>
          <p:spPr bwMode="auto">
            <a:xfrm>
              <a:off x="7019004" y="0"/>
              <a:ext cx="5174196" cy="1848116"/>
            </a:xfrm>
            <a:custGeom>
              <a:avLst/>
              <a:gdLst>
                <a:gd name="connsiteX0" fmla="*/ 0 w 5174196"/>
                <a:gd name="connsiteY0" fmla="*/ 0 h 1848116"/>
                <a:gd name="connsiteX1" fmla="*/ 35068 w 5174196"/>
                <a:gd name="connsiteY1" fmla="*/ 0 h 1848116"/>
                <a:gd name="connsiteX2" fmla="*/ 817222 w 5174196"/>
                <a:gd name="connsiteY2" fmla="*/ 378424 h 1848116"/>
                <a:gd name="connsiteX3" fmla="*/ 2050677 w 5174196"/>
                <a:gd name="connsiteY3" fmla="*/ 708019 h 1848116"/>
                <a:gd name="connsiteX4" fmla="*/ 3146913 w 5174196"/>
                <a:gd name="connsiteY4" fmla="*/ 982682 h 1848116"/>
                <a:gd name="connsiteX5" fmla="*/ 4752602 w 5174196"/>
                <a:gd name="connsiteY5" fmla="*/ 1642730 h 1848116"/>
                <a:gd name="connsiteX6" fmla="*/ 5174196 w 5174196"/>
                <a:gd name="connsiteY6" fmla="*/ 1829780 h 1848116"/>
                <a:gd name="connsiteX7" fmla="*/ 5174196 w 5174196"/>
                <a:gd name="connsiteY7" fmla="*/ 1848116 h 1848116"/>
                <a:gd name="connsiteX8" fmla="*/ 4751244 w 5174196"/>
                <a:gd name="connsiteY8" fmla="*/ 1660564 h 1848116"/>
                <a:gd name="connsiteX9" fmla="*/ 3142339 w 5174196"/>
                <a:gd name="connsiteY9" fmla="*/ 997941 h 1848116"/>
                <a:gd name="connsiteX10" fmla="*/ 2047628 w 5174196"/>
                <a:gd name="connsiteY10" fmla="*/ 724804 h 1848116"/>
                <a:gd name="connsiteX11" fmla="*/ 811123 w 5174196"/>
                <a:gd name="connsiteY11" fmla="*/ 393683 h 1848116"/>
                <a:gd name="connsiteX12" fmla="*/ 0 w 5174196"/>
                <a:gd name="connsiteY12" fmla="*/ 0 h 1848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74196" h="1848116">
                  <a:moveTo>
                    <a:pt x="0" y="0"/>
                  </a:moveTo>
                  <a:cubicBezTo>
                    <a:pt x="0" y="0"/>
                    <a:pt x="0" y="0"/>
                    <a:pt x="35068" y="0"/>
                  </a:cubicBezTo>
                  <a:cubicBezTo>
                    <a:pt x="291212" y="135805"/>
                    <a:pt x="551930" y="265507"/>
                    <a:pt x="817222" y="378424"/>
                  </a:cubicBezTo>
                  <a:cubicBezTo>
                    <a:pt x="1215160" y="547799"/>
                    <a:pt x="1640542" y="628672"/>
                    <a:pt x="2050677" y="708019"/>
                  </a:cubicBezTo>
                  <a:cubicBezTo>
                    <a:pt x="2415073" y="778211"/>
                    <a:pt x="2791666" y="849928"/>
                    <a:pt x="3146913" y="982682"/>
                  </a:cubicBezTo>
                  <a:cubicBezTo>
                    <a:pt x="3686645" y="1182957"/>
                    <a:pt x="4224662" y="1410698"/>
                    <a:pt x="4752602" y="1642730"/>
                  </a:cubicBezTo>
                  <a:lnTo>
                    <a:pt x="5174196" y="1829780"/>
                  </a:lnTo>
                  <a:lnTo>
                    <a:pt x="5174196" y="1848116"/>
                  </a:lnTo>
                  <a:lnTo>
                    <a:pt x="4751244" y="1660564"/>
                  </a:lnTo>
                  <a:cubicBezTo>
                    <a:pt x="4221803" y="1427673"/>
                    <a:pt x="3682071" y="1198216"/>
                    <a:pt x="3142339" y="997941"/>
                  </a:cubicBezTo>
                  <a:cubicBezTo>
                    <a:pt x="2787092" y="865187"/>
                    <a:pt x="2410499" y="793470"/>
                    <a:pt x="2047628" y="724804"/>
                  </a:cubicBezTo>
                  <a:cubicBezTo>
                    <a:pt x="1635968" y="645457"/>
                    <a:pt x="1209061" y="563058"/>
                    <a:pt x="811123" y="393683"/>
                  </a:cubicBezTo>
                  <a:cubicBezTo>
                    <a:pt x="535158" y="276189"/>
                    <a:pt x="265292" y="141909"/>
                    <a:pt x="0" y="0"/>
                  </a:cubicBezTo>
                  <a:close/>
                </a:path>
              </a:pathLst>
            </a:custGeom>
            <a:solidFill>
              <a:srgbClr val="BFC1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98" name="Freeform: Shape 97"/>
            <p:cNvSpPr>
              <a:spLocks/>
            </p:cNvSpPr>
            <p:nvPr userDrawn="1"/>
          </p:nvSpPr>
          <p:spPr bwMode="auto">
            <a:xfrm>
              <a:off x="7431084" y="1"/>
              <a:ext cx="4762117" cy="1646199"/>
            </a:xfrm>
            <a:custGeom>
              <a:avLst/>
              <a:gdLst>
                <a:gd name="connsiteX0" fmla="*/ 0 w 4762117"/>
                <a:gd name="connsiteY0" fmla="*/ 0 h 1646199"/>
                <a:gd name="connsiteX1" fmla="*/ 38126 w 4762117"/>
                <a:gd name="connsiteY1" fmla="*/ 0 h 1646199"/>
                <a:gd name="connsiteX2" fmla="*/ 465129 w 4762117"/>
                <a:gd name="connsiteY2" fmla="*/ 195245 h 1646199"/>
                <a:gd name="connsiteX3" fmla="*/ 1711065 w 4762117"/>
                <a:gd name="connsiteY3" fmla="*/ 533873 h 1646199"/>
                <a:gd name="connsiteX4" fmla="*/ 2807549 w 4762117"/>
                <a:gd name="connsiteY4" fmla="*/ 813012 h 1646199"/>
                <a:gd name="connsiteX5" fmla="*/ 4357844 w 4762117"/>
                <a:gd name="connsiteY5" fmla="*/ 1449012 h 1646199"/>
                <a:gd name="connsiteX6" fmla="*/ 4762117 w 4762117"/>
                <a:gd name="connsiteY6" fmla="*/ 1627882 h 1646199"/>
                <a:gd name="connsiteX7" fmla="*/ 4762117 w 4762117"/>
                <a:gd name="connsiteY7" fmla="*/ 1646199 h 1646199"/>
                <a:gd name="connsiteX8" fmla="*/ 4356677 w 4762117"/>
                <a:gd name="connsiteY8" fmla="*/ 1466863 h 1646199"/>
                <a:gd name="connsiteX9" fmla="*/ 2801449 w 4762117"/>
                <a:gd name="connsiteY9" fmla="*/ 829791 h 1646199"/>
                <a:gd name="connsiteX10" fmla="*/ 1706490 w 4762117"/>
                <a:gd name="connsiteY10" fmla="*/ 550652 h 1646199"/>
                <a:gd name="connsiteX11" fmla="*/ 457504 w 4762117"/>
                <a:gd name="connsiteY11" fmla="*/ 210499 h 1646199"/>
                <a:gd name="connsiteX12" fmla="*/ 0 w 4762117"/>
                <a:gd name="connsiteY12" fmla="*/ 0 h 1646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762117" h="1646199">
                  <a:moveTo>
                    <a:pt x="0" y="0"/>
                  </a:moveTo>
                  <a:cubicBezTo>
                    <a:pt x="0" y="0"/>
                    <a:pt x="0" y="0"/>
                    <a:pt x="38126" y="0"/>
                  </a:cubicBezTo>
                  <a:cubicBezTo>
                    <a:pt x="178427" y="68641"/>
                    <a:pt x="320253" y="134231"/>
                    <a:pt x="465129" y="195245"/>
                  </a:cubicBezTo>
                  <a:cubicBezTo>
                    <a:pt x="866208" y="366084"/>
                    <a:pt x="1294736" y="451504"/>
                    <a:pt x="1711065" y="533873"/>
                  </a:cubicBezTo>
                  <a:cubicBezTo>
                    <a:pt x="2074018" y="607090"/>
                    <a:pt x="2450696" y="681832"/>
                    <a:pt x="2807549" y="813012"/>
                  </a:cubicBezTo>
                  <a:cubicBezTo>
                    <a:pt x="3327960" y="1006350"/>
                    <a:pt x="3847513" y="1225429"/>
                    <a:pt x="4357844" y="1449012"/>
                  </a:cubicBezTo>
                  <a:lnTo>
                    <a:pt x="4762117" y="1627882"/>
                  </a:lnTo>
                  <a:lnTo>
                    <a:pt x="4762117" y="1646199"/>
                  </a:lnTo>
                  <a:lnTo>
                    <a:pt x="4356677" y="1466863"/>
                  </a:lnTo>
                  <a:cubicBezTo>
                    <a:pt x="3845130" y="1242494"/>
                    <a:pt x="3324147" y="1021985"/>
                    <a:pt x="2801449" y="829791"/>
                  </a:cubicBezTo>
                  <a:cubicBezTo>
                    <a:pt x="2446121" y="697085"/>
                    <a:pt x="2070968" y="622343"/>
                    <a:pt x="1706490" y="550652"/>
                  </a:cubicBezTo>
                  <a:cubicBezTo>
                    <a:pt x="1290161" y="468283"/>
                    <a:pt x="860108" y="381338"/>
                    <a:pt x="457504" y="210499"/>
                  </a:cubicBezTo>
                  <a:cubicBezTo>
                    <a:pt x="303478" y="144908"/>
                    <a:pt x="150977" y="74742"/>
                    <a:pt x="0" y="0"/>
                  </a:cubicBezTo>
                  <a:close/>
                </a:path>
              </a:pathLst>
            </a:custGeom>
            <a:solidFill>
              <a:srgbClr val="BFC1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96" name="Freeform: Shape 95"/>
            <p:cNvSpPr>
              <a:spLocks/>
            </p:cNvSpPr>
            <p:nvPr userDrawn="1"/>
          </p:nvSpPr>
          <p:spPr bwMode="auto">
            <a:xfrm>
              <a:off x="7897682" y="0"/>
              <a:ext cx="4295519" cy="1446479"/>
            </a:xfrm>
            <a:custGeom>
              <a:avLst/>
              <a:gdLst>
                <a:gd name="connsiteX0" fmla="*/ 0 w 4295519"/>
                <a:gd name="connsiteY0" fmla="*/ 0 h 1446479"/>
                <a:gd name="connsiteX1" fmla="*/ 42701 w 4295519"/>
                <a:gd name="connsiteY1" fmla="*/ 0 h 1446479"/>
                <a:gd name="connsiteX2" fmla="*/ 50326 w 4295519"/>
                <a:gd name="connsiteY2" fmla="*/ 3053 h 1446479"/>
                <a:gd name="connsiteX3" fmla="*/ 1310004 w 4295519"/>
                <a:gd name="connsiteY3" fmla="*/ 355626 h 1446479"/>
                <a:gd name="connsiteX4" fmla="*/ 2414128 w 4295519"/>
                <a:gd name="connsiteY4" fmla="*/ 645621 h 1446479"/>
                <a:gd name="connsiteX5" fmla="*/ 3908684 w 4295519"/>
                <a:gd name="connsiteY5" fmla="*/ 1256685 h 1446479"/>
                <a:gd name="connsiteX6" fmla="*/ 4295519 w 4295519"/>
                <a:gd name="connsiteY6" fmla="*/ 1427524 h 1446479"/>
                <a:gd name="connsiteX7" fmla="*/ 4295519 w 4295519"/>
                <a:gd name="connsiteY7" fmla="*/ 1446479 h 1446479"/>
                <a:gd name="connsiteX8" fmla="*/ 3410546 w 4295519"/>
                <a:gd name="connsiteY8" fmla="*/ 1061153 h 1446479"/>
                <a:gd name="connsiteX9" fmla="*/ 2408027 w 4295519"/>
                <a:gd name="connsiteY9" fmla="*/ 660884 h 1446479"/>
                <a:gd name="connsiteX10" fmla="*/ 1306953 w 4295519"/>
                <a:gd name="connsiteY10" fmla="*/ 372415 h 1446479"/>
                <a:gd name="connsiteX11" fmla="*/ 44226 w 4295519"/>
                <a:gd name="connsiteY11" fmla="*/ 18316 h 1446479"/>
                <a:gd name="connsiteX12" fmla="*/ 0 w 4295519"/>
                <a:gd name="connsiteY12" fmla="*/ 0 h 1446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95519" h="1446479">
                  <a:moveTo>
                    <a:pt x="0" y="0"/>
                  </a:moveTo>
                  <a:cubicBezTo>
                    <a:pt x="0" y="0"/>
                    <a:pt x="0" y="0"/>
                    <a:pt x="42701" y="0"/>
                  </a:cubicBezTo>
                  <a:cubicBezTo>
                    <a:pt x="45751" y="1526"/>
                    <a:pt x="47276" y="1526"/>
                    <a:pt x="50326" y="3053"/>
                  </a:cubicBezTo>
                  <a:cubicBezTo>
                    <a:pt x="455985" y="175523"/>
                    <a:pt x="890619" y="267101"/>
                    <a:pt x="1310004" y="355626"/>
                  </a:cubicBezTo>
                  <a:cubicBezTo>
                    <a:pt x="1676012" y="431940"/>
                    <a:pt x="2055745" y="512833"/>
                    <a:pt x="2414128" y="645621"/>
                  </a:cubicBezTo>
                  <a:cubicBezTo>
                    <a:pt x="2915101" y="831065"/>
                    <a:pt x="3416075" y="1041407"/>
                    <a:pt x="3908684" y="1256685"/>
                  </a:cubicBezTo>
                  <a:lnTo>
                    <a:pt x="4295519" y="1427524"/>
                  </a:lnTo>
                  <a:lnTo>
                    <a:pt x="4295519" y="1446479"/>
                  </a:lnTo>
                  <a:lnTo>
                    <a:pt x="3410546" y="1061153"/>
                  </a:lnTo>
                  <a:cubicBezTo>
                    <a:pt x="3078280" y="920734"/>
                    <a:pt x="2743535" y="785276"/>
                    <a:pt x="2408027" y="660884"/>
                  </a:cubicBezTo>
                  <a:cubicBezTo>
                    <a:pt x="2049645" y="528096"/>
                    <a:pt x="1672961" y="448729"/>
                    <a:pt x="1306953" y="372415"/>
                  </a:cubicBezTo>
                  <a:cubicBezTo>
                    <a:pt x="886044" y="283890"/>
                    <a:pt x="451410" y="192313"/>
                    <a:pt x="44226" y="18316"/>
                  </a:cubicBezTo>
                  <a:cubicBezTo>
                    <a:pt x="28976" y="12210"/>
                    <a:pt x="15251" y="6105"/>
                    <a:pt x="0" y="0"/>
                  </a:cubicBezTo>
                  <a:close/>
                </a:path>
              </a:pathLst>
            </a:custGeom>
            <a:solidFill>
              <a:srgbClr val="BEC0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94" name="Freeform: Shape 93"/>
            <p:cNvSpPr>
              <a:spLocks/>
            </p:cNvSpPr>
            <p:nvPr userDrawn="1"/>
          </p:nvSpPr>
          <p:spPr bwMode="auto">
            <a:xfrm>
              <a:off x="8503776" y="1"/>
              <a:ext cx="3689425" cy="1246175"/>
            </a:xfrm>
            <a:custGeom>
              <a:avLst/>
              <a:gdLst>
                <a:gd name="connsiteX0" fmla="*/ 0 w 3689425"/>
                <a:gd name="connsiteY0" fmla="*/ 0 h 1246175"/>
                <a:gd name="connsiteX1" fmla="*/ 62516 w 3689425"/>
                <a:gd name="connsiteY1" fmla="*/ 0 h 1246175"/>
                <a:gd name="connsiteX2" fmla="*/ 766959 w 3689425"/>
                <a:gd name="connsiteY2" fmla="*/ 172406 h 1246175"/>
                <a:gd name="connsiteX3" fmla="*/ 1880040 w 3689425"/>
                <a:gd name="connsiteY3" fmla="*/ 476024 h 1246175"/>
                <a:gd name="connsiteX4" fmla="*/ 2842931 w 3689425"/>
                <a:gd name="connsiteY4" fmla="*/ 859933 h 1246175"/>
                <a:gd name="connsiteX5" fmla="*/ 3689425 w 3689425"/>
                <a:gd name="connsiteY5" fmla="*/ 1227826 h 1246175"/>
                <a:gd name="connsiteX6" fmla="*/ 3689425 w 3689425"/>
                <a:gd name="connsiteY6" fmla="*/ 1246175 h 1246175"/>
                <a:gd name="connsiteX7" fmla="*/ 2839882 w 3689425"/>
                <a:gd name="connsiteY7" fmla="*/ 877288 h 1246175"/>
                <a:gd name="connsiteX8" fmla="*/ 1873941 w 3689425"/>
                <a:gd name="connsiteY8" fmla="*/ 491282 h 1246175"/>
                <a:gd name="connsiteX9" fmla="*/ 763909 w 3689425"/>
                <a:gd name="connsiteY9" fmla="*/ 189189 h 1246175"/>
                <a:gd name="connsiteX10" fmla="*/ 0 w 3689425"/>
                <a:gd name="connsiteY10" fmla="*/ 0 h 1246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689425" h="1246175">
                  <a:moveTo>
                    <a:pt x="0" y="0"/>
                  </a:moveTo>
                  <a:cubicBezTo>
                    <a:pt x="0" y="0"/>
                    <a:pt x="0" y="0"/>
                    <a:pt x="62516" y="0"/>
                  </a:cubicBezTo>
                  <a:cubicBezTo>
                    <a:pt x="297330" y="65606"/>
                    <a:pt x="533669" y="119006"/>
                    <a:pt x="766959" y="172406"/>
                  </a:cubicBezTo>
                  <a:cubicBezTo>
                    <a:pt x="1135953" y="254795"/>
                    <a:pt x="1518670" y="340235"/>
                    <a:pt x="1880040" y="476024"/>
                  </a:cubicBezTo>
                  <a:cubicBezTo>
                    <a:pt x="2201766" y="595793"/>
                    <a:pt x="2523492" y="725479"/>
                    <a:pt x="2842931" y="859933"/>
                  </a:cubicBezTo>
                  <a:lnTo>
                    <a:pt x="3689425" y="1227826"/>
                  </a:lnTo>
                  <a:lnTo>
                    <a:pt x="3689425" y="1246175"/>
                  </a:lnTo>
                  <a:lnTo>
                    <a:pt x="2839882" y="877288"/>
                  </a:lnTo>
                  <a:cubicBezTo>
                    <a:pt x="2519681" y="742262"/>
                    <a:pt x="2197192" y="611813"/>
                    <a:pt x="1873941" y="491282"/>
                  </a:cubicBezTo>
                  <a:cubicBezTo>
                    <a:pt x="1512571" y="357018"/>
                    <a:pt x="1131379" y="271578"/>
                    <a:pt x="763909" y="189189"/>
                  </a:cubicBezTo>
                  <a:cubicBezTo>
                    <a:pt x="510798" y="131212"/>
                    <a:pt x="253112" y="73235"/>
                    <a:pt x="0" y="0"/>
                  </a:cubicBezTo>
                  <a:close/>
                </a:path>
              </a:pathLst>
            </a:custGeom>
            <a:solidFill>
              <a:srgbClr val="BEC0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92" name="Freeform: Shape 91"/>
            <p:cNvSpPr>
              <a:spLocks/>
            </p:cNvSpPr>
            <p:nvPr userDrawn="1"/>
          </p:nvSpPr>
          <p:spPr bwMode="auto">
            <a:xfrm>
              <a:off x="9318316" y="0"/>
              <a:ext cx="2874885" cy="1047517"/>
            </a:xfrm>
            <a:custGeom>
              <a:avLst/>
              <a:gdLst>
                <a:gd name="connsiteX0" fmla="*/ 0 w 2874885"/>
                <a:gd name="connsiteY0" fmla="*/ 0 h 1047517"/>
                <a:gd name="connsiteX1" fmla="*/ 74706 w 2874885"/>
                <a:gd name="connsiteY1" fmla="*/ 0 h 1047517"/>
                <a:gd name="connsiteX2" fmla="*/ 1137358 w 2874885"/>
                <a:gd name="connsiteY2" fmla="*/ 306963 h 1047517"/>
                <a:gd name="connsiteX3" fmla="*/ 2063176 w 2874885"/>
                <a:gd name="connsiteY3" fmla="*/ 677113 h 1047517"/>
                <a:gd name="connsiteX4" fmla="*/ 2874885 w 2874885"/>
                <a:gd name="connsiteY4" fmla="*/ 1029085 h 1047517"/>
                <a:gd name="connsiteX5" fmla="*/ 2874885 w 2874885"/>
                <a:gd name="connsiteY5" fmla="*/ 1047517 h 1047517"/>
                <a:gd name="connsiteX6" fmla="*/ 2060127 w 2874885"/>
                <a:gd name="connsiteY6" fmla="*/ 695057 h 1047517"/>
                <a:gd name="connsiteX7" fmla="*/ 1131259 w 2874885"/>
                <a:gd name="connsiteY7" fmla="*/ 322235 h 1047517"/>
                <a:gd name="connsiteX8" fmla="*/ 7623 w 2874885"/>
                <a:gd name="connsiteY8" fmla="*/ 1527 h 1047517"/>
                <a:gd name="connsiteX9" fmla="*/ 0 w 2874885"/>
                <a:gd name="connsiteY9" fmla="*/ 0 h 1047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74885" h="1047517">
                  <a:moveTo>
                    <a:pt x="0" y="0"/>
                  </a:moveTo>
                  <a:cubicBezTo>
                    <a:pt x="0" y="0"/>
                    <a:pt x="0" y="0"/>
                    <a:pt x="74706" y="0"/>
                  </a:cubicBezTo>
                  <a:cubicBezTo>
                    <a:pt x="428415" y="85522"/>
                    <a:pt x="791272" y="175626"/>
                    <a:pt x="1137358" y="306963"/>
                  </a:cubicBezTo>
                  <a:cubicBezTo>
                    <a:pt x="1446854" y="423029"/>
                    <a:pt x="1755968" y="547876"/>
                    <a:pt x="2063176" y="677113"/>
                  </a:cubicBezTo>
                  <a:lnTo>
                    <a:pt x="2874885" y="1029085"/>
                  </a:lnTo>
                  <a:lnTo>
                    <a:pt x="2874885" y="1047517"/>
                  </a:lnTo>
                  <a:lnTo>
                    <a:pt x="2060127" y="695057"/>
                  </a:lnTo>
                  <a:cubicBezTo>
                    <a:pt x="1751775" y="565438"/>
                    <a:pt x="1441517" y="439828"/>
                    <a:pt x="1131259" y="322235"/>
                  </a:cubicBezTo>
                  <a:cubicBezTo>
                    <a:pt x="765353" y="184789"/>
                    <a:pt x="379627" y="91631"/>
                    <a:pt x="7623" y="1527"/>
                  </a:cubicBezTo>
                  <a:cubicBezTo>
                    <a:pt x="4574" y="1527"/>
                    <a:pt x="3049" y="0"/>
                    <a:pt x="0" y="0"/>
                  </a:cubicBezTo>
                  <a:close/>
                </a:path>
              </a:pathLst>
            </a:custGeom>
            <a:solidFill>
              <a:srgbClr val="BDBF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88" name="Freeform: Shape 87"/>
            <p:cNvSpPr>
              <a:spLocks/>
            </p:cNvSpPr>
            <p:nvPr userDrawn="1"/>
          </p:nvSpPr>
          <p:spPr bwMode="auto">
            <a:xfrm>
              <a:off x="10070322" y="1"/>
              <a:ext cx="2122879" cy="848745"/>
            </a:xfrm>
            <a:custGeom>
              <a:avLst/>
              <a:gdLst>
                <a:gd name="connsiteX0" fmla="*/ 0 w 2122879"/>
                <a:gd name="connsiteY0" fmla="*/ 0 h 848745"/>
                <a:gd name="connsiteX1" fmla="*/ 59450 w 2122879"/>
                <a:gd name="connsiteY1" fmla="*/ 0 h 848745"/>
                <a:gd name="connsiteX2" fmla="*/ 457306 w 2122879"/>
                <a:gd name="connsiteY2" fmla="*/ 135875 h 848745"/>
                <a:gd name="connsiteX3" fmla="*/ 1346575 w 2122879"/>
                <a:gd name="connsiteY3" fmla="*/ 494263 h 848745"/>
                <a:gd name="connsiteX4" fmla="*/ 2122879 w 2122879"/>
                <a:gd name="connsiteY4" fmla="*/ 828990 h 848745"/>
                <a:gd name="connsiteX5" fmla="*/ 2122879 w 2122879"/>
                <a:gd name="connsiteY5" fmla="*/ 848745 h 848745"/>
                <a:gd name="connsiteX6" fmla="*/ 1343526 w 2122879"/>
                <a:gd name="connsiteY6" fmla="*/ 512010 h 848745"/>
                <a:gd name="connsiteX7" fmla="*/ 451208 w 2122879"/>
                <a:gd name="connsiteY7" fmla="*/ 152668 h 848745"/>
                <a:gd name="connsiteX8" fmla="*/ 0 w 2122879"/>
                <a:gd name="connsiteY8" fmla="*/ 0 h 848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22879" h="848745">
                  <a:moveTo>
                    <a:pt x="0" y="0"/>
                  </a:moveTo>
                  <a:cubicBezTo>
                    <a:pt x="0" y="0"/>
                    <a:pt x="0" y="0"/>
                    <a:pt x="59450" y="0"/>
                  </a:cubicBezTo>
                  <a:cubicBezTo>
                    <a:pt x="193593" y="41220"/>
                    <a:pt x="327736" y="85494"/>
                    <a:pt x="457306" y="135875"/>
                  </a:cubicBezTo>
                  <a:cubicBezTo>
                    <a:pt x="754555" y="249612"/>
                    <a:pt x="1051422" y="370220"/>
                    <a:pt x="1346575" y="494263"/>
                  </a:cubicBezTo>
                  <a:lnTo>
                    <a:pt x="2122879" y="828990"/>
                  </a:lnTo>
                  <a:lnTo>
                    <a:pt x="2122879" y="848745"/>
                  </a:lnTo>
                  <a:lnTo>
                    <a:pt x="1343526" y="512010"/>
                  </a:lnTo>
                  <a:cubicBezTo>
                    <a:pt x="1047230" y="387395"/>
                    <a:pt x="749219" y="266406"/>
                    <a:pt x="451208" y="152668"/>
                  </a:cubicBezTo>
                  <a:cubicBezTo>
                    <a:pt x="303346" y="96181"/>
                    <a:pt x="152435" y="45800"/>
                    <a:pt x="0" y="0"/>
                  </a:cubicBezTo>
                  <a:close/>
                </a:path>
              </a:pathLst>
            </a:custGeom>
            <a:solidFill>
              <a:srgbClr val="BDBF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90" name="Freeform: Shape 89"/>
            <p:cNvSpPr>
              <a:spLocks/>
            </p:cNvSpPr>
            <p:nvPr userDrawn="1"/>
          </p:nvSpPr>
          <p:spPr bwMode="auto">
            <a:xfrm>
              <a:off x="10636331" y="0"/>
              <a:ext cx="1556869" cy="650052"/>
            </a:xfrm>
            <a:custGeom>
              <a:avLst/>
              <a:gdLst>
                <a:gd name="connsiteX0" fmla="*/ 0 w 1556869"/>
                <a:gd name="connsiteY0" fmla="*/ 0 h 650052"/>
                <a:gd name="connsiteX1" fmla="*/ 48810 w 1556869"/>
                <a:gd name="connsiteY1" fmla="*/ 0 h 650052"/>
                <a:gd name="connsiteX2" fmla="*/ 858181 w 1556869"/>
                <a:gd name="connsiteY2" fmla="*/ 329785 h 650052"/>
                <a:gd name="connsiteX3" fmla="*/ 1556869 w 1556869"/>
                <a:gd name="connsiteY3" fmla="*/ 630286 h 650052"/>
                <a:gd name="connsiteX4" fmla="*/ 1556869 w 1556869"/>
                <a:gd name="connsiteY4" fmla="*/ 650052 h 650052"/>
                <a:gd name="connsiteX5" fmla="*/ 833776 w 1556869"/>
                <a:gd name="connsiteY5" fmla="*/ 338558 h 650052"/>
                <a:gd name="connsiteX6" fmla="*/ 0 w 1556869"/>
                <a:gd name="connsiteY6" fmla="*/ 0 h 650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56869" h="650052">
                  <a:moveTo>
                    <a:pt x="0" y="0"/>
                  </a:moveTo>
                  <a:cubicBezTo>
                    <a:pt x="0" y="0"/>
                    <a:pt x="0" y="0"/>
                    <a:pt x="48810" y="0"/>
                  </a:cubicBezTo>
                  <a:cubicBezTo>
                    <a:pt x="318791" y="106050"/>
                    <a:pt x="589154" y="216677"/>
                    <a:pt x="858181" y="329785"/>
                  </a:cubicBezTo>
                  <a:lnTo>
                    <a:pt x="1556869" y="630286"/>
                  </a:lnTo>
                  <a:lnTo>
                    <a:pt x="1556869" y="650052"/>
                  </a:lnTo>
                  <a:lnTo>
                    <a:pt x="833776" y="338558"/>
                  </a:lnTo>
                  <a:cubicBezTo>
                    <a:pt x="556741" y="222018"/>
                    <a:pt x="278371" y="108339"/>
                    <a:pt x="0" y="0"/>
                  </a:cubicBezTo>
                  <a:close/>
                </a:path>
              </a:pathLst>
            </a:custGeom>
            <a:solidFill>
              <a:srgbClr val="BCBE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86" name="Freeform: Shape 85"/>
            <p:cNvSpPr>
              <a:spLocks/>
            </p:cNvSpPr>
            <p:nvPr userDrawn="1"/>
          </p:nvSpPr>
          <p:spPr bwMode="auto">
            <a:xfrm>
              <a:off x="11128582" y="1"/>
              <a:ext cx="1064618" cy="451877"/>
            </a:xfrm>
            <a:custGeom>
              <a:avLst/>
              <a:gdLst>
                <a:gd name="connsiteX0" fmla="*/ 0 w 1064618"/>
                <a:gd name="connsiteY0" fmla="*/ 0 h 451877"/>
                <a:gd name="connsiteX1" fmla="*/ 47302 w 1064618"/>
                <a:gd name="connsiteY1" fmla="*/ 0 h 451877"/>
                <a:gd name="connsiteX2" fmla="*/ 609587 w 1064618"/>
                <a:gd name="connsiteY2" fmla="*/ 234961 h 451877"/>
                <a:gd name="connsiteX3" fmla="*/ 1064618 w 1064618"/>
                <a:gd name="connsiteY3" fmla="*/ 431330 h 451877"/>
                <a:gd name="connsiteX4" fmla="*/ 1064618 w 1064618"/>
                <a:gd name="connsiteY4" fmla="*/ 451877 h 451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4618" h="451877">
                  <a:moveTo>
                    <a:pt x="0" y="0"/>
                  </a:moveTo>
                  <a:cubicBezTo>
                    <a:pt x="0" y="0"/>
                    <a:pt x="0" y="0"/>
                    <a:pt x="47302" y="0"/>
                  </a:cubicBezTo>
                  <a:cubicBezTo>
                    <a:pt x="234985" y="76987"/>
                    <a:pt x="422667" y="155498"/>
                    <a:pt x="609587" y="234961"/>
                  </a:cubicBezTo>
                  <a:lnTo>
                    <a:pt x="1064618" y="431330"/>
                  </a:lnTo>
                  <a:lnTo>
                    <a:pt x="1064618" y="451877"/>
                  </a:lnTo>
                  <a:close/>
                </a:path>
              </a:pathLst>
            </a:custGeom>
            <a:solidFill>
              <a:srgbClr val="BCBE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81" name="Freeform: Shape 80"/>
            <p:cNvSpPr>
              <a:spLocks/>
            </p:cNvSpPr>
            <p:nvPr userDrawn="1"/>
          </p:nvSpPr>
          <p:spPr bwMode="auto">
            <a:xfrm>
              <a:off x="11599989" y="0"/>
              <a:ext cx="593211" cy="254233"/>
            </a:xfrm>
            <a:custGeom>
              <a:avLst/>
              <a:gdLst>
                <a:gd name="connsiteX0" fmla="*/ 0 w 593211"/>
                <a:gd name="connsiteY0" fmla="*/ 0 h 254233"/>
                <a:gd name="connsiteX1" fmla="*/ 47308 w 593211"/>
                <a:gd name="connsiteY1" fmla="*/ 0 h 254233"/>
                <a:gd name="connsiteX2" fmla="*/ 593211 w 593211"/>
                <a:gd name="connsiteY2" fmla="*/ 234288 h 254233"/>
                <a:gd name="connsiteX3" fmla="*/ 593211 w 593211"/>
                <a:gd name="connsiteY3" fmla="*/ 254233 h 254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3211" h="254233">
                  <a:moveTo>
                    <a:pt x="0" y="0"/>
                  </a:moveTo>
                  <a:cubicBezTo>
                    <a:pt x="0" y="0"/>
                    <a:pt x="0" y="0"/>
                    <a:pt x="47308" y="0"/>
                  </a:cubicBezTo>
                  <a:lnTo>
                    <a:pt x="593211" y="234288"/>
                  </a:lnTo>
                  <a:lnTo>
                    <a:pt x="593211" y="254233"/>
                  </a:lnTo>
                  <a:close/>
                </a:path>
              </a:pathLst>
            </a:custGeom>
            <a:solidFill>
              <a:srgbClr val="BBBD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83" name="Freeform: Shape 82"/>
            <p:cNvSpPr>
              <a:spLocks/>
            </p:cNvSpPr>
            <p:nvPr userDrawn="1"/>
          </p:nvSpPr>
          <p:spPr bwMode="auto">
            <a:xfrm>
              <a:off x="12063380" y="0"/>
              <a:ext cx="129821" cy="55510"/>
            </a:xfrm>
            <a:custGeom>
              <a:avLst/>
              <a:gdLst>
                <a:gd name="connsiteX0" fmla="*/ 0 w 129821"/>
                <a:gd name="connsiteY0" fmla="*/ 0 h 55510"/>
                <a:gd name="connsiteX1" fmla="*/ 47417 w 129821"/>
                <a:gd name="connsiteY1" fmla="*/ 0 h 55510"/>
                <a:gd name="connsiteX2" fmla="*/ 129821 w 129821"/>
                <a:gd name="connsiteY2" fmla="*/ 35410 h 55510"/>
                <a:gd name="connsiteX3" fmla="*/ 129821 w 129821"/>
                <a:gd name="connsiteY3" fmla="*/ 55510 h 55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9821" h="55510">
                  <a:moveTo>
                    <a:pt x="0" y="0"/>
                  </a:moveTo>
                  <a:cubicBezTo>
                    <a:pt x="0" y="0"/>
                    <a:pt x="0" y="0"/>
                    <a:pt x="47417" y="0"/>
                  </a:cubicBezTo>
                  <a:lnTo>
                    <a:pt x="129821" y="35410"/>
                  </a:lnTo>
                  <a:lnTo>
                    <a:pt x="129821" y="55510"/>
                  </a:lnTo>
                  <a:close/>
                </a:path>
              </a:pathLst>
            </a:custGeom>
            <a:solidFill>
              <a:srgbClr val="BBBD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30" name="Freeform 19"/>
            <p:cNvSpPr>
              <a:spLocks/>
            </p:cNvSpPr>
            <p:nvPr userDrawn="1"/>
          </p:nvSpPr>
          <p:spPr bwMode="auto">
            <a:xfrm>
              <a:off x="-792" y="6070568"/>
              <a:ext cx="218066" cy="91396"/>
            </a:xfrm>
            <a:custGeom>
              <a:avLst/>
              <a:gdLst>
                <a:gd name="T0" fmla="*/ 0 w 143"/>
                <a:gd name="T1" fmla="*/ 0 h 60"/>
                <a:gd name="T2" fmla="*/ 0 w 143"/>
                <a:gd name="T3" fmla="*/ 2 h 60"/>
                <a:gd name="T4" fmla="*/ 138 w 143"/>
                <a:gd name="T5" fmla="*/ 60 h 60"/>
                <a:gd name="T6" fmla="*/ 143 w 143"/>
                <a:gd name="T7" fmla="*/ 59 h 60"/>
                <a:gd name="T8" fmla="*/ 0 w 143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60">
                  <a:moveTo>
                    <a:pt x="0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46" y="22"/>
                    <a:pt x="92" y="41"/>
                    <a:pt x="138" y="60"/>
                  </a:cubicBezTo>
                  <a:cubicBezTo>
                    <a:pt x="143" y="59"/>
                    <a:pt x="143" y="59"/>
                    <a:pt x="143" y="59"/>
                  </a:cubicBezTo>
                  <a:cubicBezTo>
                    <a:pt x="95" y="40"/>
                    <a:pt x="48" y="20"/>
                    <a:pt x="0" y="0"/>
                  </a:cubicBezTo>
                  <a:close/>
                </a:path>
              </a:pathLst>
            </a:custGeom>
            <a:solidFill>
              <a:srgbClr val="D6D8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1" name="Freeform 20"/>
            <p:cNvSpPr>
              <a:spLocks/>
            </p:cNvSpPr>
            <p:nvPr userDrawn="1"/>
          </p:nvSpPr>
          <p:spPr bwMode="auto">
            <a:xfrm>
              <a:off x="-792" y="5838072"/>
              <a:ext cx="582044" cy="259755"/>
            </a:xfrm>
            <a:custGeom>
              <a:avLst/>
              <a:gdLst>
                <a:gd name="T0" fmla="*/ 77 w 381"/>
                <a:gd name="T1" fmla="*/ 35 h 170"/>
                <a:gd name="T2" fmla="*/ 0 w 381"/>
                <a:gd name="T3" fmla="*/ 0 h 170"/>
                <a:gd name="T4" fmla="*/ 0 w 381"/>
                <a:gd name="T5" fmla="*/ 3 h 170"/>
                <a:gd name="T6" fmla="*/ 75 w 381"/>
                <a:gd name="T7" fmla="*/ 37 h 170"/>
                <a:gd name="T8" fmla="*/ 376 w 381"/>
                <a:gd name="T9" fmla="*/ 170 h 170"/>
                <a:gd name="T10" fmla="*/ 381 w 381"/>
                <a:gd name="T11" fmla="*/ 170 h 170"/>
                <a:gd name="T12" fmla="*/ 77 w 381"/>
                <a:gd name="T13" fmla="*/ 35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1" h="170">
                  <a:moveTo>
                    <a:pt x="77" y="35"/>
                  </a:moveTo>
                  <a:cubicBezTo>
                    <a:pt x="51" y="23"/>
                    <a:pt x="26" y="12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6" y="14"/>
                    <a:pt x="51" y="26"/>
                    <a:pt x="75" y="37"/>
                  </a:cubicBezTo>
                  <a:cubicBezTo>
                    <a:pt x="174" y="82"/>
                    <a:pt x="274" y="127"/>
                    <a:pt x="376" y="170"/>
                  </a:cubicBezTo>
                  <a:cubicBezTo>
                    <a:pt x="381" y="170"/>
                    <a:pt x="381" y="170"/>
                    <a:pt x="381" y="170"/>
                  </a:cubicBezTo>
                  <a:cubicBezTo>
                    <a:pt x="278" y="126"/>
                    <a:pt x="177" y="80"/>
                    <a:pt x="77" y="35"/>
                  </a:cubicBezTo>
                  <a:close/>
                </a:path>
              </a:pathLst>
            </a:custGeom>
            <a:solidFill>
              <a:srgbClr val="D6D7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2" name="Freeform 21"/>
            <p:cNvSpPr>
              <a:spLocks/>
            </p:cNvSpPr>
            <p:nvPr userDrawn="1"/>
          </p:nvSpPr>
          <p:spPr bwMode="auto">
            <a:xfrm>
              <a:off x="-792" y="5637644"/>
              <a:ext cx="920366" cy="400856"/>
            </a:xfrm>
            <a:custGeom>
              <a:avLst/>
              <a:gdLst>
                <a:gd name="T0" fmla="*/ 116 w 603"/>
                <a:gd name="T1" fmla="*/ 53 h 263"/>
                <a:gd name="T2" fmla="*/ 0 w 603"/>
                <a:gd name="T3" fmla="*/ 0 h 263"/>
                <a:gd name="T4" fmla="*/ 0 w 603"/>
                <a:gd name="T5" fmla="*/ 3 h 263"/>
                <a:gd name="T6" fmla="*/ 115 w 603"/>
                <a:gd name="T7" fmla="*/ 56 h 263"/>
                <a:gd name="T8" fmla="*/ 597 w 603"/>
                <a:gd name="T9" fmla="*/ 263 h 263"/>
                <a:gd name="T10" fmla="*/ 603 w 603"/>
                <a:gd name="T11" fmla="*/ 262 h 263"/>
                <a:gd name="T12" fmla="*/ 116 w 603"/>
                <a:gd name="T13" fmla="*/ 53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3" h="263">
                  <a:moveTo>
                    <a:pt x="116" y="53"/>
                  </a:moveTo>
                  <a:cubicBezTo>
                    <a:pt x="78" y="36"/>
                    <a:pt x="39" y="18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9" y="21"/>
                    <a:pt x="77" y="38"/>
                    <a:pt x="115" y="56"/>
                  </a:cubicBezTo>
                  <a:cubicBezTo>
                    <a:pt x="273" y="128"/>
                    <a:pt x="434" y="202"/>
                    <a:pt x="597" y="263"/>
                  </a:cubicBezTo>
                  <a:cubicBezTo>
                    <a:pt x="603" y="262"/>
                    <a:pt x="603" y="262"/>
                    <a:pt x="603" y="262"/>
                  </a:cubicBezTo>
                  <a:cubicBezTo>
                    <a:pt x="438" y="201"/>
                    <a:pt x="275" y="126"/>
                    <a:pt x="116" y="53"/>
                  </a:cubicBezTo>
                  <a:close/>
                </a:path>
              </a:pathLst>
            </a:custGeom>
            <a:solidFill>
              <a:srgbClr val="D5D7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3" name="Freeform 22"/>
            <p:cNvSpPr>
              <a:spLocks/>
            </p:cNvSpPr>
            <p:nvPr userDrawn="1"/>
          </p:nvSpPr>
          <p:spPr bwMode="auto">
            <a:xfrm>
              <a:off x="-792" y="5435612"/>
              <a:ext cx="1308395" cy="535544"/>
            </a:xfrm>
            <a:custGeom>
              <a:avLst/>
              <a:gdLst>
                <a:gd name="T0" fmla="*/ 158 w 858"/>
                <a:gd name="T1" fmla="*/ 72 h 351"/>
                <a:gd name="T2" fmla="*/ 0 w 858"/>
                <a:gd name="T3" fmla="*/ 0 h 351"/>
                <a:gd name="T4" fmla="*/ 0 w 858"/>
                <a:gd name="T5" fmla="*/ 4 h 351"/>
                <a:gd name="T6" fmla="*/ 157 w 858"/>
                <a:gd name="T7" fmla="*/ 75 h 351"/>
                <a:gd name="T8" fmla="*/ 850 w 858"/>
                <a:gd name="T9" fmla="*/ 351 h 351"/>
                <a:gd name="T10" fmla="*/ 858 w 858"/>
                <a:gd name="T11" fmla="*/ 350 h 351"/>
                <a:gd name="T12" fmla="*/ 158 w 858"/>
                <a:gd name="T13" fmla="*/ 72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8" h="351">
                  <a:moveTo>
                    <a:pt x="158" y="72"/>
                  </a:moveTo>
                  <a:cubicBezTo>
                    <a:pt x="106" y="48"/>
                    <a:pt x="53" y="24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53" y="27"/>
                    <a:pt x="105" y="51"/>
                    <a:pt x="157" y="75"/>
                  </a:cubicBezTo>
                  <a:cubicBezTo>
                    <a:pt x="382" y="179"/>
                    <a:pt x="614" y="287"/>
                    <a:pt x="850" y="351"/>
                  </a:cubicBezTo>
                  <a:cubicBezTo>
                    <a:pt x="858" y="350"/>
                    <a:pt x="858" y="350"/>
                    <a:pt x="858" y="350"/>
                  </a:cubicBezTo>
                  <a:cubicBezTo>
                    <a:pt x="619" y="286"/>
                    <a:pt x="385" y="177"/>
                    <a:pt x="158" y="72"/>
                  </a:cubicBezTo>
                  <a:close/>
                </a:path>
              </a:pathLst>
            </a:custGeom>
            <a:solidFill>
              <a:srgbClr val="D5D6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4" name="Freeform 23"/>
            <p:cNvSpPr>
              <a:spLocks/>
            </p:cNvSpPr>
            <p:nvPr userDrawn="1"/>
          </p:nvSpPr>
          <p:spPr bwMode="auto">
            <a:xfrm>
              <a:off x="-792" y="5233581"/>
              <a:ext cx="1858370" cy="642973"/>
            </a:xfrm>
            <a:custGeom>
              <a:avLst/>
              <a:gdLst>
                <a:gd name="T0" fmla="*/ 944 w 1218"/>
                <a:gd name="T1" fmla="*/ 377 h 421"/>
                <a:gd name="T2" fmla="*/ 201 w 1218"/>
                <a:gd name="T3" fmla="*/ 92 h 421"/>
                <a:gd name="T4" fmla="*/ 0 w 1218"/>
                <a:gd name="T5" fmla="*/ 0 h 421"/>
                <a:gd name="T6" fmla="*/ 0 w 1218"/>
                <a:gd name="T7" fmla="*/ 4 h 421"/>
                <a:gd name="T8" fmla="*/ 199 w 1218"/>
                <a:gd name="T9" fmla="*/ 95 h 421"/>
                <a:gd name="T10" fmla="*/ 943 w 1218"/>
                <a:gd name="T11" fmla="*/ 380 h 421"/>
                <a:gd name="T12" fmla="*/ 1205 w 1218"/>
                <a:gd name="T13" fmla="*/ 421 h 421"/>
                <a:gd name="T14" fmla="*/ 1218 w 1218"/>
                <a:gd name="T15" fmla="*/ 418 h 421"/>
                <a:gd name="T16" fmla="*/ 944 w 1218"/>
                <a:gd name="T17" fmla="*/ 377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18" h="421">
                  <a:moveTo>
                    <a:pt x="944" y="377"/>
                  </a:moveTo>
                  <a:cubicBezTo>
                    <a:pt x="691" y="321"/>
                    <a:pt x="442" y="204"/>
                    <a:pt x="201" y="92"/>
                  </a:cubicBezTo>
                  <a:cubicBezTo>
                    <a:pt x="135" y="61"/>
                    <a:pt x="67" y="3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67" y="33"/>
                    <a:pt x="134" y="65"/>
                    <a:pt x="199" y="95"/>
                  </a:cubicBezTo>
                  <a:cubicBezTo>
                    <a:pt x="441" y="208"/>
                    <a:pt x="690" y="324"/>
                    <a:pt x="943" y="380"/>
                  </a:cubicBezTo>
                  <a:cubicBezTo>
                    <a:pt x="1030" y="399"/>
                    <a:pt x="1117" y="412"/>
                    <a:pt x="1205" y="421"/>
                  </a:cubicBezTo>
                  <a:cubicBezTo>
                    <a:pt x="1218" y="418"/>
                    <a:pt x="1218" y="418"/>
                    <a:pt x="1218" y="418"/>
                  </a:cubicBezTo>
                  <a:cubicBezTo>
                    <a:pt x="1126" y="410"/>
                    <a:pt x="1034" y="397"/>
                    <a:pt x="944" y="377"/>
                  </a:cubicBezTo>
                  <a:close/>
                </a:path>
              </a:pathLst>
            </a:custGeom>
            <a:solidFill>
              <a:srgbClr val="D4D6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5" name="Freeform 24"/>
            <p:cNvSpPr>
              <a:spLocks/>
            </p:cNvSpPr>
            <p:nvPr userDrawn="1"/>
          </p:nvSpPr>
          <p:spPr bwMode="auto">
            <a:xfrm>
              <a:off x="-792" y="5034756"/>
              <a:ext cx="3202040" cy="710317"/>
            </a:xfrm>
            <a:custGeom>
              <a:avLst/>
              <a:gdLst>
                <a:gd name="T0" fmla="*/ 2068 w 2100"/>
                <a:gd name="T1" fmla="*/ 397 h 466"/>
                <a:gd name="T2" fmla="*/ 994 w 2100"/>
                <a:gd name="T3" fmla="*/ 394 h 466"/>
                <a:gd name="T4" fmla="*/ 245 w 2100"/>
                <a:gd name="T5" fmla="*/ 111 h 466"/>
                <a:gd name="T6" fmla="*/ 0 w 2100"/>
                <a:gd name="T7" fmla="*/ 0 h 466"/>
                <a:gd name="T8" fmla="*/ 0 w 2100"/>
                <a:gd name="T9" fmla="*/ 3 h 466"/>
                <a:gd name="T10" fmla="*/ 243 w 2100"/>
                <a:gd name="T11" fmla="*/ 114 h 466"/>
                <a:gd name="T12" fmla="*/ 994 w 2100"/>
                <a:gd name="T13" fmla="*/ 397 h 466"/>
                <a:gd name="T14" fmla="*/ 2059 w 2100"/>
                <a:gd name="T15" fmla="*/ 402 h 466"/>
                <a:gd name="T16" fmla="*/ 2100 w 2100"/>
                <a:gd name="T17" fmla="*/ 394 h 466"/>
                <a:gd name="T18" fmla="*/ 2068 w 2100"/>
                <a:gd name="T19" fmla="*/ 397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00" h="466">
                  <a:moveTo>
                    <a:pt x="2068" y="397"/>
                  </a:moveTo>
                  <a:cubicBezTo>
                    <a:pt x="1712" y="430"/>
                    <a:pt x="1344" y="463"/>
                    <a:pt x="994" y="394"/>
                  </a:cubicBezTo>
                  <a:cubicBezTo>
                    <a:pt x="740" y="343"/>
                    <a:pt x="488" y="225"/>
                    <a:pt x="245" y="111"/>
                  </a:cubicBezTo>
                  <a:cubicBezTo>
                    <a:pt x="164" y="74"/>
                    <a:pt x="81" y="35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81" y="38"/>
                    <a:pt x="163" y="77"/>
                    <a:pt x="243" y="114"/>
                  </a:cubicBezTo>
                  <a:cubicBezTo>
                    <a:pt x="487" y="229"/>
                    <a:pt x="738" y="347"/>
                    <a:pt x="994" y="397"/>
                  </a:cubicBezTo>
                  <a:cubicBezTo>
                    <a:pt x="1340" y="466"/>
                    <a:pt x="1705" y="434"/>
                    <a:pt x="2059" y="402"/>
                  </a:cubicBezTo>
                  <a:cubicBezTo>
                    <a:pt x="2100" y="394"/>
                    <a:pt x="2100" y="394"/>
                    <a:pt x="2100" y="394"/>
                  </a:cubicBezTo>
                  <a:cubicBezTo>
                    <a:pt x="2089" y="395"/>
                    <a:pt x="2078" y="396"/>
                    <a:pt x="2068" y="397"/>
                  </a:cubicBezTo>
                  <a:close/>
                </a:path>
              </a:pathLst>
            </a:custGeom>
            <a:solidFill>
              <a:srgbClr val="D4D5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8" name="Freeform: Shape 77"/>
            <p:cNvSpPr>
              <a:spLocks/>
            </p:cNvSpPr>
            <p:nvPr userDrawn="1"/>
          </p:nvSpPr>
          <p:spPr bwMode="auto">
            <a:xfrm>
              <a:off x="-1" y="29070"/>
              <a:ext cx="10203407" cy="4377143"/>
            </a:xfrm>
            <a:custGeom>
              <a:avLst/>
              <a:gdLst>
                <a:gd name="connsiteX0" fmla="*/ 0 w 10204800"/>
                <a:gd name="connsiteY0" fmla="*/ 0 h 4377740"/>
                <a:gd name="connsiteX1" fmla="*/ 12323 w 10204800"/>
                <a:gd name="connsiteY1" fmla="*/ 5280 h 4377740"/>
                <a:gd name="connsiteX2" fmla="*/ 1762640 w 10204800"/>
                <a:gd name="connsiteY2" fmla="*/ 755145 h 4377740"/>
                <a:gd name="connsiteX3" fmla="*/ 2185053 w 10204800"/>
                <a:gd name="connsiteY3" fmla="*/ 952075 h 4377740"/>
                <a:gd name="connsiteX4" fmla="*/ 3302846 w 10204800"/>
                <a:gd name="connsiteY4" fmla="*/ 1368834 h 4377740"/>
                <a:gd name="connsiteX5" fmla="*/ 4754605 w 10204800"/>
                <a:gd name="connsiteY5" fmla="*/ 1139845 h 4377740"/>
                <a:gd name="connsiteX6" fmla="*/ 5045872 w 10204800"/>
                <a:gd name="connsiteY6" fmla="*/ 1051303 h 4377740"/>
                <a:gd name="connsiteX7" fmla="*/ 5103820 w 10204800"/>
                <a:gd name="connsiteY7" fmla="*/ 1034511 h 4377740"/>
                <a:gd name="connsiteX8" fmla="*/ 6657751 w 10204800"/>
                <a:gd name="connsiteY8" fmla="*/ 930703 h 4377740"/>
                <a:gd name="connsiteX9" fmla="*/ 7763344 w 10204800"/>
                <a:gd name="connsiteY9" fmla="*/ 2187085 h 4377740"/>
                <a:gd name="connsiteX10" fmla="*/ 7827393 w 10204800"/>
                <a:gd name="connsiteY10" fmla="*/ 2300053 h 4377740"/>
                <a:gd name="connsiteX11" fmla="*/ 7960064 w 10204800"/>
                <a:gd name="connsiteY11" fmla="*/ 2535147 h 4377740"/>
                <a:gd name="connsiteX12" fmla="*/ 8937561 w 10204800"/>
                <a:gd name="connsiteY12" fmla="*/ 3800690 h 4377740"/>
                <a:gd name="connsiteX13" fmla="*/ 10005031 w 10204800"/>
                <a:gd name="connsiteY13" fmla="*/ 4296831 h 4377740"/>
                <a:gd name="connsiteX14" fmla="*/ 10204800 w 10204800"/>
                <a:gd name="connsiteY14" fmla="*/ 4373160 h 4377740"/>
                <a:gd name="connsiteX15" fmla="*/ 10181926 w 10204800"/>
                <a:gd name="connsiteY15" fmla="*/ 4377740 h 4377740"/>
                <a:gd name="connsiteX16" fmla="*/ 10000456 w 10204800"/>
                <a:gd name="connsiteY16" fmla="*/ 4307517 h 4377740"/>
                <a:gd name="connsiteX17" fmla="*/ 8931461 w 10204800"/>
                <a:gd name="connsiteY17" fmla="*/ 3809849 h 4377740"/>
                <a:gd name="connsiteX18" fmla="*/ 7949389 w 10204800"/>
                <a:gd name="connsiteY18" fmla="*/ 2541254 h 4377740"/>
                <a:gd name="connsiteX19" fmla="*/ 7816718 w 10204800"/>
                <a:gd name="connsiteY19" fmla="*/ 2306159 h 4377740"/>
                <a:gd name="connsiteX20" fmla="*/ 7752670 w 10204800"/>
                <a:gd name="connsiteY20" fmla="*/ 2193192 h 4377740"/>
                <a:gd name="connsiteX21" fmla="*/ 6653176 w 10204800"/>
                <a:gd name="connsiteY21" fmla="*/ 941389 h 4377740"/>
                <a:gd name="connsiteX22" fmla="*/ 5106870 w 10204800"/>
                <a:gd name="connsiteY22" fmla="*/ 1045197 h 4377740"/>
                <a:gd name="connsiteX23" fmla="*/ 5048921 w 10204800"/>
                <a:gd name="connsiteY23" fmla="*/ 1063516 h 4377740"/>
                <a:gd name="connsiteX24" fmla="*/ 4759180 w 10204800"/>
                <a:gd name="connsiteY24" fmla="*/ 1152058 h 4377740"/>
                <a:gd name="connsiteX25" fmla="*/ 3299796 w 10204800"/>
                <a:gd name="connsiteY25" fmla="*/ 1381046 h 4377740"/>
                <a:gd name="connsiteX26" fmla="*/ 2180478 w 10204800"/>
                <a:gd name="connsiteY26" fmla="*/ 962761 h 4377740"/>
                <a:gd name="connsiteX27" fmla="*/ 1758065 w 10204800"/>
                <a:gd name="connsiteY27" fmla="*/ 765831 h 4377740"/>
                <a:gd name="connsiteX28" fmla="*/ 292956 w 10204800"/>
                <a:gd name="connsiteY28" fmla="*/ 138154 h 4377740"/>
                <a:gd name="connsiteX29" fmla="*/ 0 w 10204800"/>
                <a:gd name="connsiteY29" fmla="*/ 12647 h 4377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204800" h="4377740">
                  <a:moveTo>
                    <a:pt x="0" y="0"/>
                  </a:moveTo>
                  <a:lnTo>
                    <a:pt x="12323" y="5280"/>
                  </a:lnTo>
                  <a:cubicBezTo>
                    <a:pt x="95671" y="40988"/>
                    <a:pt x="429065" y="183819"/>
                    <a:pt x="1762640" y="755145"/>
                  </a:cubicBezTo>
                  <a:cubicBezTo>
                    <a:pt x="1899886" y="813155"/>
                    <a:pt x="2038657" y="880325"/>
                    <a:pt x="2185053" y="952075"/>
                  </a:cubicBezTo>
                  <a:cubicBezTo>
                    <a:pt x="2551042" y="1127633"/>
                    <a:pt x="2929232" y="1310823"/>
                    <a:pt x="3302846" y="1368834"/>
                  </a:cubicBezTo>
                  <a:cubicBezTo>
                    <a:pt x="3784732" y="1443636"/>
                    <a:pt x="4278818" y="1289451"/>
                    <a:pt x="4754605" y="1139845"/>
                  </a:cubicBezTo>
                  <a:cubicBezTo>
                    <a:pt x="4855252" y="1109313"/>
                    <a:pt x="4949799" y="1078782"/>
                    <a:pt x="5045872" y="1051303"/>
                  </a:cubicBezTo>
                  <a:cubicBezTo>
                    <a:pt x="5045872" y="1051303"/>
                    <a:pt x="5045872" y="1051303"/>
                    <a:pt x="5103820" y="1034511"/>
                  </a:cubicBezTo>
                  <a:cubicBezTo>
                    <a:pt x="5602481" y="887958"/>
                    <a:pt x="6169765" y="723087"/>
                    <a:pt x="6657751" y="930703"/>
                  </a:cubicBezTo>
                  <a:cubicBezTo>
                    <a:pt x="7173186" y="1149005"/>
                    <a:pt x="7487327" y="1700103"/>
                    <a:pt x="7763344" y="2187085"/>
                  </a:cubicBezTo>
                  <a:cubicBezTo>
                    <a:pt x="7784694" y="2225250"/>
                    <a:pt x="7806043" y="2263415"/>
                    <a:pt x="7827393" y="2300053"/>
                  </a:cubicBezTo>
                  <a:cubicBezTo>
                    <a:pt x="7871616" y="2376382"/>
                    <a:pt x="7914315" y="2454238"/>
                    <a:pt x="7960064" y="2535147"/>
                  </a:cubicBezTo>
                  <a:cubicBezTo>
                    <a:pt x="8223881" y="3012970"/>
                    <a:pt x="8498373" y="3506058"/>
                    <a:pt x="8937561" y="3800690"/>
                  </a:cubicBezTo>
                  <a:cubicBezTo>
                    <a:pt x="9250177" y="4011359"/>
                    <a:pt x="9632941" y="4156385"/>
                    <a:pt x="10005031" y="4296831"/>
                  </a:cubicBezTo>
                  <a:cubicBezTo>
                    <a:pt x="10072129" y="4322783"/>
                    <a:pt x="10139227" y="4347208"/>
                    <a:pt x="10204800" y="4373160"/>
                  </a:cubicBezTo>
                  <a:cubicBezTo>
                    <a:pt x="10204800" y="4373160"/>
                    <a:pt x="10204800" y="4373160"/>
                    <a:pt x="10181926" y="4377740"/>
                  </a:cubicBezTo>
                  <a:cubicBezTo>
                    <a:pt x="10122452" y="4354841"/>
                    <a:pt x="10061454" y="4331943"/>
                    <a:pt x="10000456" y="4307517"/>
                  </a:cubicBezTo>
                  <a:cubicBezTo>
                    <a:pt x="9628366" y="4167071"/>
                    <a:pt x="9244077" y="4022045"/>
                    <a:pt x="8931461" y="3809849"/>
                  </a:cubicBezTo>
                  <a:cubicBezTo>
                    <a:pt x="8489224" y="3513691"/>
                    <a:pt x="8214732" y="3019076"/>
                    <a:pt x="7949389" y="2541254"/>
                  </a:cubicBezTo>
                  <a:cubicBezTo>
                    <a:pt x="7903641" y="2460345"/>
                    <a:pt x="7860942" y="2382489"/>
                    <a:pt x="7816718" y="2306159"/>
                  </a:cubicBezTo>
                  <a:cubicBezTo>
                    <a:pt x="7795369" y="2269521"/>
                    <a:pt x="7774019" y="2231356"/>
                    <a:pt x="7752670" y="2193192"/>
                  </a:cubicBezTo>
                  <a:cubicBezTo>
                    <a:pt x="7478178" y="1707736"/>
                    <a:pt x="7165561" y="1158164"/>
                    <a:pt x="6653176" y="941389"/>
                  </a:cubicBezTo>
                  <a:cubicBezTo>
                    <a:pt x="6168240" y="735299"/>
                    <a:pt x="5604006" y="900171"/>
                    <a:pt x="5106870" y="1045197"/>
                  </a:cubicBezTo>
                  <a:cubicBezTo>
                    <a:pt x="5106870" y="1045197"/>
                    <a:pt x="5106870" y="1045197"/>
                    <a:pt x="5048921" y="1063516"/>
                  </a:cubicBezTo>
                  <a:cubicBezTo>
                    <a:pt x="4954374" y="1090995"/>
                    <a:pt x="4858302" y="1120000"/>
                    <a:pt x="4759180" y="1152058"/>
                  </a:cubicBezTo>
                  <a:cubicBezTo>
                    <a:pt x="4280343" y="1301664"/>
                    <a:pt x="3786257" y="1455849"/>
                    <a:pt x="3299796" y="1381046"/>
                  </a:cubicBezTo>
                  <a:cubicBezTo>
                    <a:pt x="2926182" y="1323036"/>
                    <a:pt x="2546468" y="1139845"/>
                    <a:pt x="2180478" y="962761"/>
                  </a:cubicBezTo>
                  <a:cubicBezTo>
                    <a:pt x="2032557" y="891011"/>
                    <a:pt x="1895311" y="823841"/>
                    <a:pt x="1758065" y="765831"/>
                  </a:cubicBezTo>
                  <a:cubicBezTo>
                    <a:pt x="1758065" y="765831"/>
                    <a:pt x="1758065" y="765831"/>
                    <a:pt x="292956" y="138154"/>
                  </a:cubicBezTo>
                  <a:lnTo>
                    <a:pt x="0" y="12647"/>
                  </a:lnTo>
                  <a:close/>
                </a:path>
              </a:pathLst>
            </a:custGeom>
            <a:solidFill>
              <a:srgbClr val="C8C9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37" name="Freeform 26"/>
            <p:cNvSpPr>
              <a:spLocks/>
            </p:cNvSpPr>
            <p:nvPr userDrawn="1"/>
          </p:nvSpPr>
          <p:spPr bwMode="auto">
            <a:xfrm>
              <a:off x="366392" y="0"/>
              <a:ext cx="10178543" cy="4345283"/>
            </a:xfrm>
            <a:custGeom>
              <a:avLst/>
              <a:gdLst>
                <a:gd name="T0" fmla="*/ 6673 w 6676"/>
                <a:gd name="T1" fmla="*/ 2843 h 2847"/>
                <a:gd name="T2" fmla="*/ 6368 w 6676"/>
                <a:gd name="T3" fmla="*/ 2722 h 2847"/>
                <a:gd name="T4" fmla="*/ 5668 w 6676"/>
                <a:gd name="T5" fmla="*/ 2398 h 2847"/>
                <a:gd name="T6" fmla="*/ 5018 w 6676"/>
                <a:gd name="T7" fmla="*/ 1599 h 2847"/>
                <a:gd name="T8" fmla="*/ 4934 w 6676"/>
                <a:gd name="T9" fmla="*/ 1458 h 2847"/>
                <a:gd name="T10" fmla="*/ 4897 w 6676"/>
                <a:gd name="T11" fmla="*/ 1398 h 2847"/>
                <a:gd name="T12" fmla="*/ 4161 w 6676"/>
                <a:gd name="T13" fmla="*/ 597 h 2847"/>
                <a:gd name="T14" fmla="*/ 3146 w 6676"/>
                <a:gd name="T15" fmla="*/ 634 h 2847"/>
                <a:gd name="T16" fmla="*/ 3109 w 6676"/>
                <a:gd name="T17" fmla="*/ 643 h 2847"/>
                <a:gd name="T18" fmla="*/ 2921 w 6676"/>
                <a:gd name="T19" fmla="*/ 692 h 2847"/>
                <a:gd name="T20" fmla="*/ 1972 w 6676"/>
                <a:gd name="T21" fmla="*/ 806 h 2847"/>
                <a:gd name="T22" fmla="*/ 1241 w 6676"/>
                <a:gd name="T23" fmla="*/ 531 h 2847"/>
                <a:gd name="T24" fmla="*/ 963 w 6676"/>
                <a:gd name="T25" fmla="*/ 403 h 2847"/>
                <a:gd name="T26" fmla="*/ 21 w 6676"/>
                <a:gd name="T27" fmla="*/ 0 h 2847"/>
                <a:gd name="T28" fmla="*/ 0 w 6676"/>
                <a:gd name="T29" fmla="*/ 0 h 2847"/>
                <a:gd name="T30" fmla="*/ 960 w 6676"/>
                <a:gd name="T31" fmla="*/ 410 h 2847"/>
                <a:gd name="T32" fmla="*/ 1238 w 6676"/>
                <a:gd name="T33" fmla="*/ 539 h 2847"/>
                <a:gd name="T34" fmla="*/ 1971 w 6676"/>
                <a:gd name="T35" fmla="*/ 814 h 2847"/>
                <a:gd name="T36" fmla="*/ 2923 w 6676"/>
                <a:gd name="T37" fmla="*/ 699 h 2847"/>
                <a:gd name="T38" fmla="*/ 3111 w 6676"/>
                <a:gd name="T39" fmla="*/ 651 h 2847"/>
                <a:gd name="T40" fmla="*/ 3148 w 6676"/>
                <a:gd name="T41" fmla="*/ 642 h 2847"/>
                <a:gd name="T42" fmla="*/ 4158 w 6676"/>
                <a:gd name="T43" fmla="*/ 604 h 2847"/>
                <a:gd name="T44" fmla="*/ 4890 w 6676"/>
                <a:gd name="T45" fmla="*/ 1402 h 2847"/>
                <a:gd name="T46" fmla="*/ 4927 w 6676"/>
                <a:gd name="T47" fmla="*/ 1463 h 2847"/>
                <a:gd name="T48" fmla="*/ 5011 w 6676"/>
                <a:gd name="T49" fmla="*/ 1603 h 2847"/>
                <a:gd name="T50" fmla="*/ 5663 w 6676"/>
                <a:gd name="T51" fmla="*/ 2405 h 2847"/>
                <a:gd name="T52" fmla="*/ 6365 w 6676"/>
                <a:gd name="T53" fmla="*/ 2730 h 2847"/>
                <a:gd name="T54" fmla="*/ 6661 w 6676"/>
                <a:gd name="T55" fmla="*/ 2847 h 2847"/>
                <a:gd name="T56" fmla="*/ 6676 w 6676"/>
                <a:gd name="T57" fmla="*/ 2845 h 2847"/>
                <a:gd name="T58" fmla="*/ 6673 w 6676"/>
                <a:gd name="T59" fmla="*/ 2843 h 28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676" h="2847">
                  <a:moveTo>
                    <a:pt x="6673" y="2843"/>
                  </a:moveTo>
                  <a:cubicBezTo>
                    <a:pt x="6575" y="2801"/>
                    <a:pt x="6474" y="2763"/>
                    <a:pt x="6368" y="2722"/>
                  </a:cubicBezTo>
                  <a:cubicBezTo>
                    <a:pt x="6125" y="2630"/>
                    <a:pt x="5875" y="2535"/>
                    <a:pt x="5668" y="2398"/>
                  </a:cubicBezTo>
                  <a:cubicBezTo>
                    <a:pt x="5381" y="2210"/>
                    <a:pt x="5196" y="1899"/>
                    <a:pt x="5018" y="1599"/>
                  </a:cubicBezTo>
                  <a:cubicBezTo>
                    <a:pt x="4990" y="1552"/>
                    <a:pt x="4962" y="1504"/>
                    <a:pt x="4934" y="1458"/>
                  </a:cubicBezTo>
                  <a:cubicBezTo>
                    <a:pt x="4921" y="1438"/>
                    <a:pt x="4909" y="1418"/>
                    <a:pt x="4897" y="1398"/>
                  </a:cubicBezTo>
                  <a:cubicBezTo>
                    <a:pt x="4710" y="1089"/>
                    <a:pt x="4498" y="739"/>
                    <a:pt x="4161" y="597"/>
                  </a:cubicBezTo>
                  <a:cubicBezTo>
                    <a:pt x="3844" y="462"/>
                    <a:pt x="3473" y="553"/>
                    <a:pt x="3146" y="634"/>
                  </a:cubicBezTo>
                  <a:cubicBezTo>
                    <a:pt x="3109" y="643"/>
                    <a:pt x="3109" y="643"/>
                    <a:pt x="3109" y="643"/>
                  </a:cubicBezTo>
                  <a:cubicBezTo>
                    <a:pt x="3047" y="658"/>
                    <a:pt x="2983" y="675"/>
                    <a:pt x="2921" y="692"/>
                  </a:cubicBezTo>
                  <a:cubicBezTo>
                    <a:pt x="2608" y="774"/>
                    <a:pt x="2285" y="859"/>
                    <a:pt x="1972" y="806"/>
                  </a:cubicBezTo>
                  <a:cubicBezTo>
                    <a:pt x="1727" y="765"/>
                    <a:pt x="1480" y="646"/>
                    <a:pt x="1241" y="531"/>
                  </a:cubicBezTo>
                  <a:cubicBezTo>
                    <a:pt x="1145" y="485"/>
                    <a:pt x="1054" y="441"/>
                    <a:pt x="963" y="403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60" y="410"/>
                    <a:pt x="960" y="410"/>
                    <a:pt x="960" y="410"/>
                  </a:cubicBezTo>
                  <a:cubicBezTo>
                    <a:pt x="1050" y="449"/>
                    <a:pt x="1141" y="492"/>
                    <a:pt x="1238" y="539"/>
                  </a:cubicBezTo>
                  <a:cubicBezTo>
                    <a:pt x="1477" y="654"/>
                    <a:pt x="1725" y="772"/>
                    <a:pt x="1971" y="814"/>
                  </a:cubicBezTo>
                  <a:cubicBezTo>
                    <a:pt x="2286" y="868"/>
                    <a:pt x="2610" y="782"/>
                    <a:pt x="2923" y="699"/>
                  </a:cubicBezTo>
                  <a:cubicBezTo>
                    <a:pt x="2985" y="683"/>
                    <a:pt x="3049" y="666"/>
                    <a:pt x="3111" y="651"/>
                  </a:cubicBezTo>
                  <a:cubicBezTo>
                    <a:pt x="3148" y="642"/>
                    <a:pt x="3148" y="642"/>
                    <a:pt x="3148" y="642"/>
                  </a:cubicBezTo>
                  <a:cubicBezTo>
                    <a:pt x="3474" y="561"/>
                    <a:pt x="3843" y="470"/>
                    <a:pt x="4158" y="604"/>
                  </a:cubicBezTo>
                  <a:cubicBezTo>
                    <a:pt x="4492" y="746"/>
                    <a:pt x="4703" y="1094"/>
                    <a:pt x="4890" y="1402"/>
                  </a:cubicBezTo>
                  <a:cubicBezTo>
                    <a:pt x="4902" y="1422"/>
                    <a:pt x="4915" y="1443"/>
                    <a:pt x="4927" y="1463"/>
                  </a:cubicBezTo>
                  <a:cubicBezTo>
                    <a:pt x="4955" y="1508"/>
                    <a:pt x="4983" y="1556"/>
                    <a:pt x="5011" y="1603"/>
                  </a:cubicBezTo>
                  <a:cubicBezTo>
                    <a:pt x="5190" y="1904"/>
                    <a:pt x="5375" y="2216"/>
                    <a:pt x="5663" y="2405"/>
                  </a:cubicBezTo>
                  <a:cubicBezTo>
                    <a:pt x="5871" y="2542"/>
                    <a:pt x="6122" y="2637"/>
                    <a:pt x="6365" y="2730"/>
                  </a:cubicBezTo>
                  <a:cubicBezTo>
                    <a:pt x="6468" y="2769"/>
                    <a:pt x="6566" y="2807"/>
                    <a:pt x="6661" y="2847"/>
                  </a:cubicBezTo>
                  <a:cubicBezTo>
                    <a:pt x="6676" y="2845"/>
                    <a:pt x="6676" y="2845"/>
                    <a:pt x="6676" y="2845"/>
                  </a:cubicBezTo>
                  <a:lnTo>
                    <a:pt x="6673" y="2843"/>
                  </a:lnTo>
                  <a:close/>
                </a:path>
              </a:pathLst>
            </a:custGeom>
            <a:solidFill>
              <a:srgbClr val="C7C9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8" name="Freeform 27"/>
            <p:cNvSpPr>
              <a:spLocks/>
            </p:cNvSpPr>
            <p:nvPr userDrawn="1"/>
          </p:nvSpPr>
          <p:spPr bwMode="auto">
            <a:xfrm>
              <a:off x="834592" y="0"/>
              <a:ext cx="10042252" cy="4285956"/>
            </a:xfrm>
            <a:custGeom>
              <a:avLst/>
              <a:gdLst>
                <a:gd name="T0" fmla="*/ 6413 w 6586"/>
                <a:gd name="T1" fmla="*/ 2732 h 2809"/>
                <a:gd name="T2" fmla="*/ 6108 w 6586"/>
                <a:gd name="T3" fmla="*/ 2611 h 2809"/>
                <a:gd name="T4" fmla="*/ 5408 w 6586"/>
                <a:gd name="T5" fmla="*/ 2288 h 2809"/>
                <a:gd name="T6" fmla="*/ 4731 w 6586"/>
                <a:gd name="T7" fmla="*/ 1470 h 2809"/>
                <a:gd name="T8" fmla="*/ 3894 w 6586"/>
                <a:gd name="T9" fmla="*/ 572 h 2809"/>
                <a:gd name="T10" fmla="*/ 2695 w 6586"/>
                <a:gd name="T11" fmla="*/ 601 h 2809"/>
                <a:gd name="T12" fmla="*/ 1712 w 6586"/>
                <a:gd name="T13" fmla="*/ 697 h 2809"/>
                <a:gd name="T14" fmla="*/ 983 w 6586"/>
                <a:gd name="T15" fmla="*/ 420 h 2809"/>
                <a:gd name="T16" fmla="*/ 704 w 6586"/>
                <a:gd name="T17" fmla="*/ 292 h 2809"/>
                <a:gd name="T18" fmla="*/ 21 w 6586"/>
                <a:gd name="T19" fmla="*/ 0 h 2809"/>
                <a:gd name="T20" fmla="*/ 0 w 6586"/>
                <a:gd name="T21" fmla="*/ 0 h 2809"/>
                <a:gd name="T22" fmla="*/ 700 w 6586"/>
                <a:gd name="T23" fmla="*/ 299 h 2809"/>
                <a:gd name="T24" fmla="*/ 979 w 6586"/>
                <a:gd name="T25" fmla="*/ 428 h 2809"/>
                <a:gd name="T26" fmla="*/ 1711 w 6586"/>
                <a:gd name="T27" fmla="*/ 705 h 2809"/>
                <a:gd name="T28" fmla="*/ 2696 w 6586"/>
                <a:gd name="T29" fmla="*/ 609 h 2809"/>
                <a:gd name="T30" fmla="*/ 3891 w 6586"/>
                <a:gd name="T31" fmla="*/ 579 h 2809"/>
                <a:gd name="T32" fmla="*/ 4724 w 6586"/>
                <a:gd name="T33" fmla="*/ 1475 h 2809"/>
                <a:gd name="T34" fmla="*/ 5403 w 6586"/>
                <a:gd name="T35" fmla="*/ 2295 h 2809"/>
                <a:gd name="T36" fmla="*/ 6105 w 6586"/>
                <a:gd name="T37" fmla="*/ 2618 h 2809"/>
                <a:gd name="T38" fmla="*/ 6410 w 6586"/>
                <a:gd name="T39" fmla="*/ 2740 h 2809"/>
                <a:gd name="T40" fmla="*/ 6571 w 6586"/>
                <a:gd name="T41" fmla="*/ 2809 h 2809"/>
                <a:gd name="T42" fmla="*/ 6586 w 6586"/>
                <a:gd name="T43" fmla="*/ 2806 h 2809"/>
                <a:gd name="T44" fmla="*/ 6413 w 6586"/>
                <a:gd name="T45" fmla="*/ 2732 h 2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586" h="2809">
                  <a:moveTo>
                    <a:pt x="6413" y="2732"/>
                  </a:moveTo>
                  <a:cubicBezTo>
                    <a:pt x="6315" y="2690"/>
                    <a:pt x="6209" y="2650"/>
                    <a:pt x="6108" y="2611"/>
                  </a:cubicBezTo>
                  <a:cubicBezTo>
                    <a:pt x="5867" y="2518"/>
                    <a:pt x="5617" y="2423"/>
                    <a:pt x="5408" y="2288"/>
                  </a:cubicBezTo>
                  <a:cubicBezTo>
                    <a:pt x="5110" y="2097"/>
                    <a:pt x="4917" y="1778"/>
                    <a:pt x="4731" y="1470"/>
                  </a:cubicBezTo>
                  <a:cubicBezTo>
                    <a:pt x="4513" y="1111"/>
                    <a:pt x="4288" y="739"/>
                    <a:pt x="3894" y="572"/>
                  </a:cubicBezTo>
                  <a:cubicBezTo>
                    <a:pt x="3512" y="409"/>
                    <a:pt x="3096" y="507"/>
                    <a:pt x="2695" y="601"/>
                  </a:cubicBezTo>
                  <a:cubicBezTo>
                    <a:pt x="2368" y="678"/>
                    <a:pt x="2031" y="757"/>
                    <a:pt x="1712" y="697"/>
                  </a:cubicBezTo>
                  <a:cubicBezTo>
                    <a:pt x="1467" y="651"/>
                    <a:pt x="1221" y="534"/>
                    <a:pt x="983" y="420"/>
                  </a:cubicBezTo>
                  <a:cubicBezTo>
                    <a:pt x="886" y="374"/>
                    <a:pt x="795" y="331"/>
                    <a:pt x="704" y="292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00" y="299"/>
                    <a:pt x="700" y="299"/>
                    <a:pt x="700" y="299"/>
                  </a:cubicBezTo>
                  <a:cubicBezTo>
                    <a:pt x="792" y="338"/>
                    <a:pt x="883" y="382"/>
                    <a:pt x="979" y="428"/>
                  </a:cubicBezTo>
                  <a:cubicBezTo>
                    <a:pt x="1218" y="541"/>
                    <a:pt x="1464" y="659"/>
                    <a:pt x="1711" y="705"/>
                  </a:cubicBezTo>
                  <a:cubicBezTo>
                    <a:pt x="2031" y="765"/>
                    <a:pt x="2370" y="686"/>
                    <a:pt x="2696" y="609"/>
                  </a:cubicBezTo>
                  <a:cubicBezTo>
                    <a:pt x="3097" y="515"/>
                    <a:pt x="3511" y="418"/>
                    <a:pt x="3891" y="579"/>
                  </a:cubicBezTo>
                  <a:cubicBezTo>
                    <a:pt x="4282" y="745"/>
                    <a:pt x="4507" y="1116"/>
                    <a:pt x="4724" y="1475"/>
                  </a:cubicBezTo>
                  <a:cubicBezTo>
                    <a:pt x="4910" y="1783"/>
                    <a:pt x="5104" y="2103"/>
                    <a:pt x="5403" y="2295"/>
                  </a:cubicBezTo>
                  <a:cubicBezTo>
                    <a:pt x="5613" y="2430"/>
                    <a:pt x="5863" y="2526"/>
                    <a:pt x="6105" y="2618"/>
                  </a:cubicBezTo>
                  <a:cubicBezTo>
                    <a:pt x="6206" y="2658"/>
                    <a:pt x="6312" y="2698"/>
                    <a:pt x="6410" y="2740"/>
                  </a:cubicBezTo>
                  <a:cubicBezTo>
                    <a:pt x="6571" y="2809"/>
                    <a:pt x="6571" y="2809"/>
                    <a:pt x="6571" y="2809"/>
                  </a:cubicBezTo>
                  <a:cubicBezTo>
                    <a:pt x="6586" y="2806"/>
                    <a:pt x="6586" y="2806"/>
                    <a:pt x="6586" y="2806"/>
                  </a:cubicBezTo>
                  <a:lnTo>
                    <a:pt x="6413" y="2732"/>
                  </a:lnTo>
                  <a:close/>
                </a:path>
              </a:pathLst>
            </a:custGeom>
            <a:solidFill>
              <a:srgbClr val="C7C8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9" name="Freeform 28"/>
            <p:cNvSpPr>
              <a:spLocks/>
            </p:cNvSpPr>
            <p:nvPr userDrawn="1"/>
          </p:nvSpPr>
          <p:spPr bwMode="auto">
            <a:xfrm>
              <a:off x="1301189" y="0"/>
              <a:ext cx="9905961" cy="4228233"/>
            </a:xfrm>
            <a:custGeom>
              <a:avLst/>
              <a:gdLst>
                <a:gd name="T0" fmla="*/ 6154 w 6497"/>
                <a:gd name="T1" fmla="*/ 2621 h 2771"/>
                <a:gd name="T2" fmla="*/ 5848 w 6497"/>
                <a:gd name="T3" fmla="*/ 2499 h 2771"/>
                <a:gd name="T4" fmla="*/ 5149 w 6497"/>
                <a:gd name="T5" fmla="*/ 2178 h 2771"/>
                <a:gd name="T6" fmla="*/ 4468 w 6497"/>
                <a:gd name="T7" fmla="*/ 1404 h 2771"/>
                <a:gd name="T8" fmla="*/ 3633 w 6497"/>
                <a:gd name="T9" fmla="*/ 552 h 2771"/>
                <a:gd name="T10" fmla="*/ 2435 w 6497"/>
                <a:gd name="T11" fmla="*/ 536 h 2771"/>
                <a:gd name="T12" fmla="*/ 1454 w 6497"/>
                <a:gd name="T13" fmla="*/ 588 h 2771"/>
                <a:gd name="T14" fmla="*/ 726 w 6497"/>
                <a:gd name="T15" fmla="*/ 309 h 2771"/>
                <a:gd name="T16" fmla="*/ 445 w 6497"/>
                <a:gd name="T17" fmla="*/ 181 h 2771"/>
                <a:gd name="T18" fmla="*/ 21 w 6497"/>
                <a:gd name="T19" fmla="*/ 0 h 2771"/>
                <a:gd name="T20" fmla="*/ 0 w 6497"/>
                <a:gd name="T21" fmla="*/ 0 h 2771"/>
                <a:gd name="T22" fmla="*/ 442 w 6497"/>
                <a:gd name="T23" fmla="*/ 189 h 2771"/>
                <a:gd name="T24" fmla="*/ 722 w 6497"/>
                <a:gd name="T25" fmla="*/ 317 h 2771"/>
                <a:gd name="T26" fmla="*/ 1452 w 6497"/>
                <a:gd name="T27" fmla="*/ 596 h 2771"/>
                <a:gd name="T28" fmla="*/ 2436 w 6497"/>
                <a:gd name="T29" fmla="*/ 544 h 2771"/>
                <a:gd name="T30" fmla="*/ 3630 w 6497"/>
                <a:gd name="T31" fmla="*/ 560 h 2771"/>
                <a:gd name="T32" fmla="*/ 4461 w 6497"/>
                <a:gd name="T33" fmla="*/ 1409 h 2771"/>
                <a:gd name="T34" fmla="*/ 5145 w 6497"/>
                <a:gd name="T35" fmla="*/ 2186 h 2771"/>
                <a:gd name="T36" fmla="*/ 5845 w 6497"/>
                <a:gd name="T37" fmla="*/ 2507 h 2771"/>
                <a:gd name="T38" fmla="*/ 6151 w 6497"/>
                <a:gd name="T39" fmla="*/ 2629 h 2771"/>
                <a:gd name="T40" fmla="*/ 6482 w 6497"/>
                <a:gd name="T41" fmla="*/ 2771 h 2771"/>
                <a:gd name="T42" fmla="*/ 6497 w 6497"/>
                <a:gd name="T43" fmla="*/ 2768 h 2771"/>
                <a:gd name="T44" fmla="*/ 6154 w 6497"/>
                <a:gd name="T45" fmla="*/ 2621 h 27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497" h="2771">
                  <a:moveTo>
                    <a:pt x="6154" y="2621"/>
                  </a:moveTo>
                  <a:cubicBezTo>
                    <a:pt x="6056" y="2579"/>
                    <a:pt x="5950" y="2538"/>
                    <a:pt x="5848" y="2499"/>
                  </a:cubicBezTo>
                  <a:cubicBezTo>
                    <a:pt x="5609" y="2406"/>
                    <a:pt x="5361" y="2311"/>
                    <a:pt x="5149" y="2178"/>
                  </a:cubicBezTo>
                  <a:cubicBezTo>
                    <a:pt x="4856" y="1995"/>
                    <a:pt x="4659" y="1695"/>
                    <a:pt x="4468" y="1404"/>
                  </a:cubicBezTo>
                  <a:cubicBezTo>
                    <a:pt x="4245" y="1065"/>
                    <a:pt x="4016" y="715"/>
                    <a:pt x="3633" y="552"/>
                  </a:cubicBezTo>
                  <a:cubicBezTo>
                    <a:pt x="3253" y="391"/>
                    <a:pt x="2837" y="465"/>
                    <a:pt x="2435" y="536"/>
                  </a:cubicBezTo>
                  <a:cubicBezTo>
                    <a:pt x="2109" y="594"/>
                    <a:pt x="1771" y="654"/>
                    <a:pt x="1454" y="588"/>
                  </a:cubicBezTo>
                  <a:cubicBezTo>
                    <a:pt x="1208" y="537"/>
                    <a:pt x="963" y="421"/>
                    <a:pt x="726" y="309"/>
                  </a:cubicBezTo>
                  <a:cubicBezTo>
                    <a:pt x="629" y="264"/>
                    <a:pt x="537" y="220"/>
                    <a:pt x="445" y="181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42" y="189"/>
                    <a:pt x="442" y="189"/>
                    <a:pt x="442" y="189"/>
                  </a:cubicBezTo>
                  <a:cubicBezTo>
                    <a:pt x="534" y="228"/>
                    <a:pt x="625" y="271"/>
                    <a:pt x="722" y="317"/>
                  </a:cubicBezTo>
                  <a:cubicBezTo>
                    <a:pt x="960" y="429"/>
                    <a:pt x="1205" y="545"/>
                    <a:pt x="1452" y="596"/>
                  </a:cubicBezTo>
                  <a:cubicBezTo>
                    <a:pt x="1771" y="662"/>
                    <a:pt x="2109" y="602"/>
                    <a:pt x="2436" y="544"/>
                  </a:cubicBezTo>
                  <a:cubicBezTo>
                    <a:pt x="2837" y="473"/>
                    <a:pt x="3252" y="399"/>
                    <a:pt x="3630" y="560"/>
                  </a:cubicBezTo>
                  <a:cubicBezTo>
                    <a:pt x="4010" y="722"/>
                    <a:pt x="4239" y="1071"/>
                    <a:pt x="4461" y="1409"/>
                  </a:cubicBezTo>
                  <a:cubicBezTo>
                    <a:pt x="4652" y="1700"/>
                    <a:pt x="4850" y="2002"/>
                    <a:pt x="5145" y="2186"/>
                  </a:cubicBezTo>
                  <a:cubicBezTo>
                    <a:pt x="5357" y="2318"/>
                    <a:pt x="5605" y="2414"/>
                    <a:pt x="5845" y="2507"/>
                  </a:cubicBezTo>
                  <a:cubicBezTo>
                    <a:pt x="5947" y="2546"/>
                    <a:pt x="6052" y="2587"/>
                    <a:pt x="6151" y="2629"/>
                  </a:cubicBezTo>
                  <a:cubicBezTo>
                    <a:pt x="6482" y="2771"/>
                    <a:pt x="6482" y="2771"/>
                    <a:pt x="6482" y="2771"/>
                  </a:cubicBezTo>
                  <a:cubicBezTo>
                    <a:pt x="6497" y="2768"/>
                    <a:pt x="6497" y="2768"/>
                    <a:pt x="6497" y="2768"/>
                  </a:cubicBezTo>
                  <a:lnTo>
                    <a:pt x="6154" y="2621"/>
                  </a:lnTo>
                  <a:close/>
                </a:path>
              </a:pathLst>
            </a:custGeom>
            <a:solidFill>
              <a:srgbClr val="C6C8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0" name="Rectangle 29"/>
            <p:cNvSpPr>
              <a:spLocks noChangeArrowheads="1"/>
            </p:cNvSpPr>
            <p:nvPr userDrawn="1"/>
          </p:nvSpPr>
          <p:spPr bwMode="auto">
            <a:xfrm>
              <a:off x="12295875" y="4489591"/>
              <a:ext cx="1604" cy="14431"/>
            </a:xfrm>
            <a:prstGeom prst="rect">
              <a:avLst/>
            </a:prstGeom>
            <a:solidFill>
              <a:srgbClr val="C6C7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1" name="Freeform 30"/>
            <p:cNvSpPr>
              <a:spLocks/>
            </p:cNvSpPr>
            <p:nvPr userDrawn="1"/>
          </p:nvSpPr>
          <p:spPr bwMode="auto">
            <a:xfrm>
              <a:off x="1767786" y="0"/>
              <a:ext cx="9769670" cy="4168906"/>
            </a:xfrm>
            <a:custGeom>
              <a:avLst/>
              <a:gdLst>
                <a:gd name="T0" fmla="*/ 5896 w 6408"/>
                <a:gd name="T1" fmla="*/ 2511 h 2732"/>
                <a:gd name="T2" fmla="*/ 5589 w 6408"/>
                <a:gd name="T3" fmla="*/ 2387 h 2732"/>
                <a:gd name="T4" fmla="*/ 4891 w 6408"/>
                <a:gd name="T5" fmla="*/ 2069 h 2732"/>
                <a:gd name="T6" fmla="*/ 4206 w 6408"/>
                <a:gd name="T7" fmla="*/ 1340 h 2732"/>
                <a:gd name="T8" fmla="*/ 3376 w 6408"/>
                <a:gd name="T9" fmla="*/ 538 h 2732"/>
                <a:gd name="T10" fmla="*/ 2177 w 6408"/>
                <a:gd name="T11" fmla="*/ 474 h 2732"/>
                <a:gd name="T12" fmla="*/ 1195 w 6408"/>
                <a:gd name="T13" fmla="*/ 480 h 2732"/>
                <a:gd name="T14" fmla="*/ 469 w 6408"/>
                <a:gd name="T15" fmla="*/ 199 h 2732"/>
                <a:gd name="T16" fmla="*/ 186 w 6408"/>
                <a:gd name="T17" fmla="*/ 70 h 2732"/>
                <a:gd name="T18" fmla="*/ 22 w 6408"/>
                <a:gd name="T19" fmla="*/ 0 h 2732"/>
                <a:gd name="T20" fmla="*/ 0 w 6408"/>
                <a:gd name="T21" fmla="*/ 0 h 2732"/>
                <a:gd name="T22" fmla="*/ 183 w 6408"/>
                <a:gd name="T23" fmla="*/ 78 h 2732"/>
                <a:gd name="T24" fmla="*/ 465 w 6408"/>
                <a:gd name="T25" fmla="*/ 206 h 2732"/>
                <a:gd name="T26" fmla="*/ 1194 w 6408"/>
                <a:gd name="T27" fmla="*/ 488 h 2732"/>
                <a:gd name="T28" fmla="*/ 2178 w 6408"/>
                <a:gd name="T29" fmla="*/ 482 h 2732"/>
                <a:gd name="T30" fmla="*/ 3372 w 6408"/>
                <a:gd name="T31" fmla="*/ 546 h 2732"/>
                <a:gd name="T32" fmla="*/ 4199 w 6408"/>
                <a:gd name="T33" fmla="*/ 1345 h 2732"/>
                <a:gd name="T34" fmla="*/ 4886 w 6408"/>
                <a:gd name="T35" fmla="*/ 2076 h 2732"/>
                <a:gd name="T36" fmla="*/ 5586 w 6408"/>
                <a:gd name="T37" fmla="*/ 2395 h 2732"/>
                <a:gd name="T38" fmla="*/ 5892 w 6408"/>
                <a:gd name="T39" fmla="*/ 2518 h 2732"/>
                <a:gd name="T40" fmla="*/ 6393 w 6408"/>
                <a:gd name="T41" fmla="*/ 2732 h 2732"/>
                <a:gd name="T42" fmla="*/ 6408 w 6408"/>
                <a:gd name="T43" fmla="*/ 2730 h 2732"/>
                <a:gd name="T44" fmla="*/ 5896 w 6408"/>
                <a:gd name="T45" fmla="*/ 2511 h 27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408" h="2732">
                  <a:moveTo>
                    <a:pt x="5896" y="2511"/>
                  </a:moveTo>
                  <a:cubicBezTo>
                    <a:pt x="5796" y="2468"/>
                    <a:pt x="5691" y="2427"/>
                    <a:pt x="5589" y="2387"/>
                  </a:cubicBezTo>
                  <a:cubicBezTo>
                    <a:pt x="5351" y="2294"/>
                    <a:pt x="5105" y="2198"/>
                    <a:pt x="4891" y="2069"/>
                  </a:cubicBezTo>
                  <a:cubicBezTo>
                    <a:pt x="4603" y="1895"/>
                    <a:pt x="4401" y="1613"/>
                    <a:pt x="4206" y="1340"/>
                  </a:cubicBezTo>
                  <a:cubicBezTo>
                    <a:pt x="3980" y="1023"/>
                    <a:pt x="3746" y="695"/>
                    <a:pt x="3376" y="538"/>
                  </a:cubicBezTo>
                  <a:cubicBezTo>
                    <a:pt x="2997" y="377"/>
                    <a:pt x="2580" y="426"/>
                    <a:pt x="2177" y="474"/>
                  </a:cubicBezTo>
                  <a:cubicBezTo>
                    <a:pt x="1850" y="512"/>
                    <a:pt x="1512" y="552"/>
                    <a:pt x="1195" y="480"/>
                  </a:cubicBezTo>
                  <a:cubicBezTo>
                    <a:pt x="949" y="423"/>
                    <a:pt x="705" y="309"/>
                    <a:pt x="469" y="199"/>
                  </a:cubicBezTo>
                  <a:cubicBezTo>
                    <a:pt x="376" y="155"/>
                    <a:pt x="280" y="110"/>
                    <a:pt x="186" y="7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83" y="78"/>
                    <a:pt x="183" y="78"/>
                    <a:pt x="183" y="78"/>
                  </a:cubicBezTo>
                  <a:cubicBezTo>
                    <a:pt x="276" y="118"/>
                    <a:pt x="372" y="163"/>
                    <a:pt x="465" y="206"/>
                  </a:cubicBezTo>
                  <a:cubicBezTo>
                    <a:pt x="702" y="317"/>
                    <a:pt x="946" y="432"/>
                    <a:pt x="1194" y="488"/>
                  </a:cubicBezTo>
                  <a:cubicBezTo>
                    <a:pt x="1512" y="561"/>
                    <a:pt x="1851" y="521"/>
                    <a:pt x="2178" y="482"/>
                  </a:cubicBezTo>
                  <a:cubicBezTo>
                    <a:pt x="2580" y="434"/>
                    <a:pt x="2996" y="385"/>
                    <a:pt x="3372" y="546"/>
                  </a:cubicBezTo>
                  <a:cubicBezTo>
                    <a:pt x="3740" y="702"/>
                    <a:pt x="3974" y="1029"/>
                    <a:pt x="4199" y="1345"/>
                  </a:cubicBezTo>
                  <a:cubicBezTo>
                    <a:pt x="4395" y="1618"/>
                    <a:pt x="4597" y="1901"/>
                    <a:pt x="4886" y="2076"/>
                  </a:cubicBezTo>
                  <a:cubicBezTo>
                    <a:pt x="5101" y="2206"/>
                    <a:pt x="5347" y="2302"/>
                    <a:pt x="5586" y="2395"/>
                  </a:cubicBezTo>
                  <a:cubicBezTo>
                    <a:pt x="5688" y="2435"/>
                    <a:pt x="5793" y="2476"/>
                    <a:pt x="5892" y="2518"/>
                  </a:cubicBezTo>
                  <a:cubicBezTo>
                    <a:pt x="6393" y="2732"/>
                    <a:pt x="6393" y="2732"/>
                    <a:pt x="6393" y="2732"/>
                  </a:cubicBezTo>
                  <a:cubicBezTo>
                    <a:pt x="6408" y="2730"/>
                    <a:pt x="6408" y="2730"/>
                    <a:pt x="6408" y="2730"/>
                  </a:cubicBezTo>
                  <a:lnTo>
                    <a:pt x="5896" y="2511"/>
                  </a:lnTo>
                  <a:close/>
                </a:path>
              </a:pathLst>
            </a:custGeom>
            <a:solidFill>
              <a:srgbClr val="C6C7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2" name="Freeform 31"/>
            <p:cNvSpPr>
              <a:spLocks/>
            </p:cNvSpPr>
            <p:nvPr userDrawn="1"/>
          </p:nvSpPr>
          <p:spPr bwMode="auto">
            <a:xfrm>
              <a:off x="12295875" y="4293973"/>
              <a:ext cx="0" cy="9621"/>
            </a:xfrm>
            <a:custGeom>
              <a:avLst/>
              <a:gdLst>
                <a:gd name="T0" fmla="*/ 6 h 6"/>
                <a:gd name="T1" fmla="*/ 0 h 6"/>
                <a:gd name="T2" fmla="*/ 6 h 6"/>
                <a:gd name="T3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C5C7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3" name="Freeform 32"/>
            <p:cNvSpPr>
              <a:spLocks/>
            </p:cNvSpPr>
            <p:nvPr userDrawn="1"/>
          </p:nvSpPr>
          <p:spPr bwMode="auto">
            <a:xfrm>
              <a:off x="2232779" y="0"/>
              <a:ext cx="9636585" cy="4111183"/>
            </a:xfrm>
            <a:custGeom>
              <a:avLst/>
              <a:gdLst>
                <a:gd name="T0" fmla="*/ 5638 w 6320"/>
                <a:gd name="T1" fmla="*/ 2400 h 2694"/>
                <a:gd name="T2" fmla="*/ 5330 w 6320"/>
                <a:gd name="T3" fmla="*/ 2275 h 2694"/>
                <a:gd name="T4" fmla="*/ 4634 w 6320"/>
                <a:gd name="T5" fmla="*/ 1960 h 2694"/>
                <a:gd name="T6" fmla="*/ 3947 w 6320"/>
                <a:gd name="T7" fmla="*/ 1278 h 2694"/>
                <a:gd name="T8" fmla="*/ 3122 w 6320"/>
                <a:gd name="T9" fmla="*/ 527 h 2694"/>
                <a:gd name="T10" fmla="*/ 1923 w 6320"/>
                <a:gd name="T11" fmla="*/ 413 h 2694"/>
                <a:gd name="T12" fmla="*/ 939 w 6320"/>
                <a:gd name="T13" fmla="*/ 372 h 2694"/>
                <a:gd name="T14" fmla="*/ 214 w 6320"/>
                <a:gd name="T15" fmla="*/ 88 h 2694"/>
                <a:gd name="T16" fmla="*/ 21 w 6320"/>
                <a:gd name="T17" fmla="*/ 0 h 2694"/>
                <a:gd name="T18" fmla="*/ 0 w 6320"/>
                <a:gd name="T19" fmla="*/ 0 h 2694"/>
                <a:gd name="T20" fmla="*/ 210 w 6320"/>
                <a:gd name="T21" fmla="*/ 96 h 2694"/>
                <a:gd name="T22" fmla="*/ 936 w 6320"/>
                <a:gd name="T23" fmla="*/ 380 h 2694"/>
                <a:gd name="T24" fmla="*/ 1923 w 6320"/>
                <a:gd name="T25" fmla="*/ 422 h 2694"/>
                <a:gd name="T26" fmla="*/ 3119 w 6320"/>
                <a:gd name="T27" fmla="*/ 535 h 2694"/>
                <a:gd name="T28" fmla="*/ 3940 w 6320"/>
                <a:gd name="T29" fmla="*/ 1283 h 2694"/>
                <a:gd name="T30" fmla="*/ 4629 w 6320"/>
                <a:gd name="T31" fmla="*/ 1967 h 2694"/>
                <a:gd name="T32" fmla="*/ 5327 w 6320"/>
                <a:gd name="T33" fmla="*/ 2283 h 2694"/>
                <a:gd name="T34" fmla="*/ 5635 w 6320"/>
                <a:gd name="T35" fmla="*/ 2408 h 2694"/>
                <a:gd name="T36" fmla="*/ 6305 w 6320"/>
                <a:gd name="T37" fmla="*/ 2694 h 2694"/>
                <a:gd name="T38" fmla="*/ 6320 w 6320"/>
                <a:gd name="T39" fmla="*/ 2691 h 2694"/>
                <a:gd name="T40" fmla="*/ 5638 w 6320"/>
                <a:gd name="T41" fmla="*/ 2400 h 2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320" h="2694">
                  <a:moveTo>
                    <a:pt x="5638" y="2400"/>
                  </a:moveTo>
                  <a:cubicBezTo>
                    <a:pt x="5538" y="2357"/>
                    <a:pt x="5432" y="2315"/>
                    <a:pt x="5330" y="2275"/>
                  </a:cubicBezTo>
                  <a:cubicBezTo>
                    <a:pt x="5094" y="2182"/>
                    <a:pt x="4849" y="2086"/>
                    <a:pt x="4634" y="1960"/>
                  </a:cubicBezTo>
                  <a:cubicBezTo>
                    <a:pt x="4352" y="1795"/>
                    <a:pt x="4146" y="1532"/>
                    <a:pt x="3947" y="1278"/>
                  </a:cubicBezTo>
                  <a:cubicBezTo>
                    <a:pt x="3717" y="983"/>
                    <a:pt x="3479" y="679"/>
                    <a:pt x="3122" y="527"/>
                  </a:cubicBezTo>
                  <a:cubicBezTo>
                    <a:pt x="2744" y="366"/>
                    <a:pt x="2326" y="390"/>
                    <a:pt x="1923" y="413"/>
                  </a:cubicBezTo>
                  <a:cubicBezTo>
                    <a:pt x="1595" y="432"/>
                    <a:pt x="1255" y="452"/>
                    <a:pt x="939" y="372"/>
                  </a:cubicBezTo>
                  <a:cubicBezTo>
                    <a:pt x="692" y="310"/>
                    <a:pt x="449" y="197"/>
                    <a:pt x="214" y="88"/>
                  </a:cubicBezTo>
                  <a:cubicBezTo>
                    <a:pt x="150" y="58"/>
                    <a:pt x="86" y="29"/>
                    <a:pt x="2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0" y="31"/>
                    <a:pt x="141" y="64"/>
                    <a:pt x="210" y="96"/>
                  </a:cubicBezTo>
                  <a:cubicBezTo>
                    <a:pt x="445" y="205"/>
                    <a:pt x="689" y="318"/>
                    <a:pt x="936" y="380"/>
                  </a:cubicBezTo>
                  <a:cubicBezTo>
                    <a:pt x="1254" y="460"/>
                    <a:pt x="1594" y="441"/>
                    <a:pt x="1923" y="422"/>
                  </a:cubicBezTo>
                  <a:cubicBezTo>
                    <a:pt x="2326" y="399"/>
                    <a:pt x="2743" y="374"/>
                    <a:pt x="3119" y="535"/>
                  </a:cubicBezTo>
                  <a:cubicBezTo>
                    <a:pt x="3473" y="686"/>
                    <a:pt x="3710" y="990"/>
                    <a:pt x="3940" y="1283"/>
                  </a:cubicBezTo>
                  <a:cubicBezTo>
                    <a:pt x="4140" y="1538"/>
                    <a:pt x="4346" y="1801"/>
                    <a:pt x="4629" y="1967"/>
                  </a:cubicBezTo>
                  <a:cubicBezTo>
                    <a:pt x="4846" y="2094"/>
                    <a:pt x="5090" y="2190"/>
                    <a:pt x="5327" y="2283"/>
                  </a:cubicBezTo>
                  <a:cubicBezTo>
                    <a:pt x="5429" y="2323"/>
                    <a:pt x="5535" y="2365"/>
                    <a:pt x="5635" y="2408"/>
                  </a:cubicBezTo>
                  <a:cubicBezTo>
                    <a:pt x="6305" y="2694"/>
                    <a:pt x="6305" y="2694"/>
                    <a:pt x="6305" y="2694"/>
                  </a:cubicBezTo>
                  <a:cubicBezTo>
                    <a:pt x="6320" y="2691"/>
                    <a:pt x="6320" y="2691"/>
                    <a:pt x="6320" y="2691"/>
                  </a:cubicBezTo>
                  <a:lnTo>
                    <a:pt x="5638" y="2400"/>
                  </a:lnTo>
                  <a:close/>
                </a:path>
              </a:pathLst>
            </a:custGeom>
            <a:solidFill>
              <a:srgbClr val="C5C7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44" name="Freeform 33"/>
            <p:cNvSpPr>
              <a:spLocks/>
            </p:cNvSpPr>
            <p:nvPr userDrawn="1"/>
          </p:nvSpPr>
          <p:spPr bwMode="auto">
            <a:xfrm>
              <a:off x="2676927" y="0"/>
              <a:ext cx="9524346" cy="4053460"/>
            </a:xfrm>
            <a:custGeom>
              <a:avLst/>
              <a:gdLst>
                <a:gd name="T0" fmla="*/ 5394 w 6246"/>
                <a:gd name="T1" fmla="*/ 2289 h 2656"/>
                <a:gd name="T2" fmla="*/ 5084 w 6246"/>
                <a:gd name="T3" fmla="*/ 2163 h 2656"/>
                <a:gd name="T4" fmla="*/ 4389 w 6246"/>
                <a:gd name="T5" fmla="*/ 1851 h 2656"/>
                <a:gd name="T6" fmla="*/ 3702 w 6246"/>
                <a:gd name="T7" fmla="*/ 1217 h 2656"/>
                <a:gd name="T8" fmla="*/ 2884 w 6246"/>
                <a:gd name="T9" fmla="*/ 519 h 2656"/>
                <a:gd name="T10" fmla="*/ 1682 w 6246"/>
                <a:gd name="T11" fmla="*/ 354 h 2656"/>
                <a:gd name="T12" fmla="*/ 695 w 6246"/>
                <a:gd name="T13" fmla="*/ 264 h 2656"/>
                <a:gd name="T14" fmla="*/ 21 w 6246"/>
                <a:gd name="T15" fmla="*/ 0 h 2656"/>
                <a:gd name="T16" fmla="*/ 0 w 6246"/>
                <a:gd name="T17" fmla="*/ 0 h 2656"/>
                <a:gd name="T18" fmla="*/ 692 w 6246"/>
                <a:gd name="T19" fmla="*/ 273 h 2656"/>
                <a:gd name="T20" fmla="*/ 1682 w 6246"/>
                <a:gd name="T21" fmla="*/ 363 h 2656"/>
                <a:gd name="T22" fmla="*/ 2880 w 6246"/>
                <a:gd name="T23" fmla="*/ 527 h 2656"/>
                <a:gd name="T24" fmla="*/ 3696 w 6246"/>
                <a:gd name="T25" fmla="*/ 1223 h 2656"/>
                <a:gd name="T26" fmla="*/ 4385 w 6246"/>
                <a:gd name="T27" fmla="*/ 1858 h 2656"/>
                <a:gd name="T28" fmla="*/ 5081 w 6246"/>
                <a:gd name="T29" fmla="*/ 2171 h 2656"/>
                <a:gd name="T30" fmla="*/ 5390 w 6246"/>
                <a:gd name="T31" fmla="*/ 2297 h 2656"/>
                <a:gd name="T32" fmla="*/ 6230 w 6246"/>
                <a:gd name="T33" fmla="*/ 2656 h 2656"/>
                <a:gd name="T34" fmla="*/ 6246 w 6246"/>
                <a:gd name="T35" fmla="*/ 2653 h 2656"/>
                <a:gd name="T36" fmla="*/ 5394 w 6246"/>
                <a:gd name="T37" fmla="*/ 2289 h 2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246" h="2656">
                  <a:moveTo>
                    <a:pt x="5394" y="2289"/>
                  </a:moveTo>
                  <a:cubicBezTo>
                    <a:pt x="5292" y="2246"/>
                    <a:pt x="5186" y="2204"/>
                    <a:pt x="5084" y="2163"/>
                  </a:cubicBezTo>
                  <a:cubicBezTo>
                    <a:pt x="4849" y="2070"/>
                    <a:pt x="4607" y="1974"/>
                    <a:pt x="4389" y="1851"/>
                  </a:cubicBezTo>
                  <a:cubicBezTo>
                    <a:pt x="4115" y="1695"/>
                    <a:pt x="3905" y="1452"/>
                    <a:pt x="3702" y="1217"/>
                  </a:cubicBezTo>
                  <a:cubicBezTo>
                    <a:pt x="3468" y="946"/>
                    <a:pt x="3226" y="666"/>
                    <a:pt x="2884" y="519"/>
                  </a:cubicBezTo>
                  <a:cubicBezTo>
                    <a:pt x="2505" y="357"/>
                    <a:pt x="2087" y="355"/>
                    <a:pt x="1682" y="354"/>
                  </a:cubicBezTo>
                  <a:cubicBezTo>
                    <a:pt x="1353" y="353"/>
                    <a:pt x="1012" y="352"/>
                    <a:pt x="695" y="264"/>
                  </a:cubicBezTo>
                  <a:cubicBezTo>
                    <a:pt x="466" y="201"/>
                    <a:pt x="240" y="100"/>
                    <a:pt x="2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25" y="103"/>
                    <a:pt x="457" y="208"/>
                    <a:pt x="692" y="273"/>
                  </a:cubicBezTo>
                  <a:cubicBezTo>
                    <a:pt x="1011" y="361"/>
                    <a:pt x="1352" y="362"/>
                    <a:pt x="1682" y="363"/>
                  </a:cubicBezTo>
                  <a:cubicBezTo>
                    <a:pt x="2086" y="364"/>
                    <a:pt x="2503" y="366"/>
                    <a:pt x="2880" y="527"/>
                  </a:cubicBezTo>
                  <a:cubicBezTo>
                    <a:pt x="3221" y="673"/>
                    <a:pt x="3462" y="952"/>
                    <a:pt x="3696" y="1223"/>
                  </a:cubicBezTo>
                  <a:cubicBezTo>
                    <a:pt x="3899" y="1458"/>
                    <a:pt x="4109" y="1702"/>
                    <a:pt x="4385" y="1858"/>
                  </a:cubicBezTo>
                  <a:cubicBezTo>
                    <a:pt x="4603" y="1982"/>
                    <a:pt x="4846" y="2078"/>
                    <a:pt x="5081" y="2171"/>
                  </a:cubicBezTo>
                  <a:cubicBezTo>
                    <a:pt x="5183" y="2212"/>
                    <a:pt x="5289" y="2254"/>
                    <a:pt x="5390" y="2297"/>
                  </a:cubicBezTo>
                  <a:cubicBezTo>
                    <a:pt x="6230" y="2656"/>
                    <a:pt x="6230" y="2656"/>
                    <a:pt x="6230" y="2656"/>
                  </a:cubicBezTo>
                  <a:cubicBezTo>
                    <a:pt x="6246" y="2653"/>
                    <a:pt x="6246" y="2653"/>
                    <a:pt x="6246" y="2653"/>
                  </a:cubicBezTo>
                  <a:lnTo>
                    <a:pt x="5394" y="2289"/>
                  </a:lnTo>
                  <a:close/>
                </a:path>
              </a:pathLst>
            </a:custGeom>
            <a:solidFill>
              <a:srgbClr val="C5C6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20" name="Freeform: Shape 119"/>
            <p:cNvSpPr>
              <a:spLocks/>
            </p:cNvSpPr>
            <p:nvPr userDrawn="1"/>
          </p:nvSpPr>
          <p:spPr bwMode="auto">
            <a:xfrm>
              <a:off x="3133904" y="0"/>
              <a:ext cx="9059296" cy="3860342"/>
            </a:xfrm>
            <a:custGeom>
              <a:avLst/>
              <a:gdLst>
                <a:gd name="connsiteX0" fmla="*/ 0 w 9059296"/>
                <a:gd name="connsiteY0" fmla="*/ 0 h 3860342"/>
                <a:gd name="connsiteX1" fmla="*/ 35068 w 9059296"/>
                <a:gd name="connsiteY1" fmla="*/ 0 h 3860342"/>
                <a:gd name="connsiteX2" fmla="*/ 676971 w 9059296"/>
                <a:gd name="connsiteY2" fmla="*/ 238014 h 3860342"/>
                <a:gd name="connsiteX3" fmla="*/ 2189481 w 9059296"/>
                <a:gd name="connsiteY3" fmla="*/ 451616 h 3860342"/>
                <a:gd name="connsiteX4" fmla="*/ 4025230 w 9059296"/>
                <a:gd name="connsiteY4" fmla="*/ 781173 h 3860342"/>
                <a:gd name="connsiteX5" fmla="*/ 5260243 w 9059296"/>
                <a:gd name="connsiteY5" fmla="*/ 1763743 h 3860342"/>
                <a:gd name="connsiteX6" fmla="*/ 6309242 w 9059296"/>
                <a:gd name="connsiteY6" fmla="*/ 2657820 h 3860342"/>
                <a:gd name="connsiteX7" fmla="*/ 7365865 w 9059296"/>
                <a:gd name="connsiteY7" fmla="*/ 3129271 h 3860342"/>
                <a:gd name="connsiteX8" fmla="*/ 7840049 w 9059296"/>
                <a:gd name="connsiteY8" fmla="*/ 3323038 h 3860342"/>
                <a:gd name="connsiteX9" fmla="*/ 8929279 w 9059296"/>
                <a:gd name="connsiteY9" fmla="*/ 3789445 h 3860342"/>
                <a:gd name="connsiteX10" fmla="*/ 9059296 w 9059296"/>
                <a:gd name="connsiteY10" fmla="*/ 3845119 h 3860342"/>
                <a:gd name="connsiteX11" fmla="*/ 9059296 w 9059296"/>
                <a:gd name="connsiteY11" fmla="*/ 3860342 h 3860342"/>
                <a:gd name="connsiteX12" fmla="*/ 8995968 w 9059296"/>
                <a:gd name="connsiteY12" fmla="*/ 3833204 h 3860342"/>
                <a:gd name="connsiteX13" fmla="*/ 7833950 w 9059296"/>
                <a:gd name="connsiteY13" fmla="*/ 3335244 h 3860342"/>
                <a:gd name="connsiteX14" fmla="*/ 7361290 w 9059296"/>
                <a:gd name="connsiteY14" fmla="*/ 3141477 h 3860342"/>
                <a:gd name="connsiteX15" fmla="*/ 6303144 w 9059296"/>
                <a:gd name="connsiteY15" fmla="*/ 2670026 h 3860342"/>
                <a:gd name="connsiteX16" fmla="*/ 5249570 w 9059296"/>
                <a:gd name="connsiteY16" fmla="*/ 1774423 h 3860342"/>
                <a:gd name="connsiteX17" fmla="*/ 4019131 w 9059296"/>
                <a:gd name="connsiteY17" fmla="*/ 794905 h 3860342"/>
                <a:gd name="connsiteX18" fmla="*/ 2187956 w 9059296"/>
                <a:gd name="connsiteY18" fmla="*/ 465347 h 3860342"/>
                <a:gd name="connsiteX19" fmla="*/ 673921 w 9059296"/>
                <a:gd name="connsiteY19" fmla="*/ 251745 h 3860342"/>
                <a:gd name="connsiteX20" fmla="*/ 0 w 9059296"/>
                <a:gd name="connsiteY20" fmla="*/ 0 h 3860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059296" h="3860342">
                  <a:moveTo>
                    <a:pt x="0" y="0"/>
                  </a:moveTo>
                  <a:cubicBezTo>
                    <a:pt x="0" y="0"/>
                    <a:pt x="0" y="0"/>
                    <a:pt x="35068" y="0"/>
                  </a:cubicBezTo>
                  <a:cubicBezTo>
                    <a:pt x="247003" y="90018"/>
                    <a:pt x="460462" y="173933"/>
                    <a:pt x="676971" y="238014"/>
                  </a:cubicBezTo>
                  <a:cubicBezTo>
                    <a:pt x="1163352" y="384484"/>
                    <a:pt x="1684803" y="419576"/>
                    <a:pt x="2189481" y="451616"/>
                  </a:cubicBezTo>
                  <a:cubicBezTo>
                    <a:pt x="2806988" y="491285"/>
                    <a:pt x="3444316" y="532480"/>
                    <a:pt x="4025230" y="781173"/>
                  </a:cubicBezTo>
                  <a:cubicBezTo>
                    <a:pt x="4525334" y="996301"/>
                    <a:pt x="4898887" y="1386888"/>
                    <a:pt x="5260243" y="1763743"/>
                  </a:cubicBezTo>
                  <a:cubicBezTo>
                    <a:pt x="5575858" y="2093301"/>
                    <a:pt x="5900620" y="2433538"/>
                    <a:pt x="6309242" y="2657820"/>
                  </a:cubicBezTo>
                  <a:cubicBezTo>
                    <a:pt x="6644678" y="2839382"/>
                    <a:pt x="7010608" y="2987378"/>
                    <a:pt x="7365865" y="3129271"/>
                  </a:cubicBezTo>
                  <a:cubicBezTo>
                    <a:pt x="7522910" y="3191826"/>
                    <a:pt x="7684529" y="3255906"/>
                    <a:pt x="7840049" y="3323038"/>
                  </a:cubicBezTo>
                  <a:cubicBezTo>
                    <a:pt x="7840049" y="3323038"/>
                    <a:pt x="7840049" y="3323038"/>
                    <a:pt x="8929279" y="3789445"/>
                  </a:cubicBezTo>
                  <a:lnTo>
                    <a:pt x="9059296" y="3845119"/>
                  </a:lnTo>
                  <a:lnTo>
                    <a:pt x="9059296" y="3860342"/>
                  </a:lnTo>
                  <a:lnTo>
                    <a:pt x="8995968" y="3833204"/>
                  </a:lnTo>
                  <a:cubicBezTo>
                    <a:pt x="8829966" y="3762067"/>
                    <a:pt x="8497961" y="3619793"/>
                    <a:pt x="7833950" y="3335244"/>
                  </a:cubicBezTo>
                  <a:cubicBezTo>
                    <a:pt x="7678430" y="3269638"/>
                    <a:pt x="7516811" y="3204031"/>
                    <a:pt x="7361290" y="3141477"/>
                  </a:cubicBezTo>
                  <a:cubicBezTo>
                    <a:pt x="7006034" y="2999584"/>
                    <a:pt x="6638579" y="2853114"/>
                    <a:pt x="6303144" y="2670026"/>
                  </a:cubicBezTo>
                  <a:cubicBezTo>
                    <a:pt x="5892997" y="2445744"/>
                    <a:pt x="5565184" y="2103981"/>
                    <a:pt x="5249570" y="1774423"/>
                  </a:cubicBezTo>
                  <a:cubicBezTo>
                    <a:pt x="4889739" y="1397568"/>
                    <a:pt x="4516186" y="1008507"/>
                    <a:pt x="4019131" y="794905"/>
                  </a:cubicBezTo>
                  <a:cubicBezTo>
                    <a:pt x="3441266" y="546211"/>
                    <a:pt x="2803938" y="505016"/>
                    <a:pt x="2187956" y="465347"/>
                  </a:cubicBezTo>
                  <a:cubicBezTo>
                    <a:pt x="1683278" y="433307"/>
                    <a:pt x="1161828" y="398215"/>
                    <a:pt x="673921" y="251745"/>
                  </a:cubicBezTo>
                  <a:cubicBezTo>
                    <a:pt x="446740" y="183088"/>
                    <a:pt x="221083" y="94595"/>
                    <a:pt x="0" y="0"/>
                  </a:cubicBezTo>
                  <a:close/>
                </a:path>
              </a:pathLst>
            </a:custGeom>
            <a:solidFill>
              <a:srgbClr val="C4C6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16" name="Freeform: Shape 115"/>
            <p:cNvSpPr>
              <a:spLocks/>
            </p:cNvSpPr>
            <p:nvPr userDrawn="1"/>
          </p:nvSpPr>
          <p:spPr bwMode="auto">
            <a:xfrm>
              <a:off x="3630966" y="1"/>
              <a:ext cx="8562234" cy="3661559"/>
            </a:xfrm>
            <a:custGeom>
              <a:avLst/>
              <a:gdLst>
                <a:gd name="connsiteX0" fmla="*/ 0 w 8562234"/>
                <a:gd name="connsiteY0" fmla="*/ 0 h 3661559"/>
                <a:gd name="connsiteX1" fmla="*/ 39643 w 8562234"/>
                <a:gd name="connsiteY1" fmla="*/ 0 h 3661559"/>
                <a:gd name="connsiteX2" fmla="*/ 254626 w 8562234"/>
                <a:gd name="connsiteY2" fmla="*/ 74782 h 3661559"/>
                <a:gd name="connsiteX3" fmla="*/ 1773234 w 8562234"/>
                <a:gd name="connsiteY3" fmla="*/ 363226 h 3661559"/>
                <a:gd name="connsiteX4" fmla="*/ 3612031 w 8562234"/>
                <a:gd name="connsiteY4" fmla="*/ 772237 h 3661559"/>
                <a:gd name="connsiteX5" fmla="*/ 4834846 w 8562234"/>
                <a:gd name="connsiteY5" fmla="*/ 1672671 h 3661559"/>
                <a:gd name="connsiteX6" fmla="*/ 5886894 w 8562234"/>
                <a:gd name="connsiteY6" fmla="*/ 2492219 h 3661559"/>
                <a:gd name="connsiteX7" fmla="*/ 6937417 w 8562234"/>
                <a:gd name="connsiteY7" fmla="*/ 2957698 h 3661559"/>
                <a:gd name="connsiteX8" fmla="*/ 7414650 w 8562234"/>
                <a:gd name="connsiteY8" fmla="*/ 3154572 h 3661559"/>
                <a:gd name="connsiteX9" fmla="*/ 8444833 w 8562234"/>
                <a:gd name="connsiteY9" fmla="*/ 3595961 h 3661559"/>
                <a:gd name="connsiteX10" fmla="*/ 8562234 w 8562234"/>
                <a:gd name="connsiteY10" fmla="*/ 3646262 h 3661559"/>
                <a:gd name="connsiteX11" fmla="*/ 8562234 w 8562234"/>
                <a:gd name="connsiteY11" fmla="*/ 3661559 h 3661559"/>
                <a:gd name="connsiteX12" fmla="*/ 8508056 w 8562234"/>
                <a:gd name="connsiteY12" fmla="*/ 3638365 h 3661559"/>
                <a:gd name="connsiteX13" fmla="*/ 7410076 w 8562234"/>
                <a:gd name="connsiteY13" fmla="*/ 3168308 h 3661559"/>
                <a:gd name="connsiteX14" fmla="*/ 6932843 w 8562234"/>
                <a:gd name="connsiteY14" fmla="*/ 2971433 h 3661559"/>
                <a:gd name="connsiteX15" fmla="*/ 5879270 w 8562234"/>
                <a:gd name="connsiteY15" fmla="*/ 2504428 h 3661559"/>
                <a:gd name="connsiteX16" fmla="*/ 4825698 w 8562234"/>
                <a:gd name="connsiteY16" fmla="*/ 1683354 h 3661559"/>
                <a:gd name="connsiteX17" fmla="*/ 3605932 w 8562234"/>
                <a:gd name="connsiteY17" fmla="*/ 785972 h 3661559"/>
                <a:gd name="connsiteX18" fmla="*/ 1771710 w 8562234"/>
                <a:gd name="connsiteY18" fmla="*/ 378488 h 3661559"/>
                <a:gd name="connsiteX19" fmla="*/ 250052 w 8562234"/>
                <a:gd name="connsiteY19" fmla="*/ 88517 h 3661559"/>
                <a:gd name="connsiteX20" fmla="*/ 0 w 8562234"/>
                <a:gd name="connsiteY20" fmla="*/ 0 h 3661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8562234" h="3661559">
                  <a:moveTo>
                    <a:pt x="0" y="0"/>
                  </a:moveTo>
                  <a:cubicBezTo>
                    <a:pt x="0" y="0"/>
                    <a:pt x="0" y="0"/>
                    <a:pt x="39643" y="0"/>
                  </a:cubicBezTo>
                  <a:cubicBezTo>
                    <a:pt x="111304" y="25945"/>
                    <a:pt x="182965" y="51890"/>
                    <a:pt x="254626" y="74782"/>
                  </a:cubicBezTo>
                  <a:cubicBezTo>
                    <a:pt x="744057" y="233503"/>
                    <a:pt x="1267032" y="300654"/>
                    <a:pt x="1773234" y="363226"/>
                  </a:cubicBezTo>
                  <a:cubicBezTo>
                    <a:pt x="2390741" y="441060"/>
                    <a:pt x="3028068" y="521947"/>
                    <a:pt x="3612031" y="772237"/>
                  </a:cubicBezTo>
                  <a:cubicBezTo>
                    <a:pt x="4090789" y="978269"/>
                    <a:pt x="4468917" y="1330812"/>
                    <a:pt x="4834846" y="1672671"/>
                  </a:cubicBezTo>
                  <a:cubicBezTo>
                    <a:pt x="5155034" y="1973325"/>
                    <a:pt x="5487420" y="2283135"/>
                    <a:pt x="5886894" y="2492219"/>
                  </a:cubicBezTo>
                  <a:cubicBezTo>
                    <a:pt x="6222330" y="2669254"/>
                    <a:pt x="6586734" y="2815765"/>
                    <a:pt x="6937417" y="2957698"/>
                  </a:cubicBezTo>
                  <a:cubicBezTo>
                    <a:pt x="7095986" y="3021797"/>
                    <a:pt x="7257606" y="3087421"/>
                    <a:pt x="7414650" y="3154572"/>
                  </a:cubicBezTo>
                  <a:cubicBezTo>
                    <a:pt x="7414650" y="3154572"/>
                    <a:pt x="7414650" y="3154572"/>
                    <a:pt x="8444833" y="3595961"/>
                  </a:cubicBezTo>
                  <a:lnTo>
                    <a:pt x="8562234" y="3646262"/>
                  </a:lnTo>
                  <a:lnTo>
                    <a:pt x="8562234" y="3661559"/>
                  </a:lnTo>
                  <a:lnTo>
                    <a:pt x="8508056" y="3638365"/>
                  </a:lnTo>
                  <a:cubicBezTo>
                    <a:pt x="8351202" y="3571214"/>
                    <a:pt x="8037493" y="3436912"/>
                    <a:pt x="7410076" y="3168308"/>
                  </a:cubicBezTo>
                  <a:cubicBezTo>
                    <a:pt x="7253032" y="3099631"/>
                    <a:pt x="7089888" y="3034006"/>
                    <a:pt x="6932843" y="2971433"/>
                  </a:cubicBezTo>
                  <a:cubicBezTo>
                    <a:pt x="6580636" y="2827974"/>
                    <a:pt x="6216230" y="2681463"/>
                    <a:pt x="5879270" y="2504428"/>
                  </a:cubicBezTo>
                  <a:cubicBezTo>
                    <a:pt x="5479797" y="2293818"/>
                    <a:pt x="5147411" y="1984008"/>
                    <a:pt x="4825698" y="1683354"/>
                  </a:cubicBezTo>
                  <a:cubicBezTo>
                    <a:pt x="4459768" y="1343021"/>
                    <a:pt x="4081641" y="990478"/>
                    <a:pt x="3605932" y="785972"/>
                  </a:cubicBezTo>
                  <a:cubicBezTo>
                    <a:pt x="3025019" y="535682"/>
                    <a:pt x="2387691" y="456322"/>
                    <a:pt x="1771710" y="378488"/>
                  </a:cubicBezTo>
                  <a:cubicBezTo>
                    <a:pt x="1265507" y="314389"/>
                    <a:pt x="741008" y="247238"/>
                    <a:pt x="250052" y="88517"/>
                  </a:cubicBezTo>
                  <a:cubicBezTo>
                    <a:pt x="166193" y="61046"/>
                    <a:pt x="82335" y="30523"/>
                    <a:pt x="0" y="0"/>
                  </a:cubicBezTo>
                  <a:close/>
                </a:path>
              </a:pathLst>
            </a:custGeom>
            <a:solidFill>
              <a:srgbClr val="C4C5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18" name="Freeform: Shape 117"/>
            <p:cNvSpPr>
              <a:spLocks/>
            </p:cNvSpPr>
            <p:nvPr userDrawn="1"/>
          </p:nvSpPr>
          <p:spPr bwMode="auto">
            <a:xfrm>
              <a:off x="4188958" y="1"/>
              <a:ext cx="8004242" cy="3467965"/>
            </a:xfrm>
            <a:custGeom>
              <a:avLst/>
              <a:gdLst>
                <a:gd name="connsiteX0" fmla="*/ 0 w 8004242"/>
                <a:gd name="connsiteY0" fmla="*/ 0 h 3467965"/>
                <a:gd name="connsiteX1" fmla="*/ 50316 w 8004242"/>
                <a:gd name="connsiteY1" fmla="*/ 0 h 3467965"/>
                <a:gd name="connsiteX2" fmla="*/ 1299059 w 8004242"/>
                <a:gd name="connsiteY2" fmla="*/ 276214 h 3467965"/>
                <a:gd name="connsiteX3" fmla="*/ 3136342 w 8004242"/>
                <a:gd name="connsiteY3" fmla="*/ 761495 h 3467965"/>
                <a:gd name="connsiteX4" fmla="*/ 4346967 w 8004242"/>
                <a:gd name="connsiteY4" fmla="*/ 1579454 h 3467965"/>
                <a:gd name="connsiteX5" fmla="*/ 5402071 w 8004242"/>
                <a:gd name="connsiteY5" fmla="*/ 2325689 h 3467965"/>
                <a:gd name="connsiteX6" fmla="*/ 7582416 w 8004242"/>
                <a:gd name="connsiteY6" fmla="*/ 3279466 h 3467965"/>
                <a:gd name="connsiteX7" fmla="*/ 8004242 w 8004242"/>
                <a:gd name="connsiteY7" fmla="*/ 3452516 h 3467965"/>
                <a:gd name="connsiteX8" fmla="*/ 8004242 w 8004242"/>
                <a:gd name="connsiteY8" fmla="*/ 3467965 h 3467965"/>
                <a:gd name="connsiteX9" fmla="*/ 7576316 w 8004242"/>
                <a:gd name="connsiteY9" fmla="*/ 3293200 h 3467965"/>
                <a:gd name="connsiteX10" fmla="*/ 5394447 w 8004242"/>
                <a:gd name="connsiteY10" fmla="*/ 2337897 h 3467965"/>
                <a:gd name="connsiteX11" fmla="*/ 4337818 w 8004242"/>
                <a:gd name="connsiteY11" fmla="*/ 1591663 h 3467965"/>
                <a:gd name="connsiteX12" fmla="*/ 3130243 w 8004242"/>
                <a:gd name="connsiteY12" fmla="*/ 775230 h 3467965"/>
                <a:gd name="connsiteX13" fmla="*/ 1296009 w 8004242"/>
                <a:gd name="connsiteY13" fmla="*/ 289948 h 3467965"/>
                <a:gd name="connsiteX14" fmla="*/ 0 w 8004242"/>
                <a:gd name="connsiteY14" fmla="*/ 0 h 3467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004242" h="3467965">
                  <a:moveTo>
                    <a:pt x="0" y="0"/>
                  </a:moveTo>
                  <a:cubicBezTo>
                    <a:pt x="0" y="0"/>
                    <a:pt x="0" y="0"/>
                    <a:pt x="50316" y="0"/>
                  </a:cubicBezTo>
                  <a:cubicBezTo>
                    <a:pt x="460465" y="119031"/>
                    <a:pt x="885861" y="198386"/>
                    <a:pt x="1299059" y="276214"/>
                  </a:cubicBezTo>
                  <a:cubicBezTo>
                    <a:pt x="1913519" y="390667"/>
                    <a:pt x="2550851" y="509698"/>
                    <a:pt x="3136342" y="761495"/>
                  </a:cubicBezTo>
                  <a:cubicBezTo>
                    <a:pt x="3593757" y="958355"/>
                    <a:pt x="3976461" y="1274246"/>
                    <a:pt x="4346967" y="1579454"/>
                  </a:cubicBezTo>
                  <a:cubicBezTo>
                    <a:pt x="4673256" y="1849564"/>
                    <a:pt x="5011744" y="2130356"/>
                    <a:pt x="5402071" y="2325689"/>
                  </a:cubicBezTo>
                  <a:cubicBezTo>
                    <a:pt x="6104965" y="2679731"/>
                    <a:pt x="6856650" y="2984939"/>
                    <a:pt x="7582416" y="3279466"/>
                  </a:cubicBezTo>
                  <a:lnTo>
                    <a:pt x="8004242" y="3452516"/>
                  </a:lnTo>
                  <a:lnTo>
                    <a:pt x="8004242" y="3467965"/>
                  </a:lnTo>
                  <a:lnTo>
                    <a:pt x="7576316" y="3293200"/>
                  </a:lnTo>
                  <a:cubicBezTo>
                    <a:pt x="6850552" y="2998674"/>
                    <a:pt x="6100391" y="2693465"/>
                    <a:pt x="5394447" y="2337897"/>
                  </a:cubicBezTo>
                  <a:cubicBezTo>
                    <a:pt x="5004120" y="2142564"/>
                    <a:pt x="4665632" y="1861772"/>
                    <a:pt x="4337818" y="1591663"/>
                  </a:cubicBezTo>
                  <a:cubicBezTo>
                    <a:pt x="3968837" y="1286454"/>
                    <a:pt x="3586133" y="970563"/>
                    <a:pt x="3130243" y="775230"/>
                  </a:cubicBezTo>
                  <a:cubicBezTo>
                    <a:pt x="2546277" y="523433"/>
                    <a:pt x="1910470" y="405927"/>
                    <a:pt x="1296009" y="289948"/>
                  </a:cubicBezTo>
                  <a:cubicBezTo>
                    <a:pt x="867564" y="210594"/>
                    <a:pt x="425396" y="128188"/>
                    <a:pt x="0" y="0"/>
                  </a:cubicBezTo>
                  <a:close/>
                </a:path>
              </a:pathLst>
            </a:custGeom>
            <a:solidFill>
              <a:srgbClr val="C3C5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14" name="Freeform: Shape 113"/>
            <p:cNvSpPr>
              <a:spLocks/>
            </p:cNvSpPr>
            <p:nvPr userDrawn="1"/>
          </p:nvSpPr>
          <p:spPr bwMode="auto">
            <a:xfrm>
              <a:off x="4780622" y="1"/>
              <a:ext cx="7412579" cy="3266743"/>
            </a:xfrm>
            <a:custGeom>
              <a:avLst/>
              <a:gdLst>
                <a:gd name="connsiteX0" fmla="*/ 0 w 7412579"/>
                <a:gd name="connsiteY0" fmla="*/ 0 h 3266743"/>
                <a:gd name="connsiteX1" fmla="*/ 54890 w 7412579"/>
                <a:gd name="connsiteY1" fmla="*/ 0 h 3266743"/>
                <a:gd name="connsiteX2" fmla="*/ 792845 w 7412579"/>
                <a:gd name="connsiteY2" fmla="*/ 189200 h 3266743"/>
                <a:gd name="connsiteX3" fmla="*/ 2625536 w 7412579"/>
                <a:gd name="connsiteY3" fmla="*/ 749170 h 3266743"/>
                <a:gd name="connsiteX4" fmla="*/ 3822427 w 7412579"/>
                <a:gd name="connsiteY4" fmla="*/ 1484608 h 3266743"/>
                <a:gd name="connsiteX5" fmla="*/ 4882095 w 7412579"/>
                <a:gd name="connsiteY5" fmla="*/ 2159014 h 3266743"/>
                <a:gd name="connsiteX6" fmla="*/ 7057843 w 7412579"/>
                <a:gd name="connsiteY6" fmla="*/ 3103487 h 3266743"/>
                <a:gd name="connsiteX7" fmla="*/ 7412579 w 7412579"/>
                <a:gd name="connsiteY7" fmla="*/ 3250217 h 3266743"/>
                <a:gd name="connsiteX8" fmla="*/ 7412579 w 7412579"/>
                <a:gd name="connsiteY8" fmla="*/ 3266743 h 3266743"/>
                <a:gd name="connsiteX9" fmla="*/ 7053269 w 7412579"/>
                <a:gd name="connsiteY9" fmla="*/ 3117219 h 3266743"/>
                <a:gd name="connsiteX10" fmla="*/ 4875995 w 7412579"/>
                <a:gd name="connsiteY10" fmla="*/ 2171220 h 3266743"/>
                <a:gd name="connsiteX11" fmla="*/ 3814803 w 7412579"/>
                <a:gd name="connsiteY11" fmla="*/ 1496814 h 3266743"/>
                <a:gd name="connsiteX12" fmla="*/ 2620962 w 7412579"/>
                <a:gd name="connsiteY12" fmla="*/ 761377 h 3266743"/>
                <a:gd name="connsiteX13" fmla="*/ 789796 w 7412579"/>
                <a:gd name="connsiteY13" fmla="*/ 202932 h 3266743"/>
                <a:gd name="connsiteX14" fmla="*/ 0 w 7412579"/>
                <a:gd name="connsiteY14" fmla="*/ 0 h 3266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412579" h="3266743">
                  <a:moveTo>
                    <a:pt x="0" y="0"/>
                  </a:moveTo>
                  <a:cubicBezTo>
                    <a:pt x="0" y="0"/>
                    <a:pt x="0" y="0"/>
                    <a:pt x="54890" y="0"/>
                  </a:cubicBezTo>
                  <a:cubicBezTo>
                    <a:pt x="301891" y="67135"/>
                    <a:pt x="548893" y="128168"/>
                    <a:pt x="792845" y="189200"/>
                  </a:cubicBezTo>
                  <a:cubicBezTo>
                    <a:pt x="1404250" y="340254"/>
                    <a:pt x="2037001" y="495887"/>
                    <a:pt x="2625536" y="749170"/>
                  </a:cubicBezTo>
                  <a:cubicBezTo>
                    <a:pt x="3063126" y="936844"/>
                    <a:pt x="3448875" y="1214541"/>
                    <a:pt x="3822427" y="1484608"/>
                  </a:cubicBezTo>
                  <a:cubicBezTo>
                    <a:pt x="4156337" y="1725685"/>
                    <a:pt x="4502443" y="1975917"/>
                    <a:pt x="4882095" y="2159014"/>
                  </a:cubicBezTo>
                  <a:cubicBezTo>
                    <a:pt x="5592605" y="2500794"/>
                    <a:pt x="6338185" y="2807480"/>
                    <a:pt x="7057843" y="3103487"/>
                  </a:cubicBezTo>
                  <a:lnTo>
                    <a:pt x="7412579" y="3250217"/>
                  </a:lnTo>
                  <a:lnTo>
                    <a:pt x="7412579" y="3266743"/>
                  </a:lnTo>
                  <a:lnTo>
                    <a:pt x="7053269" y="3117219"/>
                  </a:lnTo>
                  <a:cubicBezTo>
                    <a:pt x="6332085" y="2821213"/>
                    <a:pt x="5586507" y="2513000"/>
                    <a:pt x="4875995" y="2171220"/>
                  </a:cubicBezTo>
                  <a:cubicBezTo>
                    <a:pt x="4494820" y="1988123"/>
                    <a:pt x="4148713" y="1737892"/>
                    <a:pt x="3814803" y="1496814"/>
                  </a:cubicBezTo>
                  <a:cubicBezTo>
                    <a:pt x="3441252" y="1226747"/>
                    <a:pt x="3055502" y="949051"/>
                    <a:pt x="2620962" y="761377"/>
                  </a:cubicBezTo>
                  <a:cubicBezTo>
                    <a:pt x="2030903" y="509619"/>
                    <a:pt x="1399676" y="353987"/>
                    <a:pt x="789796" y="202932"/>
                  </a:cubicBezTo>
                  <a:cubicBezTo>
                    <a:pt x="529072" y="138848"/>
                    <a:pt x="263774" y="73239"/>
                    <a:pt x="0" y="0"/>
                  </a:cubicBezTo>
                  <a:close/>
                </a:path>
              </a:pathLst>
            </a:custGeom>
            <a:solidFill>
              <a:srgbClr val="C3C4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12" name="Freeform: Shape 111"/>
            <p:cNvSpPr>
              <a:spLocks/>
            </p:cNvSpPr>
            <p:nvPr userDrawn="1"/>
          </p:nvSpPr>
          <p:spPr bwMode="auto">
            <a:xfrm>
              <a:off x="5279287" y="1"/>
              <a:ext cx="6913913" cy="3065889"/>
            </a:xfrm>
            <a:custGeom>
              <a:avLst/>
              <a:gdLst>
                <a:gd name="connsiteX0" fmla="*/ 0 w 6913913"/>
                <a:gd name="connsiteY0" fmla="*/ 0 h 3065889"/>
                <a:gd name="connsiteX1" fmla="*/ 50315 w 6913913"/>
                <a:gd name="connsiteY1" fmla="*/ 0 h 3065889"/>
                <a:gd name="connsiteX2" fmla="*/ 385745 w 6913913"/>
                <a:gd name="connsiteY2" fmla="*/ 102261 h 3065889"/>
                <a:gd name="connsiteX3" fmla="*/ 2204691 w 6913913"/>
                <a:gd name="connsiteY3" fmla="*/ 731090 h 3065889"/>
                <a:gd name="connsiteX4" fmla="*/ 3387845 w 6913913"/>
                <a:gd name="connsiteY4" fmla="*/ 1387393 h 3065889"/>
                <a:gd name="connsiteX5" fmla="*/ 4456647 w 6913913"/>
                <a:gd name="connsiteY5" fmla="*/ 1993328 h 3065889"/>
                <a:gd name="connsiteX6" fmla="*/ 6621696 w 6913913"/>
                <a:gd name="connsiteY6" fmla="*/ 2927414 h 3065889"/>
                <a:gd name="connsiteX7" fmla="*/ 6913913 w 6913913"/>
                <a:gd name="connsiteY7" fmla="*/ 3049393 h 3065889"/>
                <a:gd name="connsiteX8" fmla="*/ 6913913 w 6913913"/>
                <a:gd name="connsiteY8" fmla="*/ 3065889 h 3065889"/>
                <a:gd name="connsiteX9" fmla="*/ 6617122 w 6913913"/>
                <a:gd name="connsiteY9" fmla="*/ 2941151 h 3065889"/>
                <a:gd name="connsiteX10" fmla="*/ 4450549 w 6913913"/>
                <a:gd name="connsiteY10" fmla="*/ 2005538 h 3065889"/>
                <a:gd name="connsiteX11" fmla="*/ 3380221 w 6913913"/>
                <a:gd name="connsiteY11" fmla="*/ 1399603 h 3065889"/>
                <a:gd name="connsiteX12" fmla="*/ 2200117 w 6913913"/>
                <a:gd name="connsiteY12" fmla="*/ 744827 h 3065889"/>
                <a:gd name="connsiteX13" fmla="*/ 381171 w 6913913"/>
                <a:gd name="connsiteY13" fmla="*/ 117524 h 3065889"/>
                <a:gd name="connsiteX14" fmla="*/ 0 w 6913913"/>
                <a:gd name="connsiteY14" fmla="*/ 0 h 3065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913913" h="3065889">
                  <a:moveTo>
                    <a:pt x="0" y="0"/>
                  </a:moveTo>
                  <a:cubicBezTo>
                    <a:pt x="0" y="0"/>
                    <a:pt x="0" y="0"/>
                    <a:pt x="50315" y="0"/>
                  </a:cubicBezTo>
                  <a:cubicBezTo>
                    <a:pt x="163141" y="35105"/>
                    <a:pt x="274443" y="68683"/>
                    <a:pt x="385745" y="102261"/>
                  </a:cubicBezTo>
                  <a:cubicBezTo>
                    <a:pt x="989519" y="286942"/>
                    <a:pt x="1614639" y="477727"/>
                    <a:pt x="2204691" y="731090"/>
                  </a:cubicBezTo>
                  <a:cubicBezTo>
                    <a:pt x="2622454" y="911192"/>
                    <a:pt x="3011248" y="1152345"/>
                    <a:pt x="3387845" y="1387393"/>
                  </a:cubicBezTo>
                  <a:cubicBezTo>
                    <a:pt x="3729373" y="1601073"/>
                    <a:pt x="4083100" y="1820858"/>
                    <a:pt x="4456647" y="1993328"/>
                  </a:cubicBezTo>
                  <a:cubicBezTo>
                    <a:pt x="5170199" y="2319953"/>
                    <a:pt x="5908145" y="2629789"/>
                    <a:pt x="6621696" y="2927414"/>
                  </a:cubicBezTo>
                  <a:lnTo>
                    <a:pt x="6913913" y="3049393"/>
                  </a:lnTo>
                  <a:lnTo>
                    <a:pt x="6913913" y="3065889"/>
                  </a:lnTo>
                  <a:lnTo>
                    <a:pt x="6617122" y="2941151"/>
                  </a:lnTo>
                  <a:cubicBezTo>
                    <a:pt x="5902046" y="2641999"/>
                    <a:pt x="5164099" y="2333689"/>
                    <a:pt x="4450549" y="2005538"/>
                  </a:cubicBezTo>
                  <a:cubicBezTo>
                    <a:pt x="4075477" y="1834594"/>
                    <a:pt x="3721750" y="1613283"/>
                    <a:pt x="3380221" y="1399603"/>
                  </a:cubicBezTo>
                  <a:cubicBezTo>
                    <a:pt x="3005149" y="1166082"/>
                    <a:pt x="2616355" y="923402"/>
                    <a:pt x="2200117" y="744827"/>
                  </a:cubicBezTo>
                  <a:cubicBezTo>
                    <a:pt x="1608540" y="491464"/>
                    <a:pt x="984945" y="300678"/>
                    <a:pt x="381171" y="117524"/>
                  </a:cubicBezTo>
                  <a:cubicBezTo>
                    <a:pt x="254622" y="77841"/>
                    <a:pt x="128074" y="39683"/>
                    <a:pt x="0" y="0"/>
                  </a:cubicBezTo>
                  <a:close/>
                </a:path>
              </a:pathLst>
            </a:custGeom>
            <a:solidFill>
              <a:srgbClr val="C2C4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110" name="Freeform: Shape 109"/>
            <p:cNvSpPr>
              <a:spLocks/>
            </p:cNvSpPr>
            <p:nvPr userDrawn="1"/>
          </p:nvSpPr>
          <p:spPr bwMode="auto">
            <a:xfrm>
              <a:off x="5667316" y="1"/>
              <a:ext cx="6525884" cy="2863221"/>
            </a:xfrm>
            <a:custGeom>
              <a:avLst/>
              <a:gdLst>
                <a:gd name="connsiteX0" fmla="*/ 0 w 6525884"/>
                <a:gd name="connsiteY0" fmla="*/ 0 h 2863221"/>
                <a:gd name="connsiteX1" fmla="*/ 44221 w 6525884"/>
                <a:gd name="connsiteY1" fmla="*/ 0 h 2863221"/>
                <a:gd name="connsiteX2" fmla="*/ 109790 w 6525884"/>
                <a:gd name="connsiteY2" fmla="*/ 24416 h 2863221"/>
                <a:gd name="connsiteX3" fmla="*/ 1889300 w 6525884"/>
                <a:gd name="connsiteY3" fmla="*/ 708059 h 2863221"/>
                <a:gd name="connsiteX4" fmla="*/ 3051242 w 6525884"/>
                <a:gd name="connsiteY4" fmla="*/ 1281831 h 2863221"/>
                <a:gd name="connsiteX5" fmla="*/ 4141516 w 6525884"/>
                <a:gd name="connsiteY5" fmla="*/ 1825084 h 2863221"/>
                <a:gd name="connsiteX6" fmla="*/ 6273268 w 6525884"/>
                <a:gd name="connsiteY6" fmla="*/ 2739151 h 2863221"/>
                <a:gd name="connsiteX7" fmla="*/ 6525884 w 6525884"/>
                <a:gd name="connsiteY7" fmla="*/ 2846566 h 2863221"/>
                <a:gd name="connsiteX8" fmla="*/ 6525884 w 6525884"/>
                <a:gd name="connsiteY8" fmla="*/ 2863221 h 2863221"/>
                <a:gd name="connsiteX9" fmla="*/ 6267168 w 6525884"/>
                <a:gd name="connsiteY9" fmla="*/ 2752885 h 2863221"/>
                <a:gd name="connsiteX10" fmla="*/ 4135416 w 6525884"/>
                <a:gd name="connsiteY10" fmla="*/ 1838818 h 2863221"/>
                <a:gd name="connsiteX11" fmla="*/ 3045142 w 6525884"/>
                <a:gd name="connsiteY11" fmla="*/ 1295565 h 2863221"/>
                <a:gd name="connsiteX12" fmla="*/ 1883200 w 6525884"/>
                <a:gd name="connsiteY12" fmla="*/ 721793 h 2863221"/>
                <a:gd name="connsiteX13" fmla="*/ 105215 w 6525884"/>
                <a:gd name="connsiteY13" fmla="*/ 38150 h 2863221"/>
                <a:gd name="connsiteX14" fmla="*/ 0 w 6525884"/>
                <a:gd name="connsiteY14" fmla="*/ 0 h 2863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525884" h="2863221">
                  <a:moveTo>
                    <a:pt x="0" y="0"/>
                  </a:moveTo>
                  <a:cubicBezTo>
                    <a:pt x="0" y="0"/>
                    <a:pt x="0" y="0"/>
                    <a:pt x="44221" y="0"/>
                  </a:cubicBezTo>
                  <a:cubicBezTo>
                    <a:pt x="65569" y="7630"/>
                    <a:pt x="88442" y="15260"/>
                    <a:pt x="109790" y="24416"/>
                  </a:cubicBezTo>
                  <a:cubicBezTo>
                    <a:pt x="698385" y="238054"/>
                    <a:pt x="1305279" y="457797"/>
                    <a:pt x="1889300" y="708059"/>
                  </a:cubicBezTo>
                  <a:cubicBezTo>
                    <a:pt x="2288813" y="878970"/>
                    <a:pt x="2676127" y="1083453"/>
                    <a:pt x="3051242" y="1281831"/>
                  </a:cubicBezTo>
                  <a:cubicBezTo>
                    <a:pt x="3403484" y="1469528"/>
                    <a:pt x="3769450" y="1661803"/>
                    <a:pt x="4141516" y="1825084"/>
                  </a:cubicBezTo>
                  <a:cubicBezTo>
                    <a:pt x="4849050" y="2136385"/>
                    <a:pt x="5573358" y="2443109"/>
                    <a:pt x="6273268" y="2739151"/>
                  </a:cubicBezTo>
                  <a:lnTo>
                    <a:pt x="6525884" y="2846566"/>
                  </a:lnTo>
                  <a:lnTo>
                    <a:pt x="6525884" y="2863221"/>
                  </a:lnTo>
                  <a:lnTo>
                    <a:pt x="6267168" y="2752885"/>
                  </a:lnTo>
                  <a:cubicBezTo>
                    <a:pt x="5567258" y="2456843"/>
                    <a:pt x="4842950" y="2150119"/>
                    <a:pt x="4135416" y="1838818"/>
                  </a:cubicBezTo>
                  <a:cubicBezTo>
                    <a:pt x="3761826" y="1675537"/>
                    <a:pt x="3397385" y="1481736"/>
                    <a:pt x="3045142" y="1295565"/>
                  </a:cubicBezTo>
                  <a:cubicBezTo>
                    <a:pt x="2670027" y="1097187"/>
                    <a:pt x="2281188" y="892704"/>
                    <a:pt x="1883200" y="721793"/>
                  </a:cubicBezTo>
                  <a:cubicBezTo>
                    <a:pt x="1299180" y="471531"/>
                    <a:pt x="692286" y="251788"/>
                    <a:pt x="105215" y="38150"/>
                  </a:cubicBezTo>
                  <a:cubicBezTo>
                    <a:pt x="70144" y="25942"/>
                    <a:pt x="35072" y="12208"/>
                    <a:pt x="0" y="0"/>
                  </a:cubicBezTo>
                  <a:close/>
                </a:path>
              </a:pathLst>
            </a:custGeom>
            <a:solidFill>
              <a:srgbClr val="C2C3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a-DK"/>
            </a:p>
          </p:txBody>
        </p:sp>
        <p:sp>
          <p:nvSpPr>
            <p:cNvPr id="51" name="Freeform 40"/>
            <p:cNvSpPr>
              <a:spLocks/>
            </p:cNvSpPr>
            <p:nvPr userDrawn="1"/>
          </p:nvSpPr>
          <p:spPr bwMode="auto">
            <a:xfrm>
              <a:off x="-792" y="4832724"/>
              <a:ext cx="5053996" cy="732765"/>
            </a:xfrm>
            <a:custGeom>
              <a:avLst/>
              <a:gdLst>
                <a:gd name="T0" fmla="*/ 2531 w 3314"/>
                <a:gd name="T1" fmla="*/ 341 h 480"/>
                <a:gd name="T2" fmla="*/ 2388 w 3314"/>
                <a:gd name="T3" fmla="*/ 357 h 480"/>
                <a:gd name="T4" fmla="*/ 2141 w 3314"/>
                <a:gd name="T5" fmla="*/ 386 h 480"/>
                <a:gd name="T6" fmla="*/ 1044 w 3314"/>
                <a:gd name="T7" fmla="*/ 413 h 480"/>
                <a:gd name="T8" fmla="*/ 290 w 3314"/>
                <a:gd name="T9" fmla="*/ 132 h 480"/>
                <a:gd name="T10" fmla="*/ 18 w 3314"/>
                <a:gd name="T11" fmla="*/ 8 h 480"/>
                <a:gd name="T12" fmla="*/ 0 w 3314"/>
                <a:gd name="T13" fmla="*/ 0 h 480"/>
                <a:gd name="T14" fmla="*/ 0 w 3314"/>
                <a:gd name="T15" fmla="*/ 4 h 480"/>
                <a:gd name="T16" fmla="*/ 17 w 3314"/>
                <a:gd name="T17" fmla="*/ 11 h 480"/>
                <a:gd name="T18" fmla="*/ 288 w 3314"/>
                <a:gd name="T19" fmla="*/ 135 h 480"/>
                <a:gd name="T20" fmla="*/ 1043 w 3314"/>
                <a:gd name="T21" fmla="*/ 416 h 480"/>
                <a:gd name="T22" fmla="*/ 2142 w 3314"/>
                <a:gd name="T23" fmla="*/ 390 h 480"/>
                <a:gd name="T24" fmla="*/ 2388 w 3314"/>
                <a:gd name="T25" fmla="*/ 361 h 480"/>
                <a:gd name="T26" fmla="*/ 2532 w 3314"/>
                <a:gd name="T27" fmla="*/ 345 h 480"/>
                <a:gd name="T28" fmla="*/ 3302 w 3314"/>
                <a:gd name="T29" fmla="*/ 315 h 480"/>
                <a:gd name="T30" fmla="*/ 3314 w 3314"/>
                <a:gd name="T31" fmla="*/ 313 h 480"/>
                <a:gd name="T32" fmla="*/ 2531 w 3314"/>
                <a:gd name="T33" fmla="*/ 341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14" h="480">
                  <a:moveTo>
                    <a:pt x="2531" y="341"/>
                  </a:moveTo>
                  <a:cubicBezTo>
                    <a:pt x="2481" y="347"/>
                    <a:pt x="2434" y="352"/>
                    <a:pt x="2388" y="357"/>
                  </a:cubicBezTo>
                  <a:cubicBezTo>
                    <a:pt x="2306" y="366"/>
                    <a:pt x="2222" y="376"/>
                    <a:pt x="2141" y="386"/>
                  </a:cubicBezTo>
                  <a:cubicBezTo>
                    <a:pt x="1778" y="431"/>
                    <a:pt x="1402" y="477"/>
                    <a:pt x="1044" y="413"/>
                  </a:cubicBezTo>
                  <a:cubicBezTo>
                    <a:pt x="788" y="367"/>
                    <a:pt x="535" y="247"/>
                    <a:pt x="290" y="132"/>
                  </a:cubicBezTo>
                  <a:cubicBezTo>
                    <a:pt x="196" y="88"/>
                    <a:pt x="107" y="46"/>
                    <a:pt x="18" y="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06" y="49"/>
                    <a:pt x="194" y="91"/>
                    <a:pt x="288" y="135"/>
                  </a:cubicBezTo>
                  <a:cubicBezTo>
                    <a:pt x="533" y="251"/>
                    <a:pt x="787" y="370"/>
                    <a:pt x="1043" y="416"/>
                  </a:cubicBezTo>
                  <a:cubicBezTo>
                    <a:pt x="1402" y="480"/>
                    <a:pt x="1778" y="434"/>
                    <a:pt x="2142" y="390"/>
                  </a:cubicBezTo>
                  <a:cubicBezTo>
                    <a:pt x="2223" y="380"/>
                    <a:pt x="2307" y="370"/>
                    <a:pt x="2388" y="361"/>
                  </a:cubicBezTo>
                  <a:cubicBezTo>
                    <a:pt x="2434" y="356"/>
                    <a:pt x="2482" y="351"/>
                    <a:pt x="2532" y="345"/>
                  </a:cubicBezTo>
                  <a:cubicBezTo>
                    <a:pt x="2781" y="315"/>
                    <a:pt x="3053" y="284"/>
                    <a:pt x="3302" y="315"/>
                  </a:cubicBezTo>
                  <a:cubicBezTo>
                    <a:pt x="3314" y="313"/>
                    <a:pt x="3314" y="313"/>
                    <a:pt x="3314" y="313"/>
                  </a:cubicBezTo>
                  <a:cubicBezTo>
                    <a:pt x="3062" y="279"/>
                    <a:pt x="2785" y="311"/>
                    <a:pt x="2531" y="341"/>
                  </a:cubicBezTo>
                  <a:close/>
                </a:path>
              </a:pathLst>
            </a:custGeom>
            <a:solidFill>
              <a:srgbClr val="D3D5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2" name="Freeform 41"/>
            <p:cNvSpPr>
              <a:spLocks/>
            </p:cNvSpPr>
            <p:nvPr userDrawn="1"/>
          </p:nvSpPr>
          <p:spPr bwMode="auto">
            <a:xfrm>
              <a:off x="-792" y="4632296"/>
              <a:ext cx="5714608" cy="755213"/>
            </a:xfrm>
            <a:custGeom>
              <a:avLst/>
              <a:gdLst>
                <a:gd name="T0" fmla="*/ 3707 w 3747"/>
                <a:gd name="T1" fmla="*/ 348 h 495"/>
                <a:gd name="T2" fmla="*/ 2619 w 3747"/>
                <a:gd name="T3" fmla="*/ 320 h 495"/>
                <a:gd name="T4" fmla="*/ 2467 w 3747"/>
                <a:gd name="T5" fmla="*/ 342 h 495"/>
                <a:gd name="T6" fmla="*/ 2211 w 3747"/>
                <a:gd name="T7" fmla="*/ 379 h 495"/>
                <a:gd name="T8" fmla="*/ 1093 w 3747"/>
                <a:gd name="T9" fmla="*/ 431 h 495"/>
                <a:gd name="T10" fmla="*/ 336 w 3747"/>
                <a:gd name="T11" fmla="*/ 152 h 495"/>
                <a:gd name="T12" fmla="*/ 66 w 3747"/>
                <a:gd name="T13" fmla="*/ 28 h 495"/>
                <a:gd name="T14" fmla="*/ 0 w 3747"/>
                <a:gd name="T15" fmla="*/ 0 h 495"/>
                <a:gd name="T16" fmla="*/ 0 w 3747"/>
                <a:gd name="T17" fmla="*/ 4 h 495"/>
                <a:gd name="T18" fmla="*/ 64 w 3747"/>
                <a:gd name="T19" fmla="*/ 31 h 495"/>
                <a:gd name="T20" fmla="*/ 334 w 3747"/>
                <a:gd name="T21" fmla="*/ 155 h 495"/>
                <a:gd name="T22" fmla="*/ 1092 w 3747"/>
                <a:gd name="T23" fmla="*/ 435 h 495"/>
                <a:gd name="T24" fmla="*/ 2212 w 3747"/>
                <a:gd name="T25" fmla="*/ 382 h 495"/>
                <a:gd name="T26" fmla="*/ 2468 w 3747"/>
                <a:gd name="T27" fmla="*/ 346 h 495"/>
                <a:gd name="T28" fmla="*/ 2620 w 3747"/>
                <a:gd name="T29" fmla="*/ 324 h 495"/>
                <a:gd name="T30" fmla="*/ 3705 w 3747"/>
                <a:gd name="T31" fmla="*/ 351 h 495"/>
                <a:gd name="T32" fmla="*/ 3741 w 3747"/>
                <a:gd name="T33" fmla="*/ 368 h 495"/>
                <a:gd name="T34" fmla="*/ 3747 w 3747"/>
                <a:gd name="T35" fmla="*/ 367 h 495"/>
                <a:gd name="T36" fmla="*/ 3707 w 3747"/>
                <a:gd name="T37" fmla="*/ 348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747" h="495">
                  <a:moveTo>
                    <a:pt x="3707" y="348"/>
                  </a:moveTo>
                  <a:cubicBezTo>
                    <a:pt x="3390" y="209"/>
                    <a:pt x="2962" y="271"/>
                    <a:pt x="2619" y="320"/>
                  </a:cubicBezTo>
                  <a:cubicBezTo>
                    <a:pt x="2566" y="328"/>
                    <a:pt x="2516" y="335"/>
                    <a:pt x="2467" y="342"/>
                  </a:cubicBezTo>
                  <a:cubicBezTo>
                    <a:pt x="2383" y="353"/>
                    <a:pt x="2296" y="366"/>
                    <a:pt x="2211" y="379"/>
                  </a:cubicBezTo>
                  <a:cubicBezTo>
                    <a:pt x="1841" y="434"/>
                    <a:pt x="1458" y="491"/>
                    <a:pt x="1093" y="431"/>
                  </a:cubicBezTo>
                  <a:cubicBezTo>
                    <a:pt x="837" y="389"/>
                    <a:pt x="582" y="268"/>
                    <a:pt x="336" y="152"/>
                  </a:cubicBezTo>
                  <a:cubicBezTo>
                    <a:pt x="242" y="107"/>
                    <a:pt x="154" y="66"/>
                    <a:pt x="66" y="2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64" y="31"/>
                    <a:pt x="64" y="31"/>
                    <a:pt x="64" y="31"/>
                  </a:cubicBezTo>
                  <a:cubicBezTo>
                    <a:pt x="153" y="69"/>
                    <a:pt x="241" y="111"/>
                    <a:pt x="334" y="155"/>
                  </a:cubicBezTo>
                  <a:cubicBezTo>
                    <a:pt x="580" y="272"/>
                    <a:pt x="835" y="392"/>
                    <a:pt x="1092" y="435"/>
                  </a:cubicBezTo>
                  <a:cubicBezTo>
                    <a:pt x="1458" y="495"/>
                    <a:pt x="1841" y="438"/>
                    <a:pt x="2212" y="382"/>
                  </a:cubicBezTo>
                  <a:cubicBezTo>
                    <a:pt x="2296" y="370"/>
                    <a:pt x="2384" y="357"/>
                    <a:pt x="2468" y="346"/>
                  </a:cubicBezTo>
                  <a:cubicBezTo>
                    <a:pt x="2517" y="339"/>
                    <a:pt x="2567" y="332"/>
                    <a:pt x="2620" y="324"/>
                  </a:cubicBezTo>
                  <a:cubicBezTo>
                    <a:pt x="2962" y="275"/>
                    <a:pt x="3389" y="213"/>
                    <a:pt x="3705" y="351"/>
                  </a:cubicBezTo>
                  <a:cubicBezTo>
                    <a:pt x="3717" y="357"/>
                    <a:pt x="3729" y="362"/>
                    <a:pt x="3741" y="368"/>
                  </a:cubicBezTo>
                  <a:cubicBezTo>
                    <a:pt x="3747" y="367"/>
                    <a:pt x="3747" y="367"/>
                    <a:pt x="3747" y="367"/>
                  </a:cubicBezTo>
                  <a:cubicBezTo>
                    <a:pt x="3734" y="361"/>
                    <a:pt x="3720" y="354"/>
                    <a:pt x="3707" y="348"/>
                  </a:cubicBezTo>
                  <a:close/>
                </a:path>
              </a:pathLst>
            </a:custGeom>
            <a:solidFill>
              <a:srgbClr val="D3D4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3" name="Freeform 42"/>
            <p:cNvSpPr>
              <a:spLocks/>
            </p:cNvSpPr>
            <p:nvPr userDrawn="1"/>
          </p:nvSpPr>
          <p:spPr bwMode="auto">
            <a:xfrm>
              <a:off x="-792" y="4433471"/>
              <a:ext cx="6110654" cy="780868"/>
            </a:xfrm>
            <a:custGeom>
              <a:avLst/>
              <a:gdLst>
                <a:gd name="T0" fmla="*/ 3801 w 4007"/>
                <a:gd name="T1" fmla="*/ 317 h 512"/>
                <a:gd name="T2" fmla="*/ 2697 w 4007"/>
                <a:gd name="T3" fmla="*/ 307 h 512"/>
                <a:gd name="T4" fmla="*/ 2542 w 4007"/>
                <a:gd name="T5" fmla="*/ 332 h 512"/>
                <a:gd name="T6" fmla="*/ 2277 w 4007"/>
                <a:gd name="T7" fmla="*/ 376 h 512"/>
                <a:gd name="T8" fmla="*/ 1141 w 4007"/>
                <a:gd name="T9" fmla="*/ 450 h 512"/>
                <a:gd name="T10" fmla="*/ 383 w 4007"/>
                <a:gd name="T11" fmla="*/ 172 h 512"/>
                <a:gd name="T12" fmla="*/ 113 w 4007"/>
                <a:gd name="T13" fmla="*/ 48 h 512"/>
                <a:gd name="T14" fmla="*/ 0 w 4007"/>
                <a:gd name="T15" fmla="*/ 0 h 512"/>
                <a:gd name="T16" fmla="*/ 0 w 4007"/>
                <a:gd name="T17" fmla="*/ 4 h 512"/>
                <a:gd name="T18" fmla="*/ 112 w 4007"/>
                <a:gd name="T19" fmla="*/ 52 h 512"/>
                <a:gd name="T20" fmla="*/ 381 w 4007"/>
                <a:gd name="T21" fmla="*/ 176 h 512"/>
                <a:gd name="T22" fmla="*/ 1140 w 4007"/>
                <a:gd name="T23" fmla="*/ 454 h 512"/>
                <a:gd name="T24" fmla="*/ 2277 w 4007"/>
                <a:gd name="T25" fmla="*/ 380 h 512"/>
                <a:gd name="T26" fmla="*/ 2542 w 4007"/>
                <a:gd name="T27" fmla="*/ 336 h 512"/>
                <a:gd name="T28" fmla="*/ 2698 w 4007"/>
                <a:gd name="T29" fmla="*/ 311 h 512"/>
                <a:gd name="T30" fmla="*/ 3799 w 4007"/>
                <a:gd name="T31" fmla="*/ 321 h 512"/>
                <a:gd name="T32" fmla="*/ 4002 w 4007"/>
                <a:gd name="T33" fmla="*/ 453 h 512"/>
                <a:gd name="T34" fmla="*/ 4007 w 4007"/>
                <a:gd name="T35" fmla="*/ 453 h 512"/>
                <a:gd name="T36" fmla="*/ 3801 w 4007"/>
                <a:gd name="T37" fmla="*/ 317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07" h="512">
                  <a:moveTo>
                    <a:pt x="3801" y="317"/>
                  </a:moveTo>
                  <a:cubicBezTo>
                    <a:pt x="3480" y="176"/>
                    <a:pt x="3046" y="249"/>
                    <a:pt x="2697" y="307"/>
                  </a:cubicBezTo>
                  <a:cubicBezTo>
                    <a:pt x="2643" y="316"/>
                    <a:pt x="2591" y="325"/>
                    <a:pt x="2542" y="332"/>
                  </a:cubicBezTo>
                  <a:cubicBezTo>
                    <a:pt x="2455" y="346"/>
                    <a:pt x="2364" y="361"/>
                    <a:pt x="2277" y="376"/>
                  </a:cubicBezTo>
                  <a:cubicBezTo>
                    <a:pt x="1901" y="441"/>
                    <a:pt x="1512" y="508"/>
                    <a:pt x="1141" y="450"/>
                  </a:cubicBezTo>
                  <a:cubicBezTo>
                    <a:pt x="885" y="410"/>
                    <a:pt x="630" y="289"/>
                    <a:pt x="383" y="172"/>
                  </a:cubicBezTo>
                  <a:cubicBezTo>
                    <a:pt x="289" y="128"/>
                    <a:pt x="201" y="86"/>
                    <a:pt x="113" y="4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12" y="52"/>
                    <a:pt x="112" y="52"/>
                    <a:pt x="112" y="52"/>
                  </a:cubicBezTo>
                  <a:cubicBezTo>
                    <a:pt x="200" y="89"/>
                    <a:pt x="288" y="131"/>
                    <a:pt x="381" y="176"/>
                  </a:cubicBezTo>
                  <a:cubicBezTo>
                    <a:pt x="628" y="293"/>
                    <a:pt x="884" y="414"/>
                    <a:pt x="1140" y="454"/>
                  </a:cubicBezTo>
                  <a:cubicBezTo>
                    <a:pt x="1512" y="512"/>
                    <a:pt x="1901" y="445"/>
                    <a:pt x="2277" y="380"/>
                  </a:cubicBezTo>
                  <a:cubicBezTo>
                    <a:pt x="2365" y="365"/>
                    <a:pt x="2455" y="350"/>
                    <a:pt x="2542" y="336"/>
                  </a:cubicBezTo>
                  <a:cubicBezTo>
                    <a:pt x="2592" y="329"/>
                    <a:pt x="2643" y="320"/>
                    <a:pt x="2698" y="311"/>
                  </a:cubicBezTo>
                  <a:cubicBezTo>
                    <a:pt x="3046" y="253"/>
                    <a:pt x="3479" y="180"/>
                    <a:pt x="3799" y="321"/>
                  </a:cubicBezTo>
                  <a:cubicBezTo>
                    <a:pt x="3877" y="355"/>
                    <a:pt x="3944" y="400"/>
                    <a:pt x="4002" y="453"/>
                  </a:cubicBezTo>
                  <a:cubicBezTo>
                    <a:pt x="4007" y="453"/>
                    <a:pt x="4007" y="453"/>
                    <a:pt x="4007" y="453"/>
                  </a:cubicBezTo>
                  <a:cubicBezTo>
                    <a:pt x="3945" y="396"/>
                    <a:pt x="3877" y="351"/>
                    <a:pt x="3801" y="317"/>
                  </a:cubicBezTo>
                  <a:close/>
                </a:path>
              </a:pathLst>
            </a:custGeom>
            <a:solidFill>
              <a:srgbClr val="D2D4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4" name="Freeform 43"/>
            <p:cNvSpPr>
              <a:spLocks/>
            </p:cNvSpPr>
            <p:nvPr userDrawn="1"/>
          </p:nvSpPr>
          <p:spPr bwMode="auto">
            <a:xfrm>
              <a:off x="-792" y="4233043"/>
              <a:ext cx="6388046" cy="841798"/>
            </a:xfrm>
            <a:custGeom>
              <a:avLst/>
              <a:gdLst>
                <a:gd name="T0" fmla="*/ 3883 w 4189"/>
                <a:gd name="T1" fmla="*/ 299 h 552"/>
                <a:gd name="T2" fmla="*/ 2764 w 4189"/>
                <a:gd name="T3" fmla="*/ 302 h 552"/>
                <a:gd name="T4" fmla="*/ 2609 w 4189"/>
                <a:gd name="T5" fmla="*/ 330 h 552"/>
                <a:gd name="T6" fmla="*/ 2337 w 4189"/>
                <a:gd name="T7" fmla="*/ 380 h 552"/>
                <a:gd name="T8" fmla="*/ 1188 w 4189"/>
                <a:gd name="T9" fmla="*/ 471 h 552"/>
                <a:gd name="T10" fmla="*/ 431 w 4189"/>
                <a:gd name="T11" fmla="*/ 193 h 552"/>
                <a:gd name="T12" fmla="*/ 160 w 4189"/>
                <a:gd name="T13" fmla="*/ 68 h 552"/>
                <a:gd name="T14" fmla="*/ 0 w 4189"/>
                <a:gd name="T15" fmla="*/ 0 h 552"/>
                <a:gd name="T16" fmla="*/ 0 w 4189"/>
                <a:gd name="T17" fmla="*/ 4 h 552"/>
                <a:gd name="T18" fmla="*/ 159 w 4189"/>
                <a:gd name="T19" fmla="*/ 72 h 552"/>
                <a:gd name="T20" fmla="*/ 430 w 4189"/>
                <a:gd name="T21" fmla="*/ 197 h 552"/>
                <a:gd name="T22" fmla="*/ 1187 w 4189"/>
                <a:gd name="T23" fmla="*/ 475 h 552"/>
                <a:gd name="T24" fmla="*/ 2338 w 4189"/>
                <a:gd name="T25" fmla="*/ 384 h 552"/>
                <a:gd name="T26" fmla="*/ 2610 w 4189"/>
                <a:gd name="T27" fmla="*/ 334 h 552"/>
                <a:gd name="T28" fmla="*/ 2765 w 4189"/>
                <a:gd name="T29" fmla="*/ 306 h 552"/>
                <a:gd name="T30" fmla="*/ 3881 w 4189"/>
                <a:gd name="T31" fmla="*/ 303 h 552"/>
                <a:gd name="T32" fmla="*/ 4183 w 4189"/>
                <a:gd name="T33" fmla="*/ 552 h 552"/>
                <a:gd name="T34" fmla="*/ 4189 w 4189"/>
                <a:gd name="T35" fmla="*/ 551 h 552"/>
                <a:gd name="T36" fmla="*/ 3883 w 4189"/>
                <a:gd name="T37" fmla="*/ 299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189" h="552">
                  <a:moveTo>
                    <a:pt x="3883" y="299"/>
                  </a:moveTo>
                  <a:cubicBezTo>
                    <a:pt x="3557" y="156"/>
                    <a:pt x="3118" y="237"/>
                    <a:pt x="2764" y="302"/>
                  </a:cubicBezTo>
                  <a:cubicBezTo>
                    <a:pt x="2710" y="312"/>
                    <a:pt x="2659" y="322"/>
                    <a:pt x="2609" y="330"/>
                  </a:cubicBezTo>
                  <a:cubicBezTo>
                    <a:pt x="2520" y="345"/>
                    <a:pt x="2427" y="363"/>
                    <a:pt x="2337" y="380"/>
                  </a:cubicBezTo>
                  <a:cubicBezTo>
                    <a:pt x="1956" y="453"/>
                    <a:pt x="1563" y="528"/>
                    <a:pt x="1188" y="471"/>
                  </a:cubicBezTo>
                  <a:cubicBezTo>
                    <a:pt x="933" y="432"/>
                    <a:pt x="678" y="310"/>
                    <a:pt x="431" y="193"/>
                  </a:cubicBezTo>
                  <a:cubicBezTo>
                    <a:pt x="338" y="148"/>
                    <a:pt x="249" y="106"/>
                    <a:pt x="160" y="6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59" y="72"/>
                    <a:pt x="159" y="72"/>
                    <a:pt x="159" y="72"/>
                  </a:cubicBezTo>
                  <a:cubicBezTo>
                    <a:pt x="247" y="110"/>
                    <a:pt x="336" y="152"/>
                    <a:pt x="430" y="197"/>
                  </a:cubicBezTo>
                  <a:cubicBezTo>
                    <a:pt x="676" y="314"/>
                    <a:pt x="932" y="436"/>
                    <a:pt x="1187" y="475"/>
                  </a:cubicBezTo>
                  <a:cubicBezTo>
                    <a:pt x="1563" y="532"/>
                    <a:pt x="1957" y="457"/>
                    <a:pt x="2338" y="384"/>
                  </a:cubicBezTo>
                  <a:cubicBezTo>
                    <a:pt x="2428" y="367"/>
                    <a:pt x="2521" y="350"/>
                    <a:pt x="2610" y="334"/>
                  </a:cubicBezTo>
                  <a:cubicBezTo>
                    <a:pt x="2660" y="326"/>
                    <a:pt x="2711" y="316"/>
                    <a:pt x="2765" y="306"/>
                  </a:cubicBezTo>
                  <a:cubicBezTo>
                    <a:pt x="3118" y="241"/>
                    <a:pt x="3556" y="161"/>
                    <a:pt x="3881" y="303"/>
                  </a:cubicBezTo>
                  <a:cubicBezTo>
                    <a:pt x="4012" y="360"/>
                    <a:pt x="4108" y="447"/>
                    <a:pt x="4183" y="552"/>
                  </a:cubicBezTo>
                  <a:cubicBezTo>
                    <a:pt x="4189" y="551"/>
                    <a:pt x="4189" y="551"/>
                    <a:pt x="4189" y="551"/>
                  </a:cubicBezTo>
                  <a:cubicBezTo>
                    <a:pt x="4106" y="436"/>
                    <a:pt x="4005" y="353"/>
                    <a:pt x="3883" y="299"/>
                  </a:cubicBezTo>
                  <a:close/>
                </a:path>
              </a:pathLst>
            </a:custGeom>
            <a:solidFill>
              <a:srgbClr val="D2D3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5" name="Freeform 44"/>
            <p:cNvSpPr>
              <a:spLocks/>
            </p:cNvSpPr>
            <p:nvPr userDrawn="1"/>
          </p:nvSpPr>
          <p:spPr bwMode="auto">
            <a:xfrm>
              <a:off x="-792" y="4032615"/>
              <a:ext cx="6590077" cy="1006952"/>
            </a:xfrm>
            <a:custGeom>
              <a:avLst/>
              <a:gdLst>
                <a:gd name="T0" fmla="*/ 3951 w 4322"/>
                <a:gd name="T1" fmla="*/ 296 h 660"/>
                <a:gd name="T2" fmla="*/ 2820 w 4322"/>
                <a:gd name="T3" fmla="*/ 308 h 660"/>
                <a:gd name="T4" fmla="*/ 2669 w 4322"/>
                <a:gd name="T5" fmla="*/ 336 h 660"/>
                <a:gd name="T6" fmla="*/ 2391 w 4322"/>
                <a:gd name="T7" fmla="*/ 391 h 660"/>
                <a:gd name="T8" fmla="*/ 1234 w 4322"/>
                <a:gd name="T9" fmla="*/ 493 h 660"/>
                <a:gd name="T10" fmla="*/ 482 w 4322"/>
                <a:gd name="T11" fmla="*/ 214 h 660"/>
                <a:gd name="T12" fmla="*/ 208 w 4322"/>
                <a:gd name="T13" fmla="*/ 88 h 660"/>
                <a:gd name="T14" fmla="*/ 0 w 4322"/>
                <a:gd name="T15" fmla="*/ 0 h 660"/>
                <a:gd name="T16" fmla="*/ 0 w 4322"/>
                <a:gd name="T17" fmla="*/ 4 h 660"/>
                <a:gd name="T18" fmla="*/ 206 w 4322"/>
                <a:gd name="T19" fmla="*/ 92 h 660"/>
                <a:gd name="T20" fmla="*/ 480 w 4322"/>
                <a:gd name="T21" fmla="*/ 218 h 660"/>
                <a:gd name="T22" fmla="*/ 1233 w 4322"/>
                <a:gd name="T23" fmla="*/ 497 h 660"/>
                <a:gd name="T24" fmla="*/ 2392 w 4322"/>
                <a:gd name="T25" fmla="*/ 396 h 660"/>
                <a:gd name="T26" fmla="*/ 2670 w 4322"/>
                <a:gd name="T27" fmla="*/ 341 h 660"/>
                <a:gd name="T28" fmla="*/ 2821 w 4322"/>
                <a:gd name="T29" fmla="*/ 312 h 660"/>
                <a:gd name="T30" fmla="*/ 3949 w 4322"/>
                <a:gd name="T31" fmla="*/ 300 h 660"/>
                <a:gd name="T32" fmla="*/ 4317 w 4322"/>
                <a:gd name="T33" fmla="*/ 660 h 660"/>
                <a:gd name="T34" fmla="*/ 4322 w 4322"/>
                <a:gd name="T35" fmla="*/ 659 h 660"/>
                <a:gd name="T36" fmla="*/ 3951 w 4322"/>
                <a:gd name="T37" fmla="*/ 296 h 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322" h="660">
                  <a:moveTo>
                    <a:pt x="3951" y="296"/>
                  </a:moveTo>
                  <a:cubicBezTo>
                    <a:pt x="3619" y="151"/>
                    <a:pt x="3176" y="238"/>
                    <a:pt x="2820" y="308"/>
                  </a:cubicBezTo>
                  <a:cubicBezTo>
                    <a:pt x="2767" y="318"/>
                    <a:pt x="2718" y="328"/>
                    <a:pt x="2669" y="336"/>
                  </a:cubicBezTo>
                  <a:cubicBezTo>
                    <a:pt x="2578" y="353"/>
                    <a:pt x="2487" y="372"/>
                    <a:pt x="2391" y="391"/>
                  </a:cubicBezTo>
                  <a:cubicBezTo>
                    <a:pt x="2008" y="470"/>
                    <a:pt x="1611" y="552"/>
                    <a:pt x="1234" y="493"/>
                  </a:cubicBezTo>
                  <a:cubicBezTo>
                    <a:pt x="981" y="453"/>
                    <a:pt x="727" y="332"/>
                    <a:pt x="482" y="214"/>
                  </a:cubicBezTo>
                  <a:cubicBezTo>
                    <a:pt x="387" y="169"/>
                    <a:pt x="297" y="126"/>
                    <a:pt x="208" y="8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06" y="92"/>
                    <a:pt x="206" y="92"/>
                    <a:pt x="206" y="92"/>
                  </a:cubicBezTo>
                  <a:cubicBezTo>
                    <a:pt x="295" y="130"/>
                    <a:pt x="385" y="173"/>
                    <a:pt x="480" y="218"/>
                  </a:cubicBezTo>
                  <a:cubicBezTo>
                    <a:pt x="725" y="336"/>
                    <a:pt x="979" y="457"/>
                    <a:pt x="1233" y="497"/>
                  </a:cubicBezTo>
                  <a:cubicBezTo>
                    <a:pt x="1611" y="556"/>
                    <a:pt x="2008" y="475"/>
                    <a:pt x="2392" y="396"/>
                  </a:cubicBezTo>
                  <a:cubicBezTo>
                    <a:pt x="2488" y="376"/>
                    <a:pt x="2579" y="357"/>
                    <a:pt x="2670" y="341"/>
                  </a:cubicBezTo>
                  <a:cubicBezTo>
                    <a:pt x="2718" y="332"/>
                    <a:pt x="2768" y="322"/>
                    <a:pt x="2821" y="312"/>
                  </a:cubicBezTo>
                  <a:cubicBezTo>
                    <a:pt x="3176" y="242"/>
                    <a:pt x="3618" y="156"/>
                    <a:pt x="3949" y="300"/>
                  </a:cubicBezTo>
                  <a:cubicBezTo>
                    <a:pt x="4124" y="377"/>
                    <a:pt x="4237" y="505"/>
                    <a:pt x="4317" y="660"/>
                  </a:cubicBezTo>
                  <a:cubicBezTo>
                    <a:pt x="4322" y="659"/>
                    <a:pt x="4322" y="659"/>
                    <a:pt x="4322" y="659"/>
                  </a:cubicBezTo>
                  <a:cubicBezTo>
                    <a:pt x="4232" y="485"/>
                    <a:pt x="4111" y="366"/>
                    <a:pt x="3951" y="296"/>
                  </a:cubicBezTo>
                  <a:close/>
                </a:path>
              </a:pathLst>
            </a:custGeom>
            <a:solidFill>
              <a:srgbClr val="D1D3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6" name="Freeform 45"/>
            <p:cNvSpPr>
              <a:spLocks/>
            </p:cNvSpPr>
            <p:nvPr userDrawn="1"/>
          </p:nvSpPr>
          <p:spPr bwMode="auto">
            <a:xfrm>
              <a:off x="-792" y="3832187"/>
              <a:ext cx="6752023" cy="1178518"/>
            </a:xfrm>
            <a:custGeom>
              <a:avLst/>
              <a:gdLst>
                <a:gd name="T0" fmla="*/ 4389 w 4428"/>
                <a:gd name="T1" fmla="*/ 681 h 773"/>
                <a:gd name="T2" fmla="*/ 4010 w 4428"/>
                <a:gd name="T3" fmla="*/ 297 h 773"/>
                <a:gd name="T4" fmla="*/ 2870 w 4428"/>
                <a:gd name="T5" fmla="*/ 316 h 773"/>
                <a:gd name="T6" fmla="*/ 2723 w 4428"/>
                <a:gd name="T7" fmla="*/ 346 h 773"/>
                <a:gd name="T8" fmla="*/ 2443 w 4428"/>
                <a:gd name="T9" fmla="*/ 405 h 773"/>
                <a:gd name="T10" fmla="*/ 1280 w 4428"/>
                <a:gd name="T11" fmla="*/ 515 h 773"/>
                <a:gd name="T12" fmla="*/ 531 w 4428"/>
                <a:gd name="T13" fmla="*/ 237 h 773"/>
                <a:gd name="T14" fmla="*/ 255 w 4428"/>
                <a:gd name="T15" fmla="*/ 109 h 773"/>
                <a:gd name="T16" fmla="*/ 0 w 4428"/>
                <a:gd name="T17" fmla="*/ 0 h 773"/>
                <a:gd name="T18" fmla="*/ 0 w 4428"/>
                <a:gd name="T19" fmla="*/ 5 h 773"/>
                <a:gd name="T20" fmla="*/ 253 w 4428"/>
                <a:gd name="T21" fmla="*/ 113 h 773"/>
                <a:gd name="T22" fmla="*/ 529 w 4428"/>
                <a:gd name="T23" fmla="*/ 241 h 773"/>
                <a:gd name="T24" fmla="*/ 1279 w 4428"/>
                <a:gd name="T25" fmla="*/ 519 h 773"/>
                <a:gd name="T26" fmla="*/ 2444 w 4428"/>
                <a:gd name="T27" fmla="*/ 409 h 773"/>
                <a:gd name="T28" fmla="*/ 2724 w 4428"/>
                <a:gd name="T29" fmla="*/ 350 h 773"/>
                <a:gd name="T30" fmla="*/ 2871 w 4428"/>
                <a:gd name="T31" fmla="*/ 320 h 773"/>
                <a:gd name="T32" fmla="*/ 4008 w 4428"/>
                <a:gd name="T33" fmla="*/ 301 h 773"/>
                <a:gd name="T34" fmla="*/ 4423 w 4428"/>
                <a:gd name="T35" fmla="*/ 773 h 773"/>
                <a:gd name="T36" fmla="*/ 4428 w 4428"/>
                <a:gd name="T37" fmla="*/ 772 h 773"/>
                <a:gd name="T38" fmla="*/ 4389 w 4428"/>
                <a:gd name="T39" fmla="*/ 681 h 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428" h="773">
                  <a:moveTo>
                    <a:pt x="4389" y="681"/>
                  </a:moveTo>
                  <a:cubicBezTo>
                    <a:pt x="4301" y="495"/>
                    <a:pt x="4177" y="370"/>
                    <a:pt x="4010" y="297"/>
                  </a:cubicBezTo>
                  <a:cubicBezTo>
                    <a:pt x="3673" y="150"/>
                    <a:pt x="3228" y="242"/>
                    <a:pt x="2870" y="316"/>
                  </a:cubicBezTo>
                  <a:cubicBezTo>
                    <a:pt x="2819" y="326"/>
                    <a:pt x="2770" y="336"/>
                    <a:pt x="2723" y="346"/>
                  </a:cubicBezTo>
                  <a:cubicBezTo>
                    <a:pt x="2631" y="363"/>
                    <a:pt x="2540" y="383"/>
                    <a:pt x="2443" y="405"/>
                  </a:cubicBezTo>
                  <a:cubicBezTo>
                    <a:pt x="2057" y="489"/>
                    <a:pt x="1658" y="576"/>
                    <a:pt x="1280" y="515"/>
                  </a:cubicBezTo>
                  <a:cubicBezTo>
                    <a:pt x="1028" y="475"/>
                    <a:pt x="776" y="354"/>
                    <a:pt x="531" y="237"/>
                  </a:cubicBezTo>
                  <a:cubicBezTo>
                    <a:pt x="436" y="191"/>
                    <a:pt x="345" y="148"/>
                    <a:pt x="255" y="10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253" y="113"/>
                    <a:pt x="253" y="113"/>
                    <a:pt x="253" y="113"/>
                  </a:cubicBezTo>
                  <a:cubicBezTo>
                    <a:pt x="343" y="152"/>
                    <a:pt x="434" y="195"/>
                    <a:pt x="529" y="241"/>
                  </a:cubicBezTo>
                  <a:cubicBezTo>
                    <a:pt x="774" y="358"/>
                    <a:pt x="1027" y="479"/>
                    <a:pt x="1279" y="519"/>
                  </a:cubicBezTo>
                  <a:cubicBezTo>
                    <a:pt x="1658" y="580"/>
                    <a:pt x="2057" y="493"/>
                    <a:pt x="2444" y="409"/>
                  </a:cubicBezTo>
                  <a:cubicBezTo>
                    <a:pt x="2541" y="388"/>
                    <a:pt x="2632" y="368"/>
                    <a:pt x="2724" y="350"/>
                  </a:cubicBezTo>
                  <a:cubicBezTo>
                    <a:pt x="2771" y="341"/>
                    <a:pt x="2820" y="331"/>
                    <a:pt x="2871" y="320"/>
                  </a:cubicBezTo>
                  <a:cubicBezTo>
                    <a:pt x="3228" y="247"/>
                    <a:pt x="3672" y="155"/>
                    <a:pt x="4008" y="301"/>
                  </a:cubicBezTo>
                  <a:cubicBezTo>
                    <a:pt x="4224" y="396"/>
                    <a:pt x="4344" y="569"/>
                    <a:pt x="4423" y="773"/>
                  </a:cubicBezTo>
                  <a:cubicBezTo>
                    <a:pt x="4428" y="772"/>
                    <a:pt x="4428" y="772"/>
                    <a:pt x="4428" y="772"/>
                  </a:cubicBezTo>
                  <a:cubicBezTo>
                    <a:pt x="4416" y="741"/>
                    <a:pt x="4403" y="710"/>
                    <a:pt x="4389" y="681"/>
                  </a:cubicBezTo>
                  <a:close/>
                </a:path>
              </a:pathLst>
            </a:custGeom>
            <a:solidFill>
              <a:srgbClr val="D1D2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7" name="Freeform 46"/>
            <p:cNvSpPr>
              <a:spLocks/>
            </p:cNvSpPr>
            <p:nvPr userDrawn="1"/>
          </p:nvSpPr>
          <p:spPr bwMode="auto">
            <a:xfrm>
              <a:off x="-792" y="3631758"/>
              <a:ext cx="6878694" cy="1356498"/>
            </a:xfrm>
            <a:custGeom>
              <a:avLst/>
              <a:gdLst>
                <a:gd name="T0" fmla="*/ 4069 w 4511"/>
                <a:gd name="T1" fmla="*/ 269 h 889"/>
                <a:gd name="T2" fmla="*/ 2931 w 4511"/>
                <a:gd name="T3" fmla="*/ 304 h 889"/>
                <a:gd name="T4" fmla="*/ 2777 w 4511"/>
                <a:gd name="T5" fmla="*/ 338 h 889"/>
                <a:gd name="T6" fmla="*/ 2497 w 4511"/>
                <a:gd name="T7" fmla="*/ 401 h 889"/>
                <a:gd name="T8" fmla="*/ 1330 w 4511"/>
                <a:gd name="T9" fmla="*/ 532 h 889"/>
                <a:gd name="T10" fmla="*/ 574 w 4511"/>
                <a:gd name="T11" fmla="*/ 255 h 889"/>
                <a:gd name="T12" fmla="*/ 303 w 4511"/>
                <a:gd name="T13" fmla="*/ 129 h 889"/>
                <a:gd name="T14" fmla="*/ 0 w 4511"/>
                <a:gd name="T15" fmla="*/ 0 h 889"/>
                <a:gd name="T16" fmla="*/ 0 w 4511"/>
                <a:gd name="T17" fmla="*/ 5 h 889"/>
                <a:gd name="T18" fmla="*/ 301 w 4511"/>
                <a:gd name="T19" fmla="*/ 134 h 889"/>
                <a:gd name="T20" fmla="*/ 572 w 4511"/>
                <a:gd name="T21" fmla="*/ 259 h 889"/>
                <a:gd name="T22" fmla="*/ 1330 w 4511"/>
                <a:gd name="T23" fmla="*/ 536 h 889"/>
                <a:gd name="T24" fmla="*/ 2498 w 4511"/>
                <a:gd name="T25" fmla="*/ 406 h 889"/>
                <a:gd name="T26" fmla="*/ 2778 w 4511"/>
                <a:gd name="T27" fmla="*/ 343 h 889"/>
                <a:gd name="T28" fmla="*/ 2932 w 4511"/>
                <a:gd name="T29" fmla="*/ 309 h 889"/>
                <a:gd name="T30" fmla="*/ 4067 w 4511"/>
                <a:gd name="T31" fmla="*/ 273 h 889"/>
                <a:gd name="T32" fmla="*/ 4507 w 4511"/>
                <a:gd name="T33" fmla="*/ 889 h 889"/>
                <a:gd name="T34" fmla="*/ 4511 w 4511"/>
                <a:gd name="T35" fmla="*/ 889 h 889"/>
                <a:gd name="T36" fmla="*/ 4069 w 4511"/>
                <a:gd name="T37" fmla="*/ 269 h 8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511" h="889">
                  <a:moveTo>
                    <a:pt x="4069" y="269"/>
                  </a:moveTo>
                  <a:cubicBezTo>
                    <a:pt x="3738" y="123"/>
                    <a:pt x="3290" y="224"/>
                    <a:pt x="2931" y="304"/>
                  </a:cubicBezTo>
                  <a:cubicBezTo>
                    <a:pt x="2877" y="316"/>
                    <a:pt x="2826" y="328"/>
                    <a:pt x="2777" y="338"/>
                  </a:cubicBezTo>
                  <a:cubicBezTo>
                    <a:pt x="2686" y="357"/>
                    <a:pt x="2594" y="379"/>
                    <a:pt x="2497" y="401"/>
                  </a:cubicBezTo>
                  <a:cubicBezTo>
                    <a:pt x="2111" y="492"/>
                    <a:pt x="1711" y="585"/>
                    <a:pt x="1330" y="532"/>
                  </a:cubicBezTo>
                  <a:cubicBezTo>
                    <a:pt x="1076" y="496"/>
                    <a:pt x="821" y="373"/>
                    <a:pt x="574" y="255"/>
                  </a:cubicBezTo>
                  <a:cubicBezTo>
                    <a:pt x="480" y="210"/>
                    <a:pt x="391" y="167"/>
                    <a:pt x="303" y="12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301" y="134"/>
                    <a:pt x="301" y="134"/>
                    <a:pt x="301" y="134"/>
                  </a:cubicBezTo>
                  <a:cubicBezTo>
                    <a:pt x="389" y="171"/>
                    <a:pt x="478" y="214"/>
                    <a:pt x="572" y="259"/>
                  </a:cubicBezTo>
                  <a:cubicBezTo>
                    <a:pt x="819" y="378"/>
                    <a:pt x="1075" y="500"/>
                    <a:pt x="1330" y="536"/>
                  </a:cubicBezTo>
                  <a:cubicBezTo>
                    <a:pt x="1712" y="590"/>
                    <a:pt x="2112" y="496"/>
                    <a:pt x="2498" y="406"/>
                  </a:cubicBezTo>
                  <a:cubicBezTo>
                    <a:pt x="2595" y="383"/>
                    <a:pt x="2687" y="362"/>
                    <a:pt x="2778" y="343"/>
                  </a:cubicBezTo>
                  <a:cubicBezTo>
                    <a:pt x="2827" y="332"/>
                    <a:pt x="2878" y="321"/>
                    <a:pt x="2932" y="309"/>
                  </a:cubicBezTo>
                  <a:cubicBezTo>
                    <a:pt x="3291" y="228"/>
                    <a:pt x="3737" y="128"/>
                    <a:pt x="4067" y="273"/>
                  </a:cubicBezTo>
                  <a:cubicBezTo>
                    <a:pt x="4312" y="380"/>
                    <a:pt x="4429" y="634"/>
                    <a:pt x="4507" y="889"/>
                  </a:cubicBezTo>
                  <a:cubicBezTo>
                    <a:pt x="4511" y="889"/>
                    <a:pt x="4511" y="889"/>
                    <a:pt x="4511" y="889"/>
                  </a:cubicBezTo>
                  <a:cubicBezTo>
                    <a:pt x="4433" y="632"/>
                    <a:pt x="4316" y="377"/>
                    <a:pt x="4069" y="269"/>
                  </a:cubicBezTo>
                  <a:close/>
                </a:path>
              </a:pathLst>
            </a:custGeom>
            <a:solidFill>
              <a:srgbClr val="D0D2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8" name="Freeform 47"/>
            <p:cNvSpPr>
              <a:spLocks/>
            </p:cNvSpPr>
            <p:nvPr userDrawn="1"/>
          </p:nvSpPr>
          <p:spPr bwMode="auto">
            <a:xfrm>
              <a:off x="-792" y="3431331"/>
              <a:ext cx="6998951" cy="1537685"/>
            </a:xfrm>
            <a:custGeom>
              <a:avLst/>
              <a:gdLst>
                <a:gd name="T0" fmla="*/ 4455 w 4590"/>
                <a:gd name="T1" fmla="*/ 619 h 1007"/>
                <a:gd name="T2" fmla="*/ 4114 w 4590"/>
                <a:gd name="T3" fmla="*/ 255 h 1007"/>
                <a:gd name="T4" fmla="*/ 2978 w 4590"/>
                <a:gd name="T5" fmla="*/ 303 h 1007"/>
                <a:gd name="T6" fmla="*/ 2822 w 4590"/>
                <a:gd name="T7" fmla="*/ 339 h 1007"/>
                <a:gd name="T8" fmla="*/ 2545 w 4590"/>
                <a:gd name="T9" fmla="*/ 405 h 1007"/>
                <a:gd name="T10" fmla="*/ 1379 w 4590"/>
                <a:gd name="T11" fmla="*/ 549 h 1007"/>
                <a:gd name="T12" fmla="*/ 619 w 4590"/>
                <a:gd name="T13" fmla="*/ 274 h 1007"/>
                <a:gd name="T14" fmla="*/ 350 w 4590"/>
                <a:gd name="T15" fmla="*/ 150 h 1007"/>
                <a:gd name="T16" fmla="*/ 0 w 4590"/>
                <a:gd name="T17" fmla="*/ 0 h 1007"/>
                <a:gd name="T18" fmla="*/ 0 w 4590"/>
                <a:gd name="T19" fmla="*/ 5 h 1007"/>
                <a:gd name="T20" fmla="*/ 348 w 4590"/>
                <a:gd name="T21" fmla="*/ 154 h 1007"/>
                <a:gd name="T22" fmla="*/ 617 w 4590"/>
                <a:gd name="T23" fmla="*/ 278 h 1007"/>
                <a:gd name="T24" fmla="*/ 1379 w 4590"/>
                <a:gd name="T25" fmla="*/ 554 h 1007"/>
                <a:gd name="T26" fmla="*/ 2546 w 4590"/>
                <a:gd name="T27" fmla="*/ 410 h 1007"/>
                <a:gd name="T28" fmla="*/ 2823 w 4590"/>
                <a:gd name="T29" fmla="*/ 344 h 1007"/>
                <a:gd name="T30" fmla="*/ 2979 w 4590"/>
                <a:gd name="T31" fmla="*/ 307 h 1007"/>
                <a:gd name="T32" fmla="*/ 4112 w 4590"/>
                <a:gd name="T33" fmla="*/ 259 h 1007"/>
                <a:gd name="T34" fmla="*/ 4585 w 4590"/>
                <a:gd name="T35" fmla="*/ 1007 h 1007"/>
                <a:gd name="T36" fmla="*/ 4590 w 4590"/>
                <a:gd name="T37" fmla="*/ 1006 h 1007"/>
                <a:gd name="T38" fmla="*/ 4455 w 4590"/>
                <a:gd name="T39" fmla="*/ 619 h 10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590" h="1007">
                  <a:moveTo>
                    <a:pt x="4455" y="619"/>
                  </a:moveTo>
                  <a:cubicBezTo>
                    <a:pt x="4367" y="436"/>
                    <a:pt x="4255" y="317"/>
                    <a:pt x="4114" y="255"/>
                  </a:cubicBezTo>
                  <a:cubicBezTo>
                    <a:pt x="3785" y="110"/>
                    <a:pt x="3337" y="217"/>
                    <a:pt x="2978" y="303"/>
                  </a:cubicBezTo>
                  <a:cubicBezTo>
                    <a:pt x="2923" y="316"/>
                    <a:pt x="2872" y="328"/>
                    <a:pt x="2822" y="339"/>
                  </a:cubicBezTo>
                  <a:cubicBezTo>
                    <a:pt x="2731" y="359"/>
                    <a:pt x="2641" y="381"/>
                    <a:pt x="2545" y="405"/>
                  </a:cubicBezTo>
                  <a:cubicBezTo>
                    <a:pt x="2160" y="500"/>
                    <a:pt x="1761" y="598"/>
                    <a:pt x="1379" y="549"/>
                  </a:cubicBezTo>
                  <a:cubicBezTo>
                    <a:pt x="1124" y="517"/>
                    <a:pt x="867" y="393"/>
                    <a:pt x="619" y="274"/>
                  </a:cubicBezTo>
                  <a:cubicBezTo>
                    <a:pt x="525" y="229"/>
                    <a:pt x="437" y="187"/>
                    <a:pt x="350" y="15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348" y="154"/>
                    <a:pt x="348" y="154"/>
                    <a:pt x="348" y="154"/>
                  </a:cubicBezTo>
                  <a:cubicBezTo>
                    <a:pt x="435" y="191"/>
                    <a:pt x="523" y="234"/>
                    <a:pt x="617" y="278"/>
                  </a:cubicBezTo>
                  <a:cubicBezTo>
                    <a:pt x="865" y="398"/>
                    <a:pt x="1123" y="521"/>
                    <a:pt x="1379" y="554"/>
                  </a:cubicBezTo>
                  <a:cubicBezTo>
                    <a:pt x="1762" y="603"/>
                    <a:pt x="2160" y="505"/>
                    <a:pt x="2546" y="410"/>
                  </a:cubicBezTo>
                  <a:cubicBezTo>
                    <a:pt x="2642" y="386"/>
                    <a:pt x="2732" y="364"/>
                    <a:pt x="2823" y="344"/>
                  </a:cubicBezTo>
                  <a:cubicBezTo>
                    <a:pt x="2873" y="333"/>
                    <a:pt x="2924" y="320"/>
                    <a:pt x="2979" y="307"/>
                  </a:cubicBezTo>
                  <a:cubicBezTo>
                    <a:pt x="3338" y="222"/>
                    <a:pt x="3784" y="115"/>
                    <a:pt x="4112" y="259"/>
                  </a:cubicBezTo>
                  <a:cubicBezTo>
                    <a:pt x="4394" y="383"/>
                    <a:pt x="4506" y="711"/>
                    <a:pt x="4585" y="1007"/>
                  </a:cubicBezTo>
                  <a:cubicBezTo>
                    <a:pt x="4590" y="1006"/>
                    <a:pt x="4590" y="1006"/>
                    <a:pt x="4590" y="1006"/>
                  </a:cubicBezTo>
                  <a:cubicBezTo>
                    <a:pt x="4555" y="878"/>
                    <a:pt x="4514" y="742"/>
                    <a:pt x="4455" y="619"/>
                  </a:cubicBezTo>
                  <a:close/>
                </a:path>
              </a:pathLst>
            </a:custGeom>
            <a:solidFill>
              <a:srgbClr val="D0D1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9" name="Freeform 48"/>
            <p:cNvSpPr>
              <a:spLocks/>
            </p:cNvSpPr>
            <p:nvPr userDrawn="1"/>
          </p:nvSpPr>
          <p:spPr bwMode="auto">
            <a:xfrm>
              <a:off x="-792" y="3232506"/>
              <a:ext cx="7101570" cy="1717269"/>
            </a:xfrm>
            <a:custGeom>
              <a:avLst/>
              <a:gdLst>
                <a:gd name="T0" fmla="*/ 4653 w 4657"/>
                <a:gd name="T1" fmla="*/ 1112 h 1126"/>
                <a:gd name="T2" fmla="*/ 4486 w 4657"/>
                <a:gd name="T3" fmla="*/ 618 h 1126"/>
                <a:gd name="T4" fmla="*/ 4144 w 4657"/>
                <a:gd name="T5" fmla="*/ 253 h 1126"/>
                <a:gd name="T6" fmla="*/ 3013 w 4657"/>
                <a:gd name="T7" fmla="*/ 309 h 1126"/>
                <a:gd name="T8" fmla="*/ 2860 w 4657"/>
                <a:gd name="T9" fmla="*/ 347 h 1126"/>
                <a:gd name="T10" fmla="*/ 2586 w 4657"/>
                <a:gd name="T11" fmla="*/ 415 h 1126"/>
                <a:gd name="T12" fmla="*/ 1427 w 4657"/>
                <a:gd name="T13" fmla="*/ 568 h 1126"/>
                <a:gd name="T14" fmla="*/ 665 w 4657"/>
                <a:gd name="T15" fmla="*/ 294 h 1126"/>
                <a:gd name="T16" fmla="*/ 397 w 4657"/>
                <a:gd name="T17" fmla="*/ 170 h 1126"/>
                <a:gd name="T18" fmla="*/ 0 w 4657"/>
                <a:gd name="T19" fmla="*/ 0 h 1126"/>
                <a:gd name="T20" fmla="*/ 0 w 4657"/>
                <a:gd name="T21" fmla="*/ 5 h 1126"/>
                <a:gd name="T22" fmla="*/ 395 w 4657"/>
                <a:gd name="T23" fmla="*/ 174 h 1126"/>
                <a:gd name="T24" fmla="*/ 663 w 4657"/>
                <a:gd name="T25" fmla="*/ 298 h 1126"/>
                <a:gd name="T26" fmla="*/ 1426 w 4657"/>
                <a:gd name="T27" fmla="*/ 573 h 1126"/>
                <a:gd name="T28" fmla="*/ 2587 w 4657"/>
                <a:gd name="T29" fmla="*/ 420 h 1126"/>
                <a:gd name="T30" fmla="*/ 2861 w 4657"/>
                <a:gd name="T31" fmla="*/ 352 h 1126"/>
                <a:gd name="T32" fmla="*/ 3014 w 4657"/>
                <a:gd name="T33" fmla="*/ 314 h 1126"/>
                <a:gd name="T34" fmla="*/ 4142 w 4657"/>
                <a:gd name="T35" fmla="*/ 258 h 1126"/>
                <a:gd name="T36" fmla="*/ 4648 w 4657"/>
                <a:gd name="T37" fmla="*/ 1114 h 1126"/>
                <a:gd name="T38" fmla="*/ 4652 w 4657"/>
                <a:gd name="T39" fmla="*/ 1126 h 1126"/>
                <a:gd name="T40" fmla="*/ 4657 w 4657"/>
                <a:gd name="T41" fmla="*/ 1125 h 1126"/>
                <a:gd name="T42" fmla="*/ 4653 w 4657"/>
                <a:gd name="T43" fmla="*/ 1112 h 1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657" h="1126">
                  <a:moveTo>
                    <a:pt x="4653" y="1112"/>
                  </a:moveTo>
                  <a:cubicBezTo>
                    <a:pt x="4611" y="955"/>
                    <a:pt x="4564" y="777"/>
                    <a:pt x="4486" y="618"/>
                  </a:cubicBezTo>
                  <a:cubicBezTo>
                    <a:pt x="4397" y="435"/>
                    <a:pt x="4285" y="315"/>
                    <a:pt x="4144" y="253"/>
                  </a:cubicBezTo>
                  <a:cubicBezTo>
                    <a:pt x="3817" y="109"/>
                    <a:pt x="3371" y="220"/>
                    <a:pt x="3013" y="309"/>
                  </a:cubicBezTo>
                  <a:cubicBezTo>
                    <a:pt x="2959" y="323"/>
                    <a:pt x="2908" y="335"/>
                    <a:pt x="2860" y="347"/>
                  </a:cubicBezTo>
                  <a:cubicBezTo>
                    <a:pt x="2770" y="368"/>
                    <a:pt x="2681" y="391"/>
                    <a:pt x="2586" y="415"/>
                  </a:cubicBezTo>
                  <a:cubicBezTo>
                    <a:pt x="2203" y="513"/>
                    <a:pt x="1808" y="614"/>
                    <a:pt x="1427" y="568"/>
                  </a:cubicBezTo>
                  <a:cubicBezTo>
                    <a:pt x="1172" y="537"/>
                    <a:pt x="914" y="413"/>
                    <a:pt x="665" y="294"/>
                  </a:cubicBezTo>
                  <a:cubicBezTo>
                    <a:pt x="572" y="249"/>
                    <a:pt x="484" y="207"/>
                    <a:pt x="397" y="17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395" y="174"/>
                    <a:pt x="395" y="174"/>
                    <a:pt x="395" y="174"/>
                  </a:cubicBezTo>
                  <a:cubicBezTo>
                    <a:pt x="482" y="211"/>
                    <a:pt x="570" y="254"/>
                    <a:pt x="663" y="298"/>
                  </a:cubicBezTo>
                  <a:cubicBezTo>
                    <a:pt x="912" y="418"/>
                    <a:pt x="1170" y="542"/>
                    <a:pt x="1426" y="573"/>
                  </a:cubicBezTo>
                  <a:cubicBezTo>
                    <a:pt x="1808" y="620"/>
                    <a:pt x="2204" y="518"/>
                    <a:pt x="2587" y="420"/>
                  </a:cubicBezTo>
                  <a:cubicBezTo>
                    <a:pt x="2682" y="395"/>
                    <a:pt x="2771" y="372"/>
                    <a:pt x="2861" y="352"/>
                  </a:cubicBezTo>
                  <a:cubicBezTo>
                    <a:pt x="2909" y="340"/>
                    <a:pt x="2960" y="328"/>
                    <a:pt x="3014" y="314"/>
                  </a:cubicBezTo>
                  <a:cubicBezTo>
                    <a:pt x="3372" y="225"/>
                    <a:pt x="3817" y="115"/>
                    <a:pt x="4142" y="258"/>
                  </a:cubicBezTo>
                  <a:cubicBezTo>
                    <a:pt x="4457" y="396"/>
                    <a:pt x="4567" y="811"/>
                    <a:pt x="4648" y="1114"/>
                  </a:cubicBezTo>
                  <a:cubicBezTo>
                    <a:pt x="4649" y="1118"/>
                    <a:pt x="4650" y="1122"/>
                    <a:pt x="4652" y="1126"/>
                  </a:cubicBezTo>
                  <a:cubicBezTo>
                    <a:pt x="4657" y="1125"/>
                    <a:pt x="4657" y="1125"/>
                    <a:pt x="4657" y="1125"/>
                  </a:cubicBezTo>
                  <a:cubicBezTo>
                    <a:pt x="4655" y="1121"/>
                    <a:pt x="4654" y="1117"/>
                    <a:pt x="4653" y="1112"/>
                  </a:cubicBezTo>
                  <a:close/>
                </a:path>
              </a:pathLst>
            </a:custGeom>
            <a:solidFill>
              <a:srgbClr val="CFD1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0" name="Freeform 49"/>
            <p:cNvSpPr>
              <a:spLocks/>
            </p:cNvSpPr>
            <p:nvPr userDrawn="1"/>
          </p:nvSpPr>
          <p:spPr bwMode="auto">
            <a:xfrm>
              <a:off x="-792" y="3032077"/>
              <a:ext cx="7194569" cy="1901662"/>
            </a:xfrm>
            <a:custGeom>
              <a:avLst/>
              <a:gdLst>
                <a:gd name="T0" fmla="*/ 4699 w 4718"/>
                <a:gd name="T1" fmla="*/ 1179 h 1246"/>
                <a:gd name="T2" fmla="*/ 4683 w 4718"/>
                <a:gd name="T3" fmla="*/ 1122 h 1246"/>
                <a:gd name="T4" fmla="*/ 4509 w 4718"/>
                <a:gd name="T5" fmla="*/ 628 h 1246"/>
                <a:gd name="T6" fmla="*/ 4163 w 4718"/>
                <a:gd name="T7" fmla="*/ 263 h 1246"/>
                <a:gd name="T8" fmla="*/ 3038 w 4718"/>
                <a:gd name="T9" fmla="*/ 324 h 1246"/>
                <a:gd name="T10" fmla="*/ 2891 w 4718"/>
                <a:gd name="T11" fmla="*/ 361 h 1246"/>
                <a:gd name="T12" fmla="*/ 2622 w 4718"/>
                <a:gd name="T13" fmla="*/ 430 h 1246"/>
                <a:gd name="T14" fmla="*/ 1474 w 4718"/>
                <a:gd name="T15" fmla="*/ 588 h 1246"/>
                <a:gd name="T16" fmla="*/ 712 w 4718"/>
                <a:gd name="T17" fmla="*/ 314 h 1246"/>
                <a:gd name="T18" fmla="*/ 445 w 4718"/>
                <a:gd name="T19" fmla="*/ 190 h 1246"/>
                <a:gd name="T20" fmla="*/ 0 w 4718"/>
                <a:gd name="T21" fmla="*/ 0 h 1246"/>
                <a:gd name="T22" fmla="*/ 0 w 4718"/>
                <a:gd name="T23" fmla="*/ 5 h 1246"/>
                <a:gd name="T24" fmla="*/ 443 w 4718"/>
                <a:gd name="T25" fmla="*/ 195 h 1246"/>
                <a:gd name="T26" fmla="*/ 710 w 4718"/>
                <a:gd name="T27" fmla="*/ 319 h 1246"/>
                <a:gd name="T28" fmla="*/ 1473 w 4718"/>
                <a:gd name="T29" fmla="*/ 593 h 1246"/>
                <a:gd name="T30" fmla="*/ 2623 w 4718"/>
                <a:gd name="T31" fmla="*/ 435 h 1246"/>
                <a:gd name="T32" fmla="*/ 2892 w 4718"/>
                <a:gd name="T33" fmla="*/ 366 h 1246"/>
                <a:gd name="T34" fmla="*/ 3039 w 4718"/>
                <a:gd name="T35" fmla="*/ 329 h 1246"/>
                <a:gd name="T36" fmla="*/ 4161 w 4718"/>
                <a:gd name="T37" fmla="*/ 267 h 1246"/>
                <a:gd name="T38" fmla="*/ 4678 w 4718"/>
                <a:gd name="T39" fmla="*/ 1124 h 1246"/>
                <a:gd name="T40" fmla="*/ 4694 w 4718"/>
                <a:gd name="T41" fmla="*/ 1181 h 1246"/>
                <a:gd name="T42" fmla="*/ 4712 w 4718"/>
                <a:gd name="T43" fmla="*/ 1246 h 1246"/>
                <a:gd name="T44" fmla="*/ 4718 w 4718"/>
                <a:gd name="T45" fmla="*/ 1245 h 1246"/>
                <a:gd name="T46" fmla="*/ 4699 w 4718"/>
                <a:gd name="T47" fmla="*/ 1179 h 1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718" h="1246">
                  <a:moveTo>
                    <a:pt x="4699" y="1179"/>
                  </a:moveTo>
                  <a:cubicBezTo>
                    <a:pt x="4694" y="1161"/>
                    <a:pt x="4689" y="1142"/>
                    <a:pt x="4683" y="1122"/>
                  </a:cubicBezTo>
                  <a:cubicBezTo>
                    <a:pt x="4639" y="965"/>
                    <a:pt x="4588" y="786"/>
                    <a:pt x="4509" y="628"/>
                  </a:cubicBezTo>
                  <a:cubicBezTo>
                    <a:pt x="4417" y="444"/>
                    <a:pt x="4304" y="324"/>
                    <a:pt x="4163" y="263"/>
                  </a:cubicBezTo>
                  <a:cubicBezTo>
                    <a:pt x="3837" y="119"/>
                    <a:pt x="3394" y="232"/>
                    <a:pt x="3038" y="324"/>
                  </a:cubicBezTo>
                  <a:cubicBezTo>
                    <a:pt x="2986" y="337"/>
                    <a:pt x="2937" y="349"/>
                    <a:pt x="2891" y="361"/>
                  </a:cubicBezTo>
                  <a:cubicBezTo>
                    <a:pt x="2803" y="382"/>
                    <a:pt x="2715" y="405"/>
                    <a:pt x="2622" y="430"/>
                  </a:cubicBezTo>
                  <a:cubicBezTo>
                    <a:pt x="2243" y="530"/>
                    <a:pt x="1851" y="633"/>
                    <a:pt x="1474" y="588"/>
                  </a:cubicBezTo>
                  <a:cubicBezTo>
                    <a:pt x="1219" y="558"/>
                    <a:pt x="961" y="434"/>
                    <a:pt x="712" y="314"/>
                  </a:cubicBezTo>
                  <a:cubicBezTo>
                    <a:pt x="619" y="269"/>
                    <a:pt x="532" y="227"/>
                    <a:pt x="445" y="19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443" y="195"/>
                    <a:pt x="443" y="195"/>
                    <a:pt x="443" y="195"/>
                  </a:cubicBezTo>
                  <a:cubicBezTo>
                    <a:pt x="530" y="232"/>
                    <a:pt x="617" y="274"/>
                    <a:pt x="710" y="319"/>
                  </a:cubicBezTo>
                  <a:cubicBezTo>
                    <a:pt x="960" y="439"/>
                    <a:pt x="1217" y="563"/>
                    <a:pt x="1473" y="593"/>
                  </a:cubicBezTo>
                  <a:cubicBezTo>
                    <a:pt x="1852" y="639"/>
                    <a:pt x="2244" y="535"/>
                    <a:pt x="2623" y="435"/>
                  </a:cubicBezTo>
                  <a:cubicBezTo>
                    <a:pt x="2716" y="410"/>
                    <a:pt x="2804" y="387"/>
                    <a:pt x="2892" y="366"/>
                  </a:cubicBezTo>
                  <a:cubicBezTo>
                    <a:pt x="2939" y="354"/>
                    <a:pt x="2988" y="342"/>
                    <a:pt x="3039" y="329"/>
                  </a:cubicBezTo>
                  <a:cubicBezTo>
                    <a:pt x="3394" y="238"/>
                    <a:pt x="3837" y="125"/>
                    <a:pt x="4161" y="267"/>
                  </a:cubicBezTo>
                  <a:cubicBezTo>
                    <a:pt x="4476" y="406"/>
                    <a:pt x="4588" y="804"/>
                    <a:pt x="4678" y="1124"/>
                  </a:cubicBezTo>
                  <a:cubicBezTo>
                    <a:pt x="4684" y="1143"/>
                    <a:pt x="4689" y="1162"/>
                    <a:pt x="4694" y="1181"/>
                  </a:cubicBezTo>
                  <a:cubicBezTo>
                    <a:pt x="4700" y="1202"/>
                    <a:pt x="4706" y="1224"/>
                    <a:pt x="4712" y="1246"/>
                  </a:cubicBezTo>
                  <a:cubicBezTo>
                    <a:pt x="4718" y="1245"/>
                    <a:pt x="4718" y="1245"/>
                    <a:pt x="4718" y="1245"/>
                  </a:cubicBezTo>
                  <a:cubicBezTo>
                    <a:pt x="4711" y="1223"/>
                    <a:pt x="4705" y="1201"/>
                    <a:pt x="4699" y="1179"/>
                  </a:cubicBezTo>
                  <a:close/>
                </a:path>
              </a:pathLst>
            </a:custGeom>
            <a:solidFill>
              <a:srgbClr val="CFD0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1" name="Freeform 50"/>
            <p:cNvSpPr>
              <a:spLocks/>
            </p:cNvSpPr>
            <p:nvPr userDrawn="1"/>
          </p:nvSpPr>
          <p:spPr bwMode="auto">
            <a:xfrm>
              <a:off x="-792" y="2831650"/>
              <a:ext cx="7281154" cy="2086056"/>
            </a:xfrm>
            <a:custGeom>
              <a:avLst/>
              <a:gdLst>
                <a:gd name="T0" fmla="*/ 4769 w 4775"/>
                <a:gd name="T1" fmla="*/ 1346 h 1367"/>
                <a:gd name="T2" fmla="*/ 4726 w 4775"/>
                <a:gd name="T3" fmla="*/ 1198 h 1367"/>
                <a:gd name="T4" fmla="*/ 4708 w 4775"/>
                <a:gd name="T5" fmla="*/ 1139 h 1367"/>
                <a:gd name="T6" fmla="*/ 4173 w 4775"/>
                <a:gd name="T7" fmla="*/ 281 h 1367"/>
                <a:gd name="T8" fmla="*/ 3055 w 4775"/>
                <a:gd name="T9" fmla="*/ 344 h 1367"/>
                <a:gd name="T10" fmla="*/ 2916 w 4775"/>
                <a:gd name="T11" fmla="*/ 379 h 1367"/>
                <a:gd name="T12" fmla="*/ 2654 w 4775"/>
                <a:gd name="T13" fmla="*/ 448 h 1367"/>
                <a:gd name="T14" fmla="*/ 1520 w 4775"/>
                <a:gd name="T15" fmla="*/ 609 h 1367"/>
                <a:gd name="T16" fmla="*/ 761 w 4775"/>
                <a:gd name="T17" fmla="*/ 334 h 1367"/>
                <a:gd name="T18" fmla="*/ 492 w 4775"/>
                <a:gd name="T19" fmla="*/ 210 h 1367"/>
                <a:gd name="T20" fmla="*/ 0 w 4775"/>
                <a:gd name="T21" fmla="*/ 0 h 1367"/>
                <a:gd name="T22" fmla="*/ 0 w 4775"/>
                <a:gd name="T23" fmla="*/ 6 h 1367"/>
                <a:gd name="T24" fmla="*/ 490 w 4775"/>
                <a:gd name="T25" fmla="*/ 215 h 1367"/>
                <a:gd name="T26" fmla="*/ 758 w 4775"/>
                <a:gd name="T27" fmla="*/ 339 h 1367"/>
                <a:gd name="T28" fmla="*/ 1519 w 4775"/>
                <a:gd name="T29" fmla="*/ 614 h 1367"/>
                <a:gd name="T30" fmla="*/ 2655 w 4775"/>
                <a:gd name="T31" fmla="*/ 454 h 1367"/>
                <a:gd name="T32" fmla="*/ 2918 w 4775"/>
                <a:gd name="T33" fmla="*/ 385 h 1367"/>
                <a:gd name="T34" fmla="*/ 3057 w 4775"/>
                <a:gd name="T35" fmla="*/ 349 h 1367"/>
                <a:gd name="T36" fmla="*/ 4171 w 4775"/>
                <a:gd name="T37" fmla="*/ 286 h 1367"/>
                <a:gd name="T38" fmla="*/ 4703 w 4775"/>
                <a:gd name="T39" fmla="*/ 1141 h 1367"/>
                <a:gd name="T40" fmla="*/ 4721 w 4775"/>
                <a:gd name="T41" fmla="*/ 1200 h 1367"/>
                <a:gd name="T42" fmla="*/ 4764 w 4775"/>
                <a:gd name="T43" fmla="*/ 1348 h 1367"/>
                <a:gd name="T44" fmla="*/ 4770 w 4775"/>
                <a:gd name="T45" fmla="*/ 1367 h 1367"/>
                <a:gd name="T46" fmla="*/ 4775 w 4775"/>
                <a:gd name="T47" fmla="*/ 1366 h 1367"/>
                <a:gd name="T48" fmla="*/ 4769 w 4775"/>
                <a:gd name="T49" fmla="*/ 1346 h 1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775" h="1367">
                  <a:moveTo>
                    <a:pt x="4769" y="1346"/>
                  </a:moveTo>
                  <a:cubicBezTo>
                    <a:pt x="4755" y="1295"/>
                    <a:pt x="4741" y="1246"/>
                    <a:pt x="4726" y="1198"/>
                  </a:cubicBezTo>
                  <a:cubicBezTo>
                    <a:pt x="4720" y="1179"/>
                    <a:pt x="4714" y="1160"/>
                    <a:pt x="4708" y="1139"/>
                  </a:cubicBezTo>
                  <a:cubicBezTo>
                    <a:pt x="4612" y="819"/>
                    <a:pt x="4491" y="420"/>
                    <a:pt x="4173" y="281"/>
                  </a:cubicBezTo>
                  <a:cubicBezTo>
                    <a:pt x="3847" y="138"/>
                    <a:pt x="3408" y="252"/>
                    <a:pt x="3055" y="344"/>
                  </a:cubicBezTo>
                  <a:cubicBezTo>
                    <a:pt x="3007" y="356"/>
                    <a:pt x="2961" y="368"/>
                    <a:pt x="2916" y="379"/>
                  </a:cubicBezTo>
                  <a:cubicBezTo>
                    <a:pt x="2830" y="401"/>
                    <a:pt x="2744" y="424"/>
                    <a:pt x="2654" y="448"/>
                  </a:cubicBezTo>
                  <a:cubicBezTo>
                    <a:pt x="2280" y="550"/>
                    <a:pt x="1893" y="654"/>
                    <a:pt x="1520" y="609"/>
                  </a:cubicBezTo>
                  <a:cubicBezTo>
                    <a:pt x="1266" y="578"/>
                    <a:pt x="1009" y="454"/>
                    <a:pt x="761" y="334"/>
                  </a:cubicBezTo>
                  <a:cubicBezTo>
                    <a:pt x="667" y="290"/>
                    <a:pt x="579" y="247"/>
                    <a:pt x="492" y="21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490" y="215"/>
                    <a:pt x="490" y="215"/>
                    <a:pt x="490" y="215"/>
                  </a:cubicBezTo>
                  <a:cubicBezTo>
                    <a:pt x="577" y="252"/>
                    <a:pt x="665" y="294"/>
                    <a:pt x="758" y="339"/>
                  </a:cubicBezTo>
                  <a:cubicBezTo>
                    <a:pt x="1007" y="459"/>
                    <a:pt x="1264" y="583"/>
                    <a:pt x="1519" y="614"/>
                  </a:cubicBezTo>
                  <a:cubicBezTo>
                    <a:pt x="1893" y="660"/>
                    <a:pt x="2281" y="555"/>
                    <a:pt x="2655" y="454"/>
                  </a:cubicBezTo>
                  <a:cubicBezTo>
                    <a:pt x="2746" y="429"/>
                    <a:pt x="2832" y="406"/>
                    <a:pt x="2918" y="385"/>
                  </a:cubicBezTo>
                  <a:cubicBezTo>
                    <a:pt x="2962" y="374"/>
                    <a:pt x="3008" y="362"/>
                    <a:pt x="3057" y="349"/>
                  </a:cubicBezTo>
                  <a:cubicBezTo>
                    <a:pt x="3408" y="257"/>
                    <a:pt x="3846" y="143"/>
                    <a:pt x="4171" y="286"/>
                  </a:cubicBezTo>
                  <a:cubicBezTo>
                    <a:pt x="4487" y="424"/>
                    <a:pt x="4607" y="822"/>
                    <a:pt x="4703" y="1141"/>
                  </a:cubicBezTo>
                  <a:cubicBezTo>
                    <a:pt x="4709" y="1161"/>
                    <a:pt x="4715" y="1181"/>
                    <a:pt x="4721" y="1200"/>
                  </a:cubicBezTo>
                  <a:cubicBezTo>
                    <a:pt x="4735" y="1248"/>
                    <a:pt x="4749" y="1296"/>
                    <a:pt x="4764" y="1348"/>
                  </a:cubicBezTo>
                  <a:cubicBezTo>
                    <a:pt x="4766" y="1354"/>
                    <a:pt x="4768" y="1360"/>
                    <a:pt x="4770" y="1367"/>
                  </a:cubicBezTo>
                  <a:cubicBezTo>
                    <a:pt x="4775" y="1366"/>
                    <a:pt x="4775" y="1366"/>
                    <a:pt x="4775" y="1366"/>
                  </a:cubicBezTo>
                  <a:cubicBezTo>
                    <a:pt x="4773" y="1359"/>
                    <a:pt x="4771" y="1353"/>
                    <a:pt x="4769" y="1346"/>
                  </a:cubicBezTo>
                  <a:close/>
                </a:path>
              </a:pathLst>
            </a:custGeom>
            <a:solidFill>
              <a:srgbClr val="CED0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2" name="Freeform 51"/>
            <p:cNvSpPr>
              <a:spLocks/>
            </p:cNvSpPr>
            <p:nvPr userDrawn="1"/>
          </p:nvSpPr>
          <p:spPr bwMode="auto">
            <a:xfrm>
              <a:off x="-792" y="2632825"/>
              <a:ext cx="7369342" cy="2270450"/>
            </a:xfrm>
            <a:custGeom>
              <a:avLst/>
              <a:gdLst>
                <a:gd name="T0" fmla="*/ 4796 w 4833"/>
                <a:gd name="T1" fmla="*/ 1369 h 1488"/>
                <a:gd name="T2" fmla="*/ 4749 w 4833"/>
                <a:gd name="T3" fmla="*/ 1221 h 1488"/>
                <a:gd name="T4" fmla="*/ 4730 w 4833"/>
                <a:gd name="T5" fmla="*/ 1162 h 1488"/>
                <a:gd name="T6" fmla="*/ 4175 w 4833"/>
                <a:gd name="T7" fmla="*/ 306 h 1488"/>
                <a:gd name="T8" fmla="*/ 3066 w 4833"/>
                <a:gd name="T9" fmla="*/ 369 h 1488"/>
                <a:gd name="T10" fmla="*/ 2938 w 4833"/>
                <a:gd name="T11" fmla="*/ 402 h 1488"/>
                <a:gd name="T12" fmla="*/ 2682 w 4833"/>
                <a:gd name="T13" fmla="*/ 471 h 1488"/>
                <a:gd name="T14" fmla="*/ 1565 w 4833"/>
                <a:gd name="T15" fmla="*/ 630 h 1488"/>
                <a:gd name="T16" fmla="*/ 810 w 4833"/>
                <a:gd name="T17" fmla="*/ 355 h 1488"/>
                <a:gd name="T18" fmla="*/ 540 w 4833"/>
                <a:gd name="T19" fmla="*/ 230 h 1488"/>
                <a:gd name="T20" fmla="*/ 0 w 4833"/>
                <a:gd name="T21" fmla="*/ 0 h 1488"/>
                <a:gd name="T22" fmla="*/ 0 w 4833"/>
                <a:gd name="T23" fmla="*/ 6 h 1488"/>
                <a:gd name="T24" fmla="*/ 537 w 4833"/>
                <a:gd name="T25" fmla="*/ 235 h 1488"/>
                <a:gd name="T26" fmla="*/ 807 w 4833"/>
                <a:gd name="T27" fmla="*/ 360 h 1488"/>
                <a:gd name="T28" fmla="*/ 1564 w 4833"/>
                <a:gd name="T29" fmla="*/ 636 h 1488"/>
                <a:gd name="T30" fmla="*/ 2683 w 4833"/>
                <a:gd name="T31" fmla="*/ 476 h 1488"/>
                <a:gd name="T32" fmla="*/ 2939 w 4833"/>
                <a:gd name="T33" fmla="*/ 408 h 1488"/>
                <a:gd name="T34" fmla="*/ 3067 w 4833"/>
                <a:gd name="T35" fmla="*/ 374 h 1488"/>
                <a:gd name="T36" fmla="*/ 4173 w 4833"/>
                <a:gd name="T37" fmla="*/ 311 h 1488"/>
                <a:gd name="T38" fmla="*/ 4724 w 4833"/>
                <a:gd name="T39" fmla="*/ 1164 h 1488"/>
                <a:gd name="T40" fmla="*/ 4743 w 4833"/>
                <a:gd name="T41" fmla="*/ 1223 h 1488"/>
                <a:gd name="T42" fmla="*/ 4790 w 4833"/>
                <a:gd name="T43" fmla="*/ 1371 h 1488"/>
                <a:gd name="T44" fmla="*/ 4827 w 4833"/>
                <a:gd name="T45" fmla="*/ 1488 h 1488"/>
                <a:gd name="T46" fmla="*/ 4833 w 4833"/>
                <a:gd name="T47" fmla="*/ 1487 h 1488"/>
                <a:gd name="T48" fmla="*/ 4796 w 4833"/>
                <a:gd name="T49" fmla="*/ 1369 h 1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833" h="1488">
                  <a:moveTo>
                    <a:pt x="4796" y="1369"/>
                  </a:moveTo>
                  <a:cubicBezTo>
                    <a:pt x="4780" y="1317"/>
                    <a:pt x="4764" y="1269"/>
                    <a:pt x="4749" y="1221"/>
                  </a:cubicBezTo>
                  <a:cubicBezTo>
                    <a:pt x="4742" y="1202"/>
                    <a:pt x="4736" y="1182"/>
                    <a:pt x="4730" y="1162"/>
                  </a:cubicBezTo>
                  <a:cubicBezTo>
                    <a:pt x="4626" y="843"/>
                    <a:pt x="4496" y="446"/>
                    <a:pt x="4175" y="306"/>
                  </a:cubicBezTo>
                  <a:cubicBezTo>
                    <a:pt x="3848" y="163"/>
                    <a:pt x="3414" y="277"/>
                    <a:pt x="3066" y="369"/>
                  </a:cubicBezTo>
                  <a:cubicBezTo>
                    <a:pt x="3021" y="381"/>
                    <a:pt x="2979" y="392"/>
                    <a:pt x="2938" y="402"/>
                  </a:cubicBezTo>
                  <a:cubicBezTo>
                    <a:pt x="2854" y="423"/>
                    <a:pt x="2770" y="446"/>
                    <a:pt x="2682" y="471"/>
                  </a:cubicBezTo>
                  <a:cubicBezTo>
                    <a:pt x="2313" y="572"/>
                    <a:pt x="1932" y="677"/>
                    <a:pt x="1565" y="630"/>
                  </a:cubicBezTo>
                  <a:cubicBezTo>
                    <a:pt x="1312" y="598"/>
                    <a:pt x="1057" y="475"/>
                    <a:pt x="810" y="355"/>
                  </a:cubicBezTo>
                  <a:cubicBezTo>
                    <a:pt x="716" y="310"/>
                    <a:pt x="627" y="267"/>
                    <a:pt x="540" y="23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537" y="235"/>
                    <a:pt x="537" y="235"/>
                    <a:pt x="537" y="235"/>
                  </a:cubicBezTo>
                  <a:cubicBezTo>
                    <a:pt x="625" y="273"/>
                    <a:pt x="714" y="315"/>
                    <a:pt x="807" y="360"/>
                  </a:cubicBezTo>
                  <a:cubicBezTo>
                    <a:pt x="1055" y="480"/>
                    <a:pt x="1311" y="603"/>
                    <a:pt x="1564" y="636"/>
                  </a:cubicBezTo>
                  <a:cubicBezTo>
                    <a:pt x="1933" y="683"/>
                    <a:pt x="2314" y="578"/>
                    <a:pt x="2683" y="476"/>
                  </a:cubicBezTo>
                  <a:cubicBezTo>
                    <a:pt x="2772" y="452"/>
                    <a:pt x="2855" y="429"/>
                    <a:pt x="2939" y="408"/>
                  </a:cubicBezTo>
                  <a:cubicBezTo>
                    <a:pt x="2980" y="397"/>
                    <a:pt x="3023" y="386"/>
                    <a:pt x="3067" y="374"/>
                  </a:cubicBezTo>
                  <a:cubicBezTo>
                    <a:pt x="3415" y="283"/>
                    <a:pt x="3847" y="169"/>
                    <a:pt x="4173" y="311"/>
                  </a:cubicBezTo>
                  <a:cubicBezTo>
                    <a:pt x="4492" y="450"/>
                    <a:pt x="4621" y="846"/>
                    <a:pt x="4724" y="1164"/>
                  </a:cubicBezTo>
                  <a:cubicBezTo>
                    <a:pt x="4731" y="1184"/>
                    <a:pt x="4737" y="1204"/>
                    <a:pt x="4743" y="1223"/>
                  </a:cubicBezTo>
                  <a:cubicBezTo>
                    <a:pt x="4759" y="1271"/>
                    <a:pt x="4774" y="1319"/>
                    <a:pt x="4790" y="1371"/>
                  </a:cubicBezTo>
                  <a:cubicBezTo>
                    <a:pt x="4802" y="1409"/>
                    <a:pt x="4814" y="1448"/>
                    <a:pt x="4827" y="1488"/>
                  </a:cubicBezTo>
                  <a:cubicBezTo>
                    <a:pt x="4833" y="1487"/>
                    <a:pt x="4833" y="1487"/>
                    <a:pt x="4833" y="1487"/>
                  </a:cubicBezTo>
                  <a:cubicBezTo>
                    <a:pt x="4820" y="1447"/>
                    <a:pt x="4808" y="1408"/>
                    <a:pt x="4796" y="1369"/>
                  </a:cubicBezTo>
                  <a:close/>
                </a:path>
              </a:pathLst>
            </a:custGeom>
            <a:solidFill>
              <a:srgbClr val="CECF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3" name="Freeform 52"/>
            <p:cNvSpPr>
              <a:spLocks/>
            </p:cNvSpPr>
            <p:nvPr userDrawn="1"/>
          </p:nvSpPr>
          <p:spPr bwMode="auto">
            <a:xfrm>
              <a:off x="-792" y="2430793"/>
              <a:ext cx="7462341" cy="2454844"/>
            </a:xfrm>
            <a:custGeom>
              <a:avLst/>
              <a:gdLst>
                <a:gd name="T0" fmla="*/ 4819 w 4894"/>
                <a:gd name="T1" fmla="*/ 1395 h 1609"/>
                <a:gd name="T2" fmla="*/ 4768 w 4894"/>
                <a:gd name="T3" fmla="*/ 1248 h 1609"/>
                <a:gd name="T4" fmla="*/ 4749 w 4894"/>
                <a:gd name="T5" fmla="*/ 1191 h 1609"/>
                <a:gd name="T6" fmla="*/ 4172 w 4894"/>
                <a:gd name="T7" fmla="*/ 337 h 1609"/>
                <a:gd name="T8" fmla="*/ 3072 w 4894"/>
                <a:gd name="T9" fmla="*/ 398 h 1609"/>
                <a:gd name="T10" fmla="*/ 2956 w 4894"/>
                <a:gd name="T11" fmla="*/ 429 h 1609"/>
                <a:gd name="T12" fmla="*/ 2707 w 4894"/>
                <a:gd name="T13" fmla="*/ 496 h 1609"/>
                <a:gd name="T14" fmla="*/ 1610 w 4894"/>
                <a:gd name="T15" fmla="*/ 653 h 1609"/>
                <a:gd name="T16" fmla="*/ 860 w 4894"/>
                <a:gd name="T17" fmla="*/ 378 h 1609"/>
                <a:gd name="T18" fmla="*/ 587 w 4894"/>
                <a:gd name="T19" fmla="*/ 251 h 1609"/>
                <a:gd name="T20" fmla="*/ 0 w 4894"/>
                <a:gd name="T21" fmla="*/ 0 h 1609"/>
                <a:gd name="T22" fmla="*/ 0 w 4894"/>
                <a:gd name="T23" fmla="*/ 7 h 1609"/>
                <a:gd name="T24" fmla="*/ 585 w 4894"/>
                <a:gd name="T25" fmla="*/ 256 h 1609"/>
                <a:gd name="T26" fmla="*/ 857 w 4894"/>
                <a:gd name="T27" fmla="*/ 383 h 1609"/>
                <a:gd name="T28" fmla="*/ 1609 w 4894"/>
                <a:gd name="T29" fmla="*/ 658 h 1609"/>
                <a:gd name="T30" fmla="*/ 2709 w 4894"/>
                <a:gd name="T31" fmla="*/ 502 h 1609"/>
                <a:gd name="T32" fmla="*/ 2957 w 4894"/>
                <a:gd name="T33" fmla="*/ 434 h 1609"/>
                <a:gd name="T34" fmla="*/ 3073 w 4894"/>
                <a:gd name="T35" fmla="*/ 404 h 1609"/>
                <a:gd name="T36" fmla="*/ 4169 w 4894"/>
                <a:gd name="T37" fmla="*/ 342 h 1609"/>
                <a:gd name="T38" fmla="*/ 4743 w 4894"/>
                <a:gd name="T39" fmla="*/ 1193 h 1609"/>
                <a:gd name="T40" fmla="*/ 4763 w 4894"/>
                <a:gd name="T41" fmla="*/ 1250 h 1609"/>
                <a:gd name="T42" fmla="*/ 4814 w 4894"/>
                <a:gd name="T43" fmla="*/ 1397 h 1609"/>
                <a:gd name="T44" fmla="*/ 4888 w 4894"/>
                <a:gd name="T45" fmla="*/ 1609 h 1609"/>
                <a:gd name="T46" fmla="*/ 4894 w 4894"/>
                <a:gd name="T47" fmla="*/ 1608 h 1609"/>
                <a:gd name="T48" fmla="*/ 4819 w 4894"/>
                <a:gd name="T49" fmla="*/ 1395 h 1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894" h="1609">
                  <a:moveTo>
                    <a:pt x="4819" y="1395"/>
                  </a:moveTo>
                  <a:cubicBezTo>
                    <a:pt x="4802" y="1344"/>
                    <a:pt x="4785" y="1295"/>
                    <a:pt x="4768" y="1248"/>
                  </a:cubicBezTo>
                  <a:cubicBezTo>
                    <a:pt x="4762" y="1229"/>
                    <a:pt x="4755" y="1210"/>
                    <a:pt x="4749" y="1191"/>
                  </a:cubicBezTo>
                  <a:cubicBezTo>
                    <a:pt x="4637" y="874"/>
                    <a:pt x="4497" y="478"/>
                    <a:pt x="4172" y="337"/>
                  </a:cubicBezTo>
                  <a:cubicBezTo>
                    <a:pt x="3843" y="194"/>
                    <a:pt x="3416" y="307"/>
                    <a:pt x="3072" y="398"/>
                  </a:cubicBezTo>
                  <a:cubicBezTo>
                    <a:pt x="3032" y="409"/>
                    <a:pt x="2993" y="419"/>
                    <a:pt x="2956" y="429"/>
                  </a:cubicBezTo>
                  <a:cubicBezTo>
                    <a:pt x="2875" y="449"/>
                    <a:pt x="2793" y="472"/>
                    <a:pt x="2707" y="496"/>
                  </a:cubicBezTo>
                  <a:cubicBezTo>
                    <a:pt x="2345" y="597"/>
                    <a:pt x="1970" y="702"/>
                    <a:pt x="1610" y="653"/>
                  </a:cubicBezTo>
                  <a:cubicBezTo>
                    <a:pt x="1359" y="618"/>
                    <a:pt x="1105" y="496"/>
                    <a:pt x="860" y="378"/>
                  </a:cubicBezTo>
                  <a:cubicBezTo>
                    <a:pt x="765" y="332"/>
                    <a:pt x="675" y="289"/>
                    <a:pt x="587" y="2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585" y="256"/>
                    <a:pt x="585" y="256"/>
                    <a:pt x="585" y="256"/>
                  </a:cubicBezTo>
                  <a:cubicBezTo>
                    <a:pt x="673" y="294"/>
                    <a:pt x="763" y="337"/>
                    <a:pt x="857" y="383"/>
                  </a:cubicBezTo>
                  <a:cubicBezTo>
                    <a:pt x="1103" y="501"/>
                    <a:pt x="1357" y="624"/>
                    <a:pt x="1609" y="658"/>
                  </a:cubicBezTo>
                  <a:cubicBezTo>
                    <a:pt x="1971" y="708"/>
                    <a:pt x="2346" y="603"/>
                    <a:pt x="2709" y="502"/>
                  </a:cubicBezTo>
                  <a:cubicBezTo>
                    <a:pt x="2795" y="478"/>
                    <a:pt x="2876" y="455"/>
                    <a:pt x="2957" y="434"/>
                  </a:cubicBezTo>
                  <a:cubicBezTo>
                    <a:pt x="2995" y="425"/>
                    <a:pt x="3033" y="415"/>
                    <a:pt x="3073" y="404"/>
                  </a:cubicBezTo>
                  <a:cubicBezTo>
                    <a:pt x="3416" y="313"/>
                    <a:pt x="3843" y="200"/>
                    <a:pt x="4169" y="342"/>
                  </a:cubicBezTo>
                  <a:cubicBezTo>
                    <a:pt x="4493" y="482"/>
                    <a:pt x="4632" y="877"/>
                    <a:pt x="4743" y="1193"/>
                  </a:cubicBezTo>
                  <a:cubicBezTo>
                    <a:pt x="4750" y="1212"/>
                    <a:pt x="4757" y="1231"/>
                    <a:pt x="4763" y="1250"/>
                  </a:cubicBezTo>
                  <a:cubicBezTo>
                    <a:pt x="4780" y="1297"/>
                    <a:pt x="4796" y="1346"/>
                    <a:pt x="4814" y="1397"/>
                  </a:cubicBezTo>
                  <a:cubicBezTo>
                    <a:pt x="4837" y="1466"/>
                    <a:pt x="4861" y="1538"/>
                    <a:pt x="4888" y="1609"/>
                  </a:cubicBezTo>
                  <a:cubicBezTo>
                    <a:pt x="4894" y="1608"/>
                    <a:pt x="4894" y="1608"/>
                    <a:pt x="4894" y="1608"/>
                  </a:cubicBezTo>
                  <a:cubicBezTo>
                    <a:pt x="4867" y="1537"/>
                    <a:pt x="4843" y="1465"/>
                    <a:pt x="4819" y="1395"/>
                  </a:cubicBezTo>
                  <a:close/>
                </a:path>
              </a:pathLst>
            </a:custGeom>
            <a:solidFill>
              <a:srgbClr val="CDCF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4" name="Freeform 53"/>
            <p:cNvSpPr>
              <a:spLocks/>
            </p:cNvSpPr>
            <p:nvPr userDrawn="1"/>
          </p:nvSpPr>
          <p:spPr bwMode="auto">
            <a:xfrm>
              <a:off x="-792" y="2230365"/>
              <a:ext cx="7563356" cy="2637635"/>
            </a:xfrm>
            <a:custGeom>
              <a:avLst/>
              <a:gdLst>
                <a:gd name="T0" fmla="*/ 4841 w 4960"/>
                <a:gd name="T1" fmla="*/ 1422 h 1728"/>
                <a:gd name="T2" fmla="*/ 4786 w 4960"/>
                <a:gd name="T3" fmla="*/ 1275 h 1728"/>
                <a:gd name="T4" fmla="*/ 4766 w 4960"/>
                <a:gd name="T5" fmla="*/ 1222 h 1728"/>
                <a:gd name="T6" fmla="*/ 4165 w 4960"/>
                <a:gd name="T7" fmla="*/ 370 h 1728"/>
                <a:gd name="T8" fmla="*/ 3074 w 4960"/>
                <a:gd name="T9" fmla="*/ 429 h 1728"/>
                <a:gd name="T10" fmla="*/ 2972 w 4960"/>
                <a:gd name="T11" fmla="*/ 456 h 1728"/>
                <a:gd name="T12" fmla="*/ 2731 w 4960"/>
                <a:gd name="T13" fmla="*/ 522 h 1728"/>
                <a:gd name="T14" fmla="*/ 1654 w 4960"/>
                <a:gd name="T15" fmla="*/ 675 h 1728"/>
                <a:gd name="T16" fmla="*/ 910 w 4960"/>
                <a:gd name="T17" fmla="*/ 399 h 1728"/>
                <a:gd name="T18" fmla="*/ 634 w 4960"/>
                <a:gd name="T19" fmla="*/ 271 h 1728"/>
                <a:gd name="T20" fmla="*/ 0 w 4960"/>
                <a:gd name="T21" fmla="*/ 0 h 1728"/>
                <a:gd name="T22" fmla="*/ 0 w 4960"/>
                <a:gd name="T23" fmla="*/ 7 h 1728"/>
                <a:gd name="T24" fmla="*/ 632 w 4960"/>
                <a:gd name="T25" fmla="*/ 277 h 1728"/>
                <a:gd name="T26" fmla="*/ 907 w 4960"/>
                <a:gd name="T27" fmla="*/ 404 h 1728"/>
                <a:gd name="T28" fmla="*/ 1653 w 4960"/>
                <a:gd name="T29" fmla="*/ 680 h 1728"/>
                <a:gd name="T30" fmla="*/ 2733 w 4960"/>
                <a:gd name="T31" fmla="*/ 528 h 1728"/>
                <a:gd name="T32" fmla="*/ 2974 w 4960"/>
                <a:gd name="T33" fmla="*/ 462 h 1728"/>
                <a:gd name="T34" fmla="*/ 3076 w 4960"/>
                <a:gd name="T35" fmla="*/ 435 h 1728"/>
                <a:gd name="T36" fmla="*/ 4163 w 4960"/>
                <a:gd name="T37" fmla="*/ 375 h 1728"/>
                <a:gd name="T38" fmla="*/ 4761 w 4960"/>
                <a:gd name="T39" fmla="*/ 1224 h 1728"/>
                <a:gd name="T40" fmla="*/ 4781 w 4960"/>
                <a:gd name="T41" fmla="*/ 1277 h 1728"/>
                <a:gd name="T42" fmla="*/ 4836 w 4960"/>
                <a:gd name="T43" fmla="*/ 1424 h 1728"/>
                <a:gd name="T44" fmla="*/ 4954 w 4960"/>
                <a:gd name="T45" fmla="*/ 1728 h 1728"/>
                <a:gd name="T46" fmla="*/ 4960 w 4960"/>
                <a:gd name="T47" fmla="*/ 1727 h 1728"/>
                <a:gd name="T48" fmla="*/ 4841 w 4960"/>
                <a:gd name="T49" fmla="*/ 1422 h 1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960" h="1728">
                  <a:moveTo>
                    <a:pt x="4841" y="1422"/>
                  </a:moveTo>
                  <a:cubicBezTo>
                    <a:pt x="4823" y="1371"/>
                    <a:pt x="4805" y="1322"/>
                    <a:pt x="4786" y="1275"/>
                  </a:cubicBezTo>
                  <a:cubicBezTo>
                    <a:pt x="4780" y="1257"/>
                    <a:pt x="4773" y="1240"/>
                    <a:pt x="4766" y="1222"/>
                  </a:cubicBezTo>
                  <a:cubicBezTo>
                    <a:pt x="4646" y="906"/>
                    <a:pt x="4496" y="513"/>
                    <a:pt x="4165" y="370"/>
                  </a:cubicBezTo>
                  <a:cubicBezTo>
                    <a:pt x="3835" y="227"/>
                    <a:pt x="3413" y="339"/>
                    <a:pt x="3074" y="429"/>
                  </a:cubicBezTo>
                  <a:cubicBezTo>
                    <a:pt x="3040" y="438"/>
                    <a:pt x="3006" y="447"/>
                    <a:pt x="2972" y="456"/>
                  </a:cubicBezTo>
                  <a:cubicBezTo>
                    <a:pt x="2894" y="476"/>
                    <a:pt x="2815" y="499"/>
                    <a:pt x="2731" y="522"/>
                  </a:cubicBezTo>
                  <a:cubicBezTo>
                    <a:pt x="2376" y="623"/>
                    <a:pt x="2008" y="727"/>
                    <a:pt x="1654" y="675"/>
                  </a:cubicBezTo>
                  <a:cubicBezTo>
                    <a:pt x="1406" y="638"/>
                    <a:pt x="1154" y="517"/>
                    <a:pt x="910" y="399"/>
                  </a:cubicBezTo>
                  <a:cubicBezTo>
                    <a:pt x="814" y="353"/>
                    <a:pt x="724" y="309"/>
                    <a:pt x="634" y="27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632" y="277"/>
                    <a:pt x="632" y="277"/>
                    <a:pt x="632" y="277"/>
                  </a:cubicBezTo>
                  <a:cubicBezTo>
                    <a:pt x="721" y="315"/>
                    <a:pt x="812" y="358"/>
                    <a:pt x="907" y="404"/>
                  </a:cubicBezTo>
                  <a:cubicBezTo>
                    <a:pt x="1151" y="522"/>
                    <a:pt x="1404" y="644"/>
                    <a:pt x="1653" y="680"/>
                  </a:cubicBezTo>
                  <a:cubicBezTo>
                    <a:pt x="2008" y="733"/>
                    <a:pt x="2377" y="629"/>
                    <a:pt x="2733" y="528"/>
                  </a:cubicBezTo>
                  <a:cubicBezTo>
                    <a:pt x="2816" y="504"/>
                    <a:pt x="2895" y="482"/>
                    <a:pt x="2974" y="462"/>
                  </a:cubicBezTo>
                  <a:cubicBezTo>
                    <a:pt x="3007" y="453"/>
                    <a:pt x="3041" y="444"/>
                    <a:pt x="3076" y="435"/>
                  </a:cubicBezTo>
                  <a:cubicBezTo>
                    <a:pt x="3414" y="345"/>
                    <a:pt x="3834" y="234"/>
                    <a:pt x="4163" y="375"/>
                  </a:cubicBezTo>
                  <a:cubicBezTo>
                    <a:pt x="4491" y="517"/>
                    <a:pt x="4641" y="909"/>
                    <a:pt x="4761" y="1224"/>
                  </a:cubicBezTo>
                  <a:cubicBezTo>
                    <a:pt x="4768" y="1242"/>
                    <a:pt x="4774" y="1260"/>
                    <a:pt x="4781" y="1277"/>
                  </a:cubicBezTo>
                  <a:cubicBezTo>
                    <a:pt x="4799" y="1324"/>
                    <a:pt x="4817" y="1373"/>
                    <a:pt x="4836" y="1424"/>
                  </a:cubicBezTo>
                  <a:cubicBezTo>
                    <a:pt x="4872" y="1524"/>
                    <a:pt x="4910" y="1627"/>
                    <a:pt x="4954" y="1728"/>
                  </a:cubicBezTo>
                  <a:cubicBezTo>
                    <a:pt x="4960" y="1727"/>
                    <a:pt x="4960" y="1727"/>
                    <a:pt x="4960" y="1727"/>
                  </a:cubicBezTo>
                  <a:cubicBezTo>
                    <a:pt x="4916" y="1626"/>
                    <a:pt x="4878" y="1522"/>
                    <a:pt x="4841" y="1422"/>
                  </a:cubicBezTo>
                  <a:close/>
                </a:path>
              </a:pathLst>
            </a:custGeom>
            <a:solidFill>
              <a:srgbClr val="CDCE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5" name="Freeform 54"/>
            <p:cNvSpPr>
              <a:spLocks/>
            </p:cNvSpPr>
            <p:nvPr userDrawn="1"/>
          </p:nvSpPr>
          <p:spPr bwMode="auto">
            <a:xfrm>
              <a:off x="-792" y="2031540"/>
              <a:ext cx="7677200" cy="2817218"/>
            </a:xfrm>
            <a:custGeom>
              <a:avLst/>
              <a:gdLst>
                <a:gd name="T0" fmla="*/ 4863 w 5034"/>
                <a:gd name="T1" fmla="*/ 1450 h 1846"/>
                <a:gd name="T2" fmla="*/ 4804 w 5034"/>
                <a:gd name="T3" fmla="*/ 1303 h 1846"/>
                <a:gd name="T4" fmla="*/ 4784 w 5034"/>
                <a:gd name="T5" fmla="*/ 1255 h 1846"/>
                <a:gd name="T6" fmla="*/ 4157 w 5034"/>
                <a:gd name="T7" fmla="*/ 404 h 1846"/>
                <a:gd name="T8" fmla="*/ 3075 w 5034"/>
                <a:gd name="T9" fmla="*/ 461 h 1846"/>
                <a:gd name="T10" fmla="*/ 2988 w 5034"/>
                <a:gd name="T11" fmla="*/ 484 h 1846"/>
                <a:gd name="T12" fmla="*/ 2755 w 5034"/>
                <a:gd name="T13" fmla="*/ 549 h 1846"/>
                <a:gd name="T14" fmla="*/ 1699 w 5034"/>
                <a:gd name="T15" fmla="*/ 697 h 1846"/>
                <a:gd name="T16" fmla="*/ 960 w 5034"/>
                <a:gd name="T17" fmla="*/ 421 h 1846"/>
                <a:gd name="T18" fmla="*/ 682 w 5034"/>
                <a:gd name="T19" fmla="*/ 291 h 1846"/>
                <a:gd name="T20" fmla="*/ 0 w 5034"/>
                <a:gd name="T21" fmla="*/ 0 h 1846"/>
                <a:gd name="T22" fmla="*/ 0 w 5034"/>
                <a:gd name="T23" fmla="*/ 7 h 1846"/>
                <a:gd name="T24" fmla="*/ 679 w 5034"/>
                <a:gd name="T25" fmla="*/ 297 h 1846"/>
                <a:gd name="T26" fmla="*/ 958 w 5034"/>
                <a:gd name="T27" fmla="*/ 426 h 1846"/>
                <a:gd name="T28" fmla="*/ 1698 w 5034"/>
                <a:gd name="T29" fmla="*/ 703 h 1846"/>
                <a:gd name="T30" fmla="*/ 2756 w 5034"/>
                <a:gd name="T31" fmla="*/ 555 h 1846"/>
                <a:gd name="T32" fmla="*/ 2990 w 5034"/>
                <a:gd name="T33" fmla="*/ 490 h 1846"/>
                <a:gd name="T34" fmla="*/ 3076 w 5034"/>
                <a:gd name="T35" fmla="*/ 467 h 1846"/>
                <a:gd name="T36" fmla="*/ 4155 w 5034"/>
                <a:gd name="T37" fmla="*/ 410 h 1846"/>
                <a:gd name="T38" fmla="*/ 4778 w 5034"/>
                <a:gd name="T39" fmla="*/ 1257 h 1846"/>
                <a:gd name="T40" fmla="*/ 4798 w 5034"/>
                <a:gd name="T41" fmla="*/ 1305 h 1846"/>
                <a:gd name="T42" fmla="*/ 4857 w 5034"/>
                <a:gd name="T43" fmla="*/ 1452 h 1846"/>
                <a:gd name="T44" fmla="*/ 5028 w 5034"/>
                <a:gd name="T45" fmla="*/ 1846 h 1846"/>
                <a:gd name="T46" fmla="*/ 5034 w 5034"/>
                <a:gd name="T47" fmla="*/ 1845 h 1846"/>
                <a:gd name="T48" fmla="*/ 4863 w 5034"/>
                <a:gd name="T49" fmla="*/ 1450 h 18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034" h="1846">
                  <a:moveTo>
                    <a:pt x="4863" y="1450"/>
                  </a:moveTo>
                  <a:cubicBezTo>
                    <a:pt x="4842" y="1398"/>
                    <a:pt x="4823" y="1350"/>
                    <a:pt x="4804" y="1303"/>
                  </a:cubicBezTo>
                  <a:cubicBezTo>
                    <a:pt x="4797" y="1287"/>
                    <a:pt x="4791" y="1271"/>
                    <a:pt x="4784" y="1255"/>
                  </a:cubicBezTo>
                  <a:cubicBezTo>
                    <a:pt x="4655" y="940"/>
                    <a:pt x="4494" y="549"/>
                    <a:pt x="4157" y="404"/>
                  </a:cubicBezTo>
                  <a:cubicBezTo>
                    <a:pt x="3825" y="262"/>
                    <a:pt x="3409" y="372"/>
                    <a:pt x="3075" y="461"/>
                  </a:cubicBezTo>
                  <a:cubicBezTo>
                    <a:pt x="3045" y="469"/>
                    <a:pt x="3016" y="477"/>
                    <a:pt x="2988" y="484"/>
                  </a:cubicBezTo>
                  <a:cubicBezTo>
                    <a:pt x="2912" y="504"/>
                    <a:pt x="2836" y="526"/>
                    <a:pt x="2755" y="549"/>
                  </a:cubicBezTo>
                  <a:cubicBezTo>
                    <a:pt x="2406" y="648"/>
                    <a:pt x="2045" y="751"/>
                    <a:pt x="1699" y="697"/>
                  </a:cubicBezTo>
                  <a:cubicBezTo>
                    <a:pt x="1452" y="658"/>
                    <a:pt x="1202" y="537"/>
                    <a:pt x="960" y="421"/>
                  </a:cubicBezTo>
                  <a:cubicBezTo>
                    <a:pt x="864" y="374"/>
                    <a:pt x="772" y="330"/>
                    <a:pt x="682" y="29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679" y="297"/>
                    <a:pt x="679" y="297"/>
                    <a:pt x="679" y="297"/>
                  </a:cubicBezTo>
                  <a:cubicBezTo>
                    <a:pt x="770" y="336"/>
                    <a:pt x="861" y="380"/>
                    <a:pt x="958" y="426"/>
                  </a:cubicBezTo>
                  <a:cubicBezTo>
                    <a:pt x="1200" y="543"/>
                    <a:pt x="1450" y="664"/>
                    <a:pt x="1698" y="703"/>
                  </a:cubicBezTo>
                  <a:cubicBezTo>
                    <a:pt x="2045" y="758"/>
                    <a:pt x="2407" y="654"/>
                    <a:pt x="2756" y="555"/>
                  </a:cubicBezTo>
                  <a:cubicBezTo>
                    <a:pt x="2837" y="532"/>
                    <a:pt x="2914" y="510"/>
                    <a:pt x="2990" y="490"/>
                  </a:cubicBezTo>
                  <a:cubicBezTo>
                    <a:pt x="3018" y="483"/>
                    <a:pt x="3047" y="475"/>
                    <a:pt x="3076" y="467"/>
                  </a:cubicBezTo>
                  <a:cubicBezTo>
                    <a:pt x="3409" y="378"/>
                    <a:pt x="3824" y="268"/>
                    <a:pt x="4155" y="410"/>
                  </a:cubicBezTo>
                  <a:cubicBezTo>
                    <a:pt x="4489" y="554"/>
                    <a:pt x="4649" y="944"/>
                    <a:pt x="4778" y="1257"/>
                  </a:cubicBezTo>
                  <a:cubicBezTo>
                    <a:pt x="4785" y="1273"/>
                    <a:pt x="4792" y="1289"/>
                    <a:pt x="4798" y="1305"/>
                  </a:cubicBezTo>
                  <a:cubicBezTo>
                    <a:pt x="4818" y="1352"/>
                    <a:pt x="4837" y="1401"/>
                    <a:pt x="4857" y="1452"/>
                  </a:cubicBezTo>
                  <a:cubicBezTo>
                    <a:pt x="4908" y="1581"/>
                    <a:pt x="4962" y="1718"/>
                    <a:pt x="5028" y="1846"/>
                  </a:cubicBezTo>
                  <a:cubicBezTo>
                    <a:pt x="5034" y="1845"/>
                    <a:pt x="5034" y="1845"/>
                    <a:pt x="5034" y="1845"/>
                  </a:cubicBezTo>
                  <a:cubicBezTo>
                    <a:pt x="4968" y="1716"/>
                    <a:pt x="4914" y="1579"/>
                    <a:pt x="4863" y="1450"/>
                  </a:cubicBezTo>
                  <a:close/>
                </a:path>
              </a:pathLst>
            </a:custGeom>
            <a:solidFill>
              <a:srgbClr val="CCCE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6" name="Freeform 55"/>
            <p:cNvSpPr>
              <a:spLocks/>
            </p:cNvSpPr>
            <p:nvPr userDrawn="1"/>
          </p:nvSpPr>
          <p:spPr bwMode="auto">
            <a:xfrm>
              <a:off x="-792" y="1831112"/>
              <a:ext cx="7800664" cy="2995199"/>
            </a:xfrm>
            <a:custGeom>
              <a:avLst/>
              <a:gdLst>
                <a:gd name="T0" fmla="*/ 4862 w 5116"/>
                <a:gd name="T1" fmla="*/ 1408 h 1963"/>
                <a:gd name="T2" fmla="*/ 4150 w 5116"/>
                <a:gd name="T3" fmla="*/ 438 h 1963"/>
                <a:gd name="T4" fmla="*/ 3074 w 5116"/>
                <a:gd name="T5" fmla="*/ 493 h 1963"/>
                <a:gd name="T6" fmla="*/ 3004 w 5116"/>
                <a:gd name="T7" fmla="*/ 512 h 1963"/>
                <a:gd name="T8" fmla="*/ 2779 w 5116"/>
                <a:gd name="T9" fmla="*/ 575 h 1963"/>
                <a:gd name="T10" fmla="*/ 1743 w 5116"/>
                <a:gd name="T11" fmla="*/ 719 h 1963"/>
                <a:gd name="T12" fmla="*/ 1011 w 5116"/>
                <a:gd name="T13" fmla="*/ 442 h 1963"/>
                <a:gd name="T14" fmla="*/ 729 w 5116"/>
                <a:gd name="T15" fmla="*/ 312 h 1963"/>
                <a:gd name="T16" fmla="*/ 0 w 5116"/>
                <a:gd name="T17" fmla="*/ 0 h 1963"/>
                <a:gd name="T18" fmla="*/ 0 w 5116"/>
                <a:gd name="T19" fmla="*/ 7 h 1963"/>
                <a:gd name="T20" fmla="*/ 727 w 5116"/>
                <a:gd name="T21" fmla="*/ 317 h 1963"/>
                <a:gd name="T22" fmla="*/ 1008 w 5116"/>
                <a:gd name="T23" fmla="*/ 448 h 1963"/>
                <a:gd name="T24" fmla="*/ 1742 w 5116"/>
                <a:gd name="T25" fmla="*/ 725 h 1963"/>
                <a:gd name="T26" fmla="*/ 2780 w 5116"/>
                <a:gd name="T27" fmla="*/ 581 h 1963"/>
                <a:gd name="T28" fmla="*/ 3006 w 5116"/>
                <a:gd name="T29" fmla="*/ 518 h 1963"/>
                <a:gd name="T30" fmla="*/ 3076 w 5116"/>
                <a:gd name="T31" fmla="*/ 499 h 1963"/>
                <a:gd name="T32" fmla="*/ 4147 w 5116"/>
                <a:gd name="T33" fmla="*/ 444 h 1963"/>
                <a:gd name="T34" fmla="*/ 4856 w 5116"/>
                <a:gd name="T35" fmla="*/ 1411 h 1963"/>
                <a:gd name="T36" fmla="*/ 5109 w 5116"/>
                <a:gd name="T37" fmla="*/ 1963 h 1963"/>
                <a:gd name="T38" fmla="*/ 5116 w 5116"/>
                <a:gd name="T39" fmla="*/ 1962 h 1963"/>
                <a:gd name="T40" fmla="*/ 4862 w 5116"/>
                <a:gd name="T41" fmla="*/ 1408 h 1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16" h="1963">
                  <a:moveTo>
                    <a:pt x="4862" y="1408"/>
                  </a:moveTo>
                  <a:cubicBezTo>
                    <a:pt x="4708" y="1015"/>
                    <a:pt x="4548" y="609"/>
                    <a:pt x="4150" y="438"/>
                  </a:cubicBezTo>
                  <a:cubicBezTo>
                    <a:pt x="3815" y="295"/>
                    <a:pt x="3422" y="400"/>
                    <a:pt x="3074" y="493"/>
                  </a:cubicBezTo>
                  <a:cubicBezTo>
                    <a:pt x="3051" y="499"/>
                    <a:pt x="3027" y="506"/>
                    <a:pt x="3004" y="512"/>
                  </a:cubicBezTo>
                  <a:cubicBezTo>
                    <a:pt x="2931" y="531"/>
                    <a:pt x="2857" y="552"/>
                    <a:pt x="2779" y="575"/>
                  </a:cubicBezTo>
                  <a:cubicBezTo>
                    <a:pt x="2436" y="674"/>
                    <a:pt x="2082" y="776"/>
                    <a:pt x="1743" y="719"/>
                  </a:cubicBezTo>
                  <a:cubicBezTo>
                    <a:pt x="1499" y="677"/>
                    <a:pt x="1251" y="558"/>
                    <a:pt x="1011" y="442"/>
                  </a:cubicBezTo>
                  <a:cubicBezTo>
                    <a:pt x="913" y="395"/>
                    <a:pt x="821" y="351"/>
                    <a:pt x="729" y="3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727" y="317"/>
                    <a:pt x="727" y="317"/>
                    <a:pt x="727" y="317"/>
                  </a:cubicBezTo>
                  <a:cubicBezTo>
                    <a:pt x="818" y="356"/>
                    <a:pt x="911" y="401"/>
                    <a:pt x="1008" y="448"/>
                  </a:cubicBezTo>
                  <a:cubicBezTo>
                    <a:pt x="1248" y="564"/>
                    <a:pt x="1497" y="683"/>
                    <a:pt x="1742" y="725"/>
                  </a:cubicBezTo>
                  <a:cubicBezTo>
                    <a:pt x="2083" y="783"/>
                    <a:pt x="2437" y="680"/>
                    <a:pt x="2780" y="581"/>
                  </a:cubicBezTo>
                  <a:cubicBezTo>
                    <a:pt x="2858" y="558"/>
                    <a:pt x="2932" y="537"/>
                    <a:pt x="3006" y="518"/>
                  </a:cubicBezTo>
                  <a:cubicBezTo>
                    <a:pt x="3029" y="512"/>
                    <a:pt x="3052" y="505"/>
                    <a:pt x="3076" y="499"/>
                  </a:cubicBezTo>
                  <a:cubicBezTo>
                    <a:pt x="3422" y="406"/>
                    <a:pt x="3815" y="301"/>
                    <a:pt x="4147" y="444"/>
                  </a:cubicBezTo>
                  <a:cubicBezTo>
                    <a:pt x="4544" y="614"/>
                    <a:pt x="4702" y="1019"/>
                    <a:pt x="4856" y="1411"/>
                  </a:cubicBezTo>
                  <a:cubicBezTo>
                    <a:pt x="4930" y="1600"/>
                    <a:pt x="5006" y="1794"/>
                    <a:pt x="5109" y="1963"/>
                  </a:cubicBezTo>
                  <a:cubicBezTo>
                    <a:pt x="5116" y="1962"/>
                    <a:pt x="5116" y="1962"/>
                    <a:pt x="5116" y="1962"/>
                  </a:cubicBezTo>
                  <a:cubicBezTo>
                    <a:pt x="5012" y="1793"/>
                    <a:pt x="4936" y="1599"/>
                    <a:pt x="4862" y="1408"/>
                  </a:cubicBezTo>
                  <a:close/>
                </a:path>
              </a:pathLst>
            </a:custGeom>
            <a:solidFill>
              <a:srgbClr val="CCCE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7" name="Freeform 56"/>
            <p:cNvSpPr>
              <a:spLocks/>
            </p:cNvSpPr>
            <p:nvPr userDrawn="1"/>
          </p:nvSpPr>
          <p:spPr bwMode="auto">
            <a:xfrm>
              <a:off x="-792" y="1630683"/>
              <a:ext cx="7949782" cy="3169972"/>
            </a:xfrm>
            <a:custGeom>
              <a:avLst/>
              <a:gdLst>
                <a:gd name="T0" fmla="*/ 4880 w 5213"/>
                <a:gd name="T1" fmla="*/ 1433 h 2077"/>
                <a:gd name="T2" fmla="*/ 4145 w 5213"/>
                <a:gd name="T3" fmla="*/ 469 h 2077"/>
                <a:gd name="T4" fmla="*/ 3076 w 5213"/>
                <a:gd name="T5" fmla="*/ 523 h 2077"/>
                <a:gd name="T6" fmla="*/ 3022 w 5213"/>
                <a:gd name="T7" fmla="*/ 538 h 2077"/>
                <a:gd name="T8" fmla="*/ 2804 w 5213"/>
                <a:gd name="T9" fmla="*/ 600 h 2077"/>
                <a:gd name="T10" fmla="*/ 1788 w 5213"/>
                <a:gd name="T11" fmla="*/ 740 h 2077"/>
                <a:gd name="T12" fmla="*/ 1062 w 5213"/>
                <a:gd name="T13" fmla="*/ 464 h 2077"/>
                <a:gd name="T14" fmla="*/ 777 w 5213"/>
                <a:gd name="T15" fmla="*/ 332 h 2077"/>
                <a:gd name="T16" fmla="*/ 0 w 5213"/>
                <a:gd name="T17" fmla="*/ 0 h 2077"/>
                <a:gd name="T18" fmla="*/ 0 w 5213"/>
                <a:gd name="T19" fmla="*/ 7 h 2077"/>
                <a:gd name="T20" fmla="*/ 774 w 5213"/>
                <a:gd name="T21" fmla="*/ 338 h 2077"/>
                <a:gd name="T22" fmla="*/ 1059 w 5213"/>
                <a:gd name="T23" fmla="*/ 470 h 2077"/>
                <a:gd name="T24" fmla="*/ 1787 w 5213"/>
                <a:gd name="T25" fmla="*/ 747 h 2077"/>
                <a:gd name="T26" fmla="*/ 2805 w 5213"/>
                <a:gd name="T27" fmla="*/ 606 h 2077"/>
                <a:gd name="T28" fmla="*/ 3024 w 5213"/>
                <a:gd name="T29" fmla="*/ 544 h 2077"/>
                <a:gd name="T30" fmla="*/ 3078 w 5213"/>
                <a:gd name="T31" fmla="*/ 529 h 2077"/>
                <a:gd name="T32" fmla="*/ 4143 w 5213"/>
                <a:gd name="T33" fmla="*/ 475 h 2077"/>
                <a:gd name="T34" fmla="*/ 4874 w 5213"/>
                <a:gd name="T35" fmla="*/ 1436 h 2077"/>
                <a:gd name="T36" fmla="*/ 5206 w 5213"/>
                <a:gd name="T37" fmla="*/ 2077 h 2077"/>
                <a:gd name="T38" fmla="*/ 5213 w 5213"/>
                <a:gd name="T39" fmla="*/ 2076 h 2077"/>
                <a:gd name="T40" fmla="*/ 4880 w 5213"/>
                <a:gd name="T41" fmla="*/ 1433 h 20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213" h="2077">
                  <a:moveTo>
                    <a:pt x="4880" y="1433"/>
                  </a:moveTo>
                  <a:cubicBezTo>
                    <a:pt x="4716" y="1044"/>
                    <a:pt x="4547" y="641"/>
                    <a:pt x="4145" y="469"/>
                  </a:cubicBezTo>
                  <a:cubicBezTo>
                    <a:pt x="3809" y="326"/>
                    <a:pt x="3419" y="431"/>
                    <a:pt x="3076" y="523"/>
                  </a:cubicBezTo>
                  <a:cubicBezTo>
                    <a:pt x="3058" y="528"/>
                    <a:pt x="3040" y="533"/>
                    <a:pt x="3022" y="538"/>
                  </a:cubicBezTo>
                  <a:cubicBezTo>
                    <a:pt x="2951" y="557"/>
                    <a:pt x="2879" y="578"/>
                    <a:pt x="2804" y="600"/>
                  </a:cubicBezTo>
                  <a:cubicBezTo>
                    <a:pt x="2468" y="698"/>
                    <a:pt x="2120" y="800"/>
                    <a:pt x="1788" y="740"/>
                  </a:cubicBezTo>
                  <a:cubicBezTo>
                    <a:pt x="1545" y="697"/>
                    <a:pt x="1299" y="578"/>
                    <a:pt x="1062" y="464"/>
                  </a:cubicBezTo>
                  <a:cubicBezTo>
                    <a:pt x="963" y="416"/>
                    <a:pt x="869" y="371"/>
                    <a:pt x="777" y="3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774" y="338"/>
                    <a:pt x="774" y="338"/>
                    <a:pt x="774" y="338"/>
                  </a:cubicBezTo>
                  <a:cubicBezTo>
                    <a:pt x="867" y="377"/>
                    <a:pt x="960" y="422"/>
                    <a:pt x="1059" y="470"/>
                  </a:cubicBezTo>
                  <a:cubicBezTo>
                    <a:pt x="1297" y="584"/>
                    <a:pt x="1543" y="703"/>
                    <a:pt x="1787" y="747"/>
                  </a:cubicBezTo>
                  <a:cubicBezTo>
                    <a:pt x="2120" y="807"/>
                    <a:pt x="2469" y="705"/>
                    <a:pt x="2805" y="606"/>
                  </a:cubicBezTo>
                  <a:cubicBezTo>
                    <a:pt x="2881" y="584"/>
                    <a:pt x="2952" y="563"/>
                    <a:pt x="3024" y="544"/>
                  </a:cubicBezTo>
                  <a:cubicBezTo>
                    <a:pt x="3041" y="539"/>
                    <a:pt x="3060" y="534"/>
                    <a:pt x="3078" y="529"/>
                  </a:cubicBezTo>
                  <a:cubicBezTo>
                    <a:pt x="3420" y="437"/>
                    <a:pt x="3808" y="332"/>
                    <a:pt x="4143" y="475"/>
                  </a:cubicBezTo>
                  <a:cubicBezTo>
                    <a:pt x="4542" y="646"/>
                    <a:pt x="4711" y="1047"/>
                    <a:pt x="4874" y="1436"/>
                  </a:cubicBezTo>
                  <a:cubicBezTo>
                    <a:pt x="4968" y="1660"/>
                    <a:pt x="5065" y="1889"/>
                    <a:pt x="5206" y="2077"/>
                  </a:cubicBezTo>
                  <a:cubicBezTo>
                    <a:pt x="5213" y="2076"/>
                    <a:pt x="5213" y="2076"/>
                    <a:pt x="5213" y="2076"/>
                  </a:cubicBezTo>
                  <a:cubicBezTo>
                    <a:pt x="5071" y="1888"/>
                    <a:pt x="4975" y="1658"/>
                    <a:pt x="4880" y="1433"/>
                  </a:cubicBezTo>
                  <a:close/>
                </a:path>
              </a:pathLst>
            </a:custGeom>
            <a:solidFill>
              <a:srgbClr val="CBCD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8" name="Freeform 57"/>
            <p:cNvSpPr>
              <a:spLocks/>
            </p:cNvSpPr>
            <p:nvPr userDrawn="1"/>
          </p:nvSpPr>
          <p:spPr bwMode="auto">
            <a:xfrm>
              <a:off x="-792" y="1431859"/>
              <a:ext cx="8122952" cy="3338331"/>
            </a:xfrm>
            <a:custGeom>
              <a:avLst/>
              <a:gdLst>
                <a:gd name="T0" fmla="*/ 4902 w 5327"/>
                <a:gd name="T1" fmla="*/ 1456 h 2188"/>
                <a:gd name="T2" fmla="*/ 4146 w 5327"/>
                <a:gd name="T3" fmla="*/ 496 h 2188"/>
                <a:gd name="T4" fmla="*/ 2889 w 5327"/>
                <a:gd name="T5" fmla="*/ 597 h 2188"/>
                <a:gd name="T6" fmla="*/ 1833 w 5327"/>
                <a:gd name="T7" fmla="*/ 762 h 2188"/>
                <a:gd name="T8" fmla="*/ 1112 w 5327"/>
                <a:gd name="T9" fmla="*/ 485 h 2188"/>
                <a:gd name="T10" fmla="*/ 824 w 5327"/>
                <a:gd name="T11" fmla="*/ 352 h 2188"/>
                <a:gd name="T12" fmla="*/ 0 w 5327"/>
                <a:gd name="T13" fmla="*/ 0 h 2188"/>
                <a:gd name="T14" fmla="*/ 0 w 5327"/>
                <a:gd name="T15" fmla="*/ 7 h 2188"/>
                <a:gd name="T16" fmla="*/ 821 w 5327"/>
                <a:gd name="T17" fmla="*/ 358 h 2188"/>
                <a:gd name="T18" fmla="*/ 1109 w 5327"/>
                <a:gd name="T19" fmla="*/ 491 h 2188"/>
                <a:gd name="T20" fmla="*/ 1832 w 5327"/>
                <a:gd name="T21" fmla="*/ 768 h 2188"/>
                <a:gd name="T22" fmla="*/ 2891 w 5327"/>
                <a:gd name="T23" fmla="*/ 603 h 2188"/>
                <a:gd name="T24" fmla="*/ 4143 w 5327"/>
                <a:gd name="T25" fmla="*/ 502 h 2188"/>
                <a:gd name="T26" fmla="*/ 4896 w 5327"/>
                <a:gd name="T27" fmla="*/ 1459 h 2188"/>
                <a:gd name="T28" fmla="*/ 5319 w 5327"/>
                <a:gd name="T29" fmla="*/ 2188 h 2188"/>
                <a:gd name="T30" fmla="*/ 5327 w 5327"/>
                <a:gd name="T31" fmla="*/ 2187 h 2188"/>
                <a:gd name="T32" fmla="*/ 4902 w 5327"/>
                <a:gd name="T33" fmla="*/ 1456 h 2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27" h="2188">
                  <a:moveTo>
                    <a:pt x="4902" y="1456"/>
                  </a:moveTo>
                  <a:cubicBezTo>
                    <a:pt x="4729" y="1069"/>
                    <a:pt x="4550" y="668"/>
                    <a:pt x="4146" y="496"/>
                  </a:cubicBezTo>
                  <a:cubicBezTo>
                    <a:pt x="3736" y="321"/>
                    <a:pt x="3306" y="461"/>
                    <a:pt x="2889" y="597"/>
                  </a:cubicBezTo>
                  <a:cubicBezTo>
                    <a:pt x="2541" y="710"/>
                    <a:pt x="2181" y="827"/>
                    <a:pt x="1833" y="762"/>
                  </a:cubicBezTo>
                  <a:cubicBezTo>
                    <a:pt x="1592" y="717"/>
                    <a:pt x="1348" y="599"/>
                    <a:pt x="1112" y="485"/>
                  </a:cubicBezTo>
                  <a:cubicBezTo>
                    <a:pt x="1012" y="437"/>
                    <a:pt x="918" y="392"/>
                    <a:pt x="824" y="35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821" y="358"/>
                    <a:pt x="821" y="358"/>
                    <a:pt x="821" y="358"/>
                  </a:cubicBezTo>
                  <a:cubicBezTo>
                    <a:pt x="915" y="398"/>
                    <a:pt x="1009" y="443"/>
                    <a:pt x="1109" y="491"/>
                  </a:cubicBezTo>
                  <a:cubicBezTo>
                    <a:pt x="1345" y="605"/>
                    <a:pt x="1590" y="723"/>
                    <a:pt x="1832" y="768"/>
                  </a:cubicBezTo>
                  <a:cubicBezTo>
                    <a:pt x="2182" y="834"/>
                    <a:pt x="2542" y="717"/>
                    <a:pt x="2891" y="603"/>
                  </a:cubicBezTo>
                  <a:cubicBezTo>
                    <a:pt x="3306" y="468"/>
                    <a:pt x="3736" y="328"/>
                    <a:pt x="4143" y="502"/>
                  </a:cubicBezTo>
                  <a:cubicBezTo>
                    <a:pt x="4545" y="674"/>
                    <a:pt x="4723" y="1073"/>
                    <a:pt x="4896" y="1459"/>
                  </a:cubicBezTo>
                  <a:cubicBezTo>
                    <a:pt x="5012" y="1720"/>
                    <a:pt x="5131" y="1987"/>
                    <a:pt x="5319" y="2188"/>
                  </a:cubicBezTo>
                  <a:cubicBezTo>
                    <a:pt x="5327" y="2187"/>
                    <a:pt x="5327" y="2187"/>
                    <a:pt x="5327" y="2187"/>
                  </a:cubicBezTo>
                  <a:cubicBezTo>
                    <a:pt x="5138" y="1986"/>
                    <a:pt x="5018" y="1718"/>
                    <a:pt x="4902" y="1456"/>
                  </a:cubicBezTo>
                  <a:close/>
                </a:path>
              </a:pathLst>
            </a:custGeom>
            <a:solidFill>
              <a:srgbClr val="CBCD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9" name="Freeform 58"/>
            <p:cNvSpPr>
              <a:spLocks/>
            </p:cNvSpPr>
            <p:nvPr userDrawn="1"/>
          </p:nvSpPr>
          <p:spPr bwMode="auto">
            <a:xfrm>
              <a:off x="-792" y="1231431"/>
              <a:ext cx="8329794" cy="3501881"/>
            </a:xfrm>
            <a:custGeom>
              <a:avLst/>
              <a:gdLst>
                <a:gd name="T0" fmla="*/ 4928 w 5463"/>
                <a:gd name="T1" fmla="*/ 1476 h 2295"/>
                <a:gd name="T2" fmla="*/ 4153 w 5463"/>
                <a:gd name="T3" fmla="*/ 516 h 2295"/>
                <a:gd name="T4" fmla="*/ 2920 w 5463"/>
                <a:gd name="T5" fmla="*/ 618 h 2295"/>
                <a:gd name="T6" fmla="*/ 1879 w 5463"/>
                <a:gd name="T7" fmla="*/ 783 h 2295"/>
                <a:gd name="T8" fmla="*/ 1161 w 5463"/>
                <a:gd name="T9" fmla="*/ 506 h 2295"/>
                <a:gd name="T10" fmla="*/ 871 w 5463"/>
                <a:gd name="T11" fmla="*/ 372 h 2295"/>
                <a:gd name="T12" fmla="*/ 0 w 5463"/>
                <a:gd name="T13" fmla="*/ 0 h 2295"/>
                <a:gd name="T14" fmla="*/ 0 w 5463"/>
                <a:gd name="T15" fmla="*/ 7 h 2295"/>
                <a:gd name="T16" fmla="*/ 869 w 5463"/>
                <a:gd name="T17" fmla="*/ 378 h 2295"/>
                <a:gd name="T18" fmla="*/ 1158 w 5463"/>
                <a:gd name="T19" fmla="*/ 512 h 2295"/>
                <a:gd name="T20" fmla="*/ 1878 w 5463"/>
                <a:gd name="T21" fmla="*/ 789 h 2295"/>
                <a:gd name="T22" fmla="*/ 2922 w 5463"/>
                <a:gd name="T23" fmla="*/ 625 h 2295"/>
                <a:gd name="T24" fmla="*/ 4150 w 5463"/>
                <a:gd name="T25" fmla="*/ 523 h 2295"/>
                <a:gd name="T26" fmla="*/ 4921 w 5463"/>
                <a:gd name="T27" fmla="*/ 1479 h 2295"/>
                <a:gd name="T28" fmla="*/ 5454 w 5463"/>
                <a:gd name="T29" fmla="*/ 2295 h 2295"/>
                <a:gd name="T30" fmla="*/ 5463 w 5463"/>
                <a:gd name="T31" fmla="*/ 2294 h 2295"/>
                <a:gd name="T32" fmla="*/ 4928 w 5463"/>
                <a:gd name="T33" fmla="*/ 1476 h 2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463" h="2295">
                  <a:moveTo>
                    <a:pt x="4928" y="1476"/>
                  </a:moveTo>
                  <a:cubicBezTo>
                    <a:pt x="4747" y="1090"/>
                    <a:pt x="4561" y="690"/>
                    <a:pt x="4153" y="516"/>
                  </a:cubicBezTo>
                  <a:cubicBezTo>
                    <a:pt x="3748" y="344"/>
                    <a:pt x="3327" y="483"/>
                    <a:pt x="2920" y="618"/>
                  </a:cubicBezTo>
                  <a:cubicBezTo>
                    <a:pt x="2578" y="732"/>
                    <a:pt x="2224" y="849"/>
                    <a:pt x="1879" y="783"/>
                  </a:cubicBezTo>
                  <a:cubicBezTo>
                    <a:pt x="1639" y="737"/>
                    <a:pt x="1396" y="619"/>
                    <a:pt x="1161" y="506"/>
                  </a:cubicBezTo>
                  <a:cubicBezTo>
                    <a:pt x="1060" y="458"/>
                    <a:pt x="966" y="412"/>
                    <a:pt x="871" y="37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869" y="378"/>
                    <a:pt x="869" y="378"/>
                    <a:pt x="869" y="378"/>
                  </a:cubicBezTo>
                  <a:cubicBezTo>
                    <a:pt x="963" y="418"/>
                    <a:pt x="1057" y="464"/>
                    <a:pt x="1158" y="512"/>
                  </a:cubicBezTo>
                  <a:cubicBezTo>
                    <a:pt x="1393" y="626"/>
                    <a:pt x="1637" y="743"/>
                    <a:pt x="1878" y="789"/>
                  </a:cubicBezTo>
                  <a:cubicBezTo>
                    <a:pt x="2224" y="856"/>
                    <a:pt x="2579" y="738"/>
                    <a:pt x="2922" y="625"/>
                  </a:cubicBezTo>
                  <a:cubicBezTo>
                    <a:pt x="3328" y="490"/>
                    <a:pt x="3748" y="351"/>
                    <a:pt x="4150" y="523"/>
                  </a:cubicBezTo>
                  <a:cubicBezTo>
                    <a:pt x="4555" y="695"/>
                    <a:pt x="4741" y="1094"/>
                    <a:pt x="4921" y="1479"/>
                  </a:cubicBezTo>
                  <a:cubicBezTo>
                    <a:pt x="5062" y="1780"/>
                    <a:pt x="5206" y="2089"/>
                    <a:pt x="5454" y="2295"/>
                  </a:cubicBezTo>
                  <a:cubicBezTo>
                    <a:pt x="5463" y="2294"/>
                    <a:pt x="5463" y="2294"/>
                    <a:pt x="5463" y="2294"/>
                  </a:cubicBezTo>
                  <a:cubicBezTo>
                    <a:pt x="5213" y="2088"/>
                    <a:pt x="5068" y="1778"/>
                    <a:pt x="4928" y="1476"/>
                  </a:cubicBezTo>
                  <a:close/>
                </a:path>
              </a:pathLst>
            </a:custGeom>
            <a:solidFill>
              <a:srgbClr val="CBCC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0" name="Freeform 59"/>
            <p:cNvSpPr>
              <a:spLocks/>
            </p:cNvSpPr>
            <p:nvPr userDrawn="1"/>
          </p:nvSpPr>
          <p:spPr bwMode="auto">
            <a:xfrm>
              <a:off x="-792" y="1029400"/>
              <a:ext cx="8578325" cy="3662224"/>
            </a:xfrm>
            <a:custGeom>
              <a:avLst/>
              <a:gdLst>
                <a:gd name="T0" fmla="*/ 5621 w 5625"/>
                <a:gd name="T1" fmla="*/ 2395 h 2399"/>
                <a:gd name="T2" fmla="*/ 4960 w 5625"/>
                <a:gd name="T3" fmla="*/ 1494 h 2399"/>
                <a:gd name="T4" fmla="*/ 4169 w 5625"/>
                <a:gd name="T5" fmla="*/ 529 h 2399"/>
                <a:gd name="T6" fmla="*/ 2953 w 5625"/>
                <a:gd name="T7" fmla="*/ 636 h 2399"/>
                <a:gd name="T8" fmla="*/ 1925 w 5625"/>
                <a:gd name="T9" fmla="*/ 804 h 2399"/>
                <a:gd name="T10" fmla="*/ 1208 w 5625"/>
                <a:gd name="T11" fmla="*/ 527 h 2399"/>
                <a:gd name="T12" fmla="*/ 919 w 5625"/>
                <a:gd name="T13" fmla="*/ 393 h 2399"/>
                <a:gd name="T14" fmla="*/ 0 w 5625"/>
                <a:gd name="T15" fmla="*/ 0 h 2399"/>
                <a:gd name="T16" fmla="*/ 0 w 5625"/>
                <a:gd name="T17" fmla="*/ 8 h 2399"/>
                <a:gd name="T18" fmla="*/ 916 w 5625"/>
                <a:gd name="T19" fmla="*/ 399 h 2399"/>
                <a:gd name="T20" fmla="*/ 1205 w 5625"/>
                <a:gd name="T21" fmla="*/ 534 h 2399"/>
                <a:gd name="T22" fmla="*/ 1924 w 5625"/>
                <a:gd name="T23" fmla="*/ 811 h 2399"/>
                <a:gd name="T24" fmla="*/ 2956 w 5625"/>
                <a:gd name="T25" fmla="*/ 643 h 2399"/>
                <a:gd name="T26" fmla="*/ 4166 w 5625"/>
                <a:gd name="T27" fmla="*/ 536 h 2399"/>
                <a:gd name="T28" fmla="*/ 4953 w 5625"/>
                <a:gd name="T29" fmla="*/ 1497 h 2399"/>
                <a:gd name="T30" fmla="*/ 5614 w 5625"/>
                <a:gd name="T31" fmla="*/ 2399 h 2399"/>
                <a:gd name="T32" fmla="*/ 5625 w 5625"/>
                <a:gd name="T33" fmla="*/ 2397 h 2399"/>
                <a:gd name="T34" fmla="*/ 5621 w 5625"/>
                <a:gd name="T35" fmla="*/ 2395 h 2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625" h="2399">
                  <a:moveTo>
                    <a:pt x="5621" y="2395"/>
                  </a:moveTo>
                  <a:cubicBezTo>
                    <a:pt x="5297" y="2195"/>
                    <a:pt x="5125" y="1839"/>
                    <a:pt x="4960" y="1494"/>
                  </a:cubicBezTo>
                  <a:cubicBezTo>
                    <a:pt x="4773" y="1106"/>
                    <a:pt x="4580" y="704"/>
                    <a:pt x="4169" y="529"/>
                  </a:cubicBezTo>
                  <a:cubicBezTo>
                    <a:pt x="3768" y="359"/>
                    <a:pt x="3354" y="500"/>
                    <a:pt x="2953" y="636"/>
                  </a:cubicBezTo>
                  <a:cubicBezTo>
                    <a:pt x="2616" y="751"/>
                    <a:pt x="2267" y="869"/>
                    <a:pt x="1925" y="804"/>
                  </a:cubicBezTo>
                  <a:cubicBezTo>
                    <a:pt x="1686" y="758"/>
                    <a:pt x="1443" y="641"/>
                    <a:pt x="1208" y="527"/>
                  </a:cubicBezTo>
                  <a:cubicBezTo>
                    <a:pt x="1108" y="479"/>
                    <a:pt x="1013" y="433"/>
                    <a:pt x="919" y="39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16" y="399"/>
                    <a:pt x="916" y="399"/>
                    <a:pt x="916" y="399"/>
                  </a:cubicBezTo>
                  <a:cubicBezTo>
                    <a:pt x="1010" y="440"/>
                    <a:pt x="1105" y="485"/>
                    <a:pt x="1205" y="534"/>
                  </a:cubicBezTo>
                  <a:cubicBezTo>
                    <a:pt x="1440" y="647"/>
                    <a:pt x="1684" y="764"/>
                    <a:pt x="1924" y="811"/>
                  </a:cubicBezTo>
                  <a:cubicBezTo>
                    <a:pt x="2268" y="877"/>
                    <a:pt x="2617" y="758"/>
                    <a:pt x="2956" y="643"/>
                  </a:cubicBezTo>
                  <a:cubicBezTo>
                    <a:pt x="3355" y="507"/>
                    <a:pt x="3768" y="366"/>
                    <a:pt x="4166" y="536"/>
                  </a:cubicBezTo>
                  <a:cubicBezTo>
                    <a:pt x="4575" y="709"/>
                    <a:pt x="4767" y="1110"/>
                    <a:pt x="4953" y="1497"/>
                  </a:cubicBezTo>
                  <a:cubicBezTo>
                    <a:pt x="5119" y="1842"/>
                    <a:pt x="5291" y="2198"/>
                    <a:pt x="5614" y="2399"/>
                  </a:cubicBezTo>
                  <a:cubicBezTo>
                    <a:pt x="5625" y="2397"/>
                    <a:pt x="5625" y="2397"/>
                    <a:pt x="5625" y="2397"/>
                  </a:cubicBezTo>
                  <a:cubicBezTo>
                    <a:pt x="5623" y="2396"/>
                    <a:pt x="5622" y="2396"/>
                    <a:pt x="5621" y="2395"/>
                  </a:cubicBezTo>
                  <a:close/>
                </a:path>
              </a:pathLst>
            </a:custGeom>
            <a:solidFill>
              <a:srgbClr val="CACC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1" name="Freeform 60"/>
            <p:cNvSpPr>
              <a:spLocks/>
            </p:cNvSpPr>
            <p:nvPr userDrawn="1"/>
          </p:nvSpPr>
          <p:spPr bwMode="auto">
            <a:xfrm>
              <a:off x="-792" y="830575"/>
              <a:ext cx="8862131" cy="3809739"/>
            </a:xfrm>
            <a:custGeom>
              <a:avLst/>
              <a:gdLst>
                <a:gd name="T0" fmla="*/ 5668 w 5812"/>
                <a:gd name="T1" fmla="*/ 2414 h 2497"/>
                <a:gd name="T2" fmla="*/ 4999 w 5812"/>
                <a:gd name="T3" fmla="*/ 1506 h 2497"/>
                <a:gd name="T4" fmla="*/ 4196 w 5812"/>
                <a:gd name="T5" fmla="*/ 531 h 2497"/>
                <a:gd name="T6" fmla="*/ 2990 w 5812"/>
                <a:gd name="T7" fmla="*/ 647 h 2497"/>
                <a:gd name="T8" fmla="*/ 1973 w 5812"/>
                <a:gd name="T9" fmla="*/ 823 h 2497"/>
                <a:gd name="T10" fmla="*/ 1254 w 5812"/>
                <a:gd name="T11" fmla="*/ 547 h 2497"/>
                <a:gd name="T12" fmla="*/ 966 w 5812"/>
                <a:gd name="T13" fmla="*/ 413 h 2497"/>
                <a:gd name="T14" fmla="*/ 0 w 5812"/>
                <a:gd name="T15" fmla="*/ 0 h 2497"/>
                <a:gd name="T16" fmla="*/ 0 w 5812"/>
                <a:gd name="T17" fmla="*/ 8 h 2497"/>
                <a:gd name="T18" fmla="*/ 963 w 5812"/>
                <a:gd name="T19" fmla="*/ 420 h 2497"/>
                <a:gd name="T20" fmla="*/ 1251 w 5812"/>
                <a:gd name="T21" fmla="*/ 554 h 2497"/>
                <a:gd name="T22" fmla="*/ 1971 w 5812"/>
                <a:gd name="T23" fmla="*/ 830 h 2497"/>
                <a:gd name="T24" fmla="*/ 2993 w 5812"/>
                <a:gd name="T25" fmla="*/ 653 h 2497"/>
                <a:gd name="T26" fmla="*/ 4193 w 5812"/>
                <a:gd name="T27" fmla="*/ 538 h 2497"/>
                <a:gd name="T28" fmla="*/ 4993 w 5812"/>
                <a:gd name="T29" fmla="*/ 1509 h 2497"/>
                <a:gd name="T30" fmla="*/ 5664 w 5812"/>
                <a:gd name="T31" fmla="*/ 2420 h 2497"/>
                <a:gd name="T32" fmla="*/ 5801 w 5812"/>
                <a:gd name="T33" fmla="*/ 2497 h 2497"/>
                <a:gd name="T34" fmla="*/ 5812 w 5812"/>
                <a:gd name="T35" fmla="*/ 2495 h 2497"/>
                <a:gd name="T36" fmla="*/ 5668 w 5812"/>
                <a:gd name="T37" fmla="*/ 2414 h 2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12" h="2497">
                  <a:moveTo>
                    <a:pt x="5668" y="2414"/>
                  </a:moveTo>
                  <a:cubicBezTo>
                    <a:pt x="5344" y="2212"/>
                    <a:pt x="5168" y="1853"/>
                    <a:pt x="4999" y="1506"/>
                  </a:cubicBezTo>
                  <a:cubicBezTo>
                    <a:pt x="4808" y="1113"/>
                    <a:pt x="4610" y="707"/>
                    <a:pt x="4196" y="531"/>
                  </a:cubicBezTo>
                  <a:cubicBezTo>
                    <a:pt x="3797" y="362"/>
                    <a:pt x="3387" y="506"/>
                    <a:pt x="2990" y="647"/>
                  </a:cubicBezTo>
                  <a:cubicBezTo>
                    <a:pt x="2657" y="764"/>
                    <a:pt x="2312" y="886"/>
                    <a:pt x="1973" y="823"/>
                  </a:cubicBezTo>
                  <a:cubicBezTo>
                    <a:pt x="1733" y="778"/>
                    <a:pt x="1490" y="661"/>
                    <a:pt x="1254" y="547"/>
                  </a:cubicBezTo>
                  <a:cubicBezTo>
                    <a:pt x="1154" y="499"/>
                    <a:pt x="1060" y="453"/>
                    <a:pt x="966" y="4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963" y="420"/>
                    <a:pt x="963" y="420"/>
                    <a:pt x="963" y="420"/>
                  </a:cubicBezTo>
                  <a:cubicBezTo>
                    <a:pt x="1057" y="460"/>
                    <a:pt x="1151" y="505"/>
                    <a:pt x="1251" y="554"/>
                  </a:cubicBezTo>
                  <a:cubicBezTo>
                    <a:pt x="1487" y="667"/>
                    <a:pt x="1731" y="785"/>
                    <a:pt x="1971" y="830"/>
                  </a:cubicBezTo>
                  <a:cubicBezTo>
                    <a:pt x="2312" y="894"/>
                    <a:pt x="2658" y="771"/>
                    <a:pt x="2993" y="653"/>
                  </a:cubicBezTo>
                  <a:cubicBezTo>
                    <a:pt x="3388" y="514"/>
                    <a:pt x="3797" y="369"/>
                    <a:pt x="4193" y="538"/>
                  </a:cubicBezTo>
                  <a:cubicBezTo>
                    <a:pt x="4605" y="713"/>
                    <a:pt x="4802" y="1117"/>
                    <a:pt x="4993" y="1509"/>
                  </a:cubicBezTo>
                  <a:cubicBezTo>
                    <a:pt x="5162" y="1857"/>
                    <a:pt x="5338" y="2217"/>
                    <a:pt x="5664" y="2420"/>
                  </a:cubicBezTo>
                  <a:cubicBezTo>
                    <a:pt x="5708" y="2447"/>
                    <a:pt x="5754" y="2473"/>
                    <a:pt x="5801" y="2497"/>
                  </a:cubicBezTo>
                  <a:cubicBezTo>
                    <a:pt x="5812" y="2495"/>
                    <a:pt x="5812" y="2495"/>
                    <a:pt x="5812" y="2495"/>
                  </a:cubicBezTo>
                  <a:cubicBezTo>
                    <a:pt x="5763" y="2470"/>
                    <a:pt x="5714" y="2443"/>
                    <a:pt x="5668" y="2414"/>
                  </a:cubicBezTo>
                  <a:close/>
                </a:path>
              </a:pathLst>
            </a:custGeom>
            <a:solidFill>
              <a:srgbClr val="CACB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2" name="Freeform 61"/>
            <p:cNvSpPr>
              <a:spLocks/>
            </p:cNvSpPr>
            <p:nvPr userDrawn="1"/>
          </p:nvSpPr>
          <p:spPr bwMode="auto">
            <a:xfrm>
              <a:off x="-792" y="630146"/>
              <a:ext cx="9171592" cy="3957254"/>
            </a:xfrm>
            <a:custGeom>
              <a:avLst/>
              <a:gdLst>
                <a:gd name="T0" fmla="*/ 5717 w 6015"/>
                <a:gd name="T1" fmla="*/ 2433 h 2593"/>
                <a:gd name="T2" fmla="*/ 5048 w 6015"/>
                <a:gd name="T3" fmla="*/ 1512 h 2593"/>
                <a:gd name="T4" fmla="*/ 4236 w 6015"/>
                <a:gd name="T5" fmla="*/ 521 h 2593"/>
                <a:gd name="T6" fmla="*/ 3031 w 6015"/>
                <a:gd name="T7" fmla="*/ 650 h 2593"/>
                <a:gd name="T8" fmla="*/ 2021 w 6015"/>
                <a:gd name="T9" fmla="*/ 841 h 2593"/>
                <a:gd name="T10" fmla="*/ 1299 w 6015"/>
                <a:gd name="T11" fmla="*/ 566 h 2593"/>
                <a:gd name="T12" fmla="*/ 1014 w 6015"/>
                <a:gd name="T13" fmla="*/ 433 h 2593"/>
                <a:gd name="T14" fmla="*/ 0 w 6015"/>
                <a:gd name="T15" fmla="*/ 0 h 2593"/>
                <a:gd name="T16" fmla="*/ 0 w 6015"/>
                <a:gd name="T17" fmla="*/ 8 h 2593"/>
                <a:gd name="T18" fmla="*/ 1011 w 6015"/>
                <a:gd name="T19" fmla="*/ 440 h 2593"/>
                <a:gd name="T20" fmla="*/ 1296 w 6015"/>
                <a:gd name="T21" fmla="*/ 573 h 2593"/>
                <a:gd name="T22" fmla="*/ 2020 w 6015"/>
                <a:gd name="T23" fmla="*/ 848 h 2593"/>
                <a:gd name="T24" fmla="*/ 3034 w 6015"/>
                <a:gd name="T25" fmla="*/ 657 h 2593"/>
                <a:gd name="T26" fmla="*/ 4233 w 6015"/>
                <a:gd name="T27" fmla="*/ 528 h 2593"/>
                <a:gd name="T28" fmla="*/ 5041 w 6015"/>
                <a:gd name="T29" fmla="*/ 1515 h 2593"/>
                <a:gd name="T30" fmla="*/ 5713 w 6015"/>
                <a:gd name="T31" fmla="*/ 2439 h 2593"/>
                <a:gd name="T32" fmla="*/ 6002 w 6015"/>
                <a:gd name="T33" fmla="*/ 2593 h 2593"/>
                <a:gd name="T34" fmla="*/ 6015 w 6015"/>
                <a:gd name="T35" fmla="*/ 2590 h 2593"/>
                <a:gd name="T36" fmla="*/ 5717 w 6015"/>
                <a:gd name="T37" fmla="*/ 2433 h 25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015" h="2593">
                  <a:moveTo>
                    <a:pt x="5717" y="2433"/>
                  </a:moveTo>
                  <a:cubicBezTo>
                    <a:pt x="5394" y="2227"/>
                    <a:pt x="5218" y="1864"/>
                    <a:pt x="5048" y="1512"/>
                  </a:cubicBezTo>
                  <a:cubicBezTo>
                    <a:pt x="4854" y="1112"/>
                    <a:pt x="4654" y="698"/>
                    <a:pt x="4236" y="521"/>
                  </a:cubicBezTo>
                  <a:cubicBezTo>
                    <a:pt x="3838" y="352"/>
                    <a:pt x="3428" y="503"/>
                    <a:pt x="3031" y="650"/>
                  </a:cubicBezTo>
                  <a:cubicBezTo>
                    <a:pt x="2700" y="773"/>
                    <a:pt x="2358" y="900"/>
                    <a:pt x="2021" y="841"/>
                  </a:cubicBezTo>
                  <a:cubicBezTo>
                    <a:pt x="1781" y="799"/>
                    <a:pt x="1536" y="681"/>
                    <a:pt x="1299" y="566"/>
                  </a:cubicBezTo>
                  <a:cubicBezTo>
                    <a:pt x="1200" y="518"/>
                    <a:pt x="1106" y="473"/>
                    <a:pt x="1014" y="43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011" y="440"/>
                    <a:pt x="1011" y="440"/>
                    <a:pt x="1011" y="440"/>
                  </a:cubicBezTo>
                  <a:cubicBezTo>
                    <a:pt x="1103" y="479"/>
                    <a:pt x="1197" y="525"/>
                    <a:pt x="1296" y="573"/>
                  </a:cubicBezTo>
                  <a:cubicBezTo>
                    <a:pt x="1533" y="687"/>
                    <a:pt x="1778" y="806"/>
                    <a:pt x="2020" y="848"/>
                  </a:cubicBezTo>
                  <a:cubicBezTo>
                    <a:pt x="2358" y="907"/>
                    <a:pt x="2702" y="780"/>
                    <a:pt x="3034" y="657"/>
                  </a:cubicBezTo>
                  <a:cubicBezTo>
                    <a:pt x="3429" y="511"/>
                    <a:pt x="3838" y="359"/>
                    <a:pt x="4233" y="528"/>
                  </a:cubicBezTo>
                  <a:cubicBezTo>
                    <a:pt x="4648" y="704"/>
                    <a:pt x="4848" y="1117"/>
                    <a:pt x="5041" y="1515"/>
                  </a:cubicBezTo>
                  <a:cubicBezTo>
                    <a:pt x="5212" y="1868"/>
                    <a:pt x="5388" y="2232"/>
                    <a:pt x="5713" y="2439"/>
                  </a:cubicBezTo>
                  <a:cubicBezTo>
                    <a:pt x="5803" y="2497"/>
                    <a:pt x="5900" y="2547"/>
                    <a:pt x="6002" y="2593"/>
                  </a:cubicBezTo>
                  <a:cubicBezTo>
                    <a:pt x="6015" y="2590"/>
                    <a:pt x="6015" y="2590"/>
                    <a:pt x="6015" y="2590"/>
                  </a:cubicBezTo>
                  <a:cubicBezTo>
                    <a:pt x="5910" y="2543"/>
                    <a:pt x="5809" y="2492"/>
                    <a:pt x="5717" y="2433"/>
                  </a:cubicBezTo>
                  <a:close/>
                </a:path>
              </a:pathLst>
            </a:custGeom>
            <a:solidFill>
              <a:srgbClr val="C9CB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3" name="Freeform 62"/>
            <p:cNvSpPr>
              <a:spLocks/>
            </p:cNvSpPr>
            <p:nvPr userDrawn="1"/>
          </p:nvSpPr>
          <p:spPr bwMode="auto">
            <a:xfrm>
              <a:off x="-792" y="429718"/>
              <a:ext cx="9501898" cy="4099958"/>
            </a:xfrm>
            <a:custGeom>
              <a:avLst/>
              <a:gdLst>
                <a:gd name="T0" fmla="*/ 5766 w 6231"/>
                <a:gd name="T1" fmla="*/ 2451 h 2686"/>
                <a:gd name="T2" fmla="*/ 5137 w 6231"/>
                <a:gd name="T3" fmla="*/ 1595 h 2686"/>
                <a:gd name="T4" fmla="*/ 5049 w 6231"/>
                <a:gd name="T5" fmla="*/ 1426 h 2686"/>
                <a:gd name="T6" fmla="*/ 5007 w 6231"/>
                <a:gd name="T7" fmla="*/ 1347 h 2686"/>
                <a:gd name="T8" fmla="*/ 4291 w 6231"/>
                <a:gd name="T9" fmla="*/ 497 h 2686"/>
                <a:gd name="T10" fmla="*/ 3257 w 6231"/>
                <a:gd name="T11" fmla="*/ 595 h 2686"/>
                <a:gd name="T12" fmla="*/ 3225 w 6231"/>
                <a:gd name="T13" fmla="*/ 606 h 2686"/>
                <a:gd name="T14" fmla="*/ 3032 w 6231"/>
                <a:gd name="T15" fmla="*/ 674 h 2686"/>
                <a:gd name="T16" fmla="*/ 2071 w 6231"/>
                <a:gd name="T17" fmla="*/ 858 h 2686"/>
                <a:gd name="T18" fmla="*/ 1341 w 6231"/>
                <a:gd name="T19" fmla="*/ 584 h 2686"/>
                <a:gd name="T20" fmla="*/ 1061 w 6231"/>
                <a:gd name="T21" fmla="*/ 453 h 2686"/>
                <a:gd name="T22" fmla="*/ 0 w 6231"/>
                <a:gd name="T23" fmla="*/ 0 h 2686"/>
                <a:gd name="T24" fmla="*/ 0 w 6231"/>
                <a:gd name="T25" fmla="*/ 8 h 2686"/>
                <a:gd name="T26" fmla="*/ 1058 w 6231"/>
                <a:gd name="T27" fmla="*/ 460 h 2686"/>
                <a:gd name="T28" fmla="*/ 1338 w 6231"/>
                <a:gd name="T29" fmla="*/ 591 h 2686"/>
                <a:gd name="T30" fmla="*/ 2070 w 6231"/>
                <a:gd name="T31" fmla="*/ 865 h 2686"/>
                <a:gd name="T32" fmla="*/ 3035 w 6231"/>
                <a:gd name="T33" fmla="*/ 681 h 2686"/>
                <a:gd name="T34" fmla="*/ 3228 w 6231"/>
                <a:gd name="T35" fmla="*/ 613 h 2686"/>
                <a:gd name="T36" fmla="*/ 3259 w 6231"/>
                <a:gd name="T37" fmla="*/ 602 h 2686"/>
                <a:gd name="T38" fmla="*/ 4288 w 6231"/>
                <a:gd name="T39" fmla="*/ 504 h 2686"/>
                <a:gd name="T40" fmla="*/ 5000 w 6231"/>
                <a:gd name="T41" fmla="*/ 1350 h 2686"/>
                <a:gd name="T42" fmla="*/ 5042 w 6231"/>
                <a:gd name="T43" fmla="*/ 1430 h 2686"/>
                <a:gd name="T44" fmla="*/ 5130 w 6231"/>
                <a:gd name="T45" fmla="*/ 1598 h 2686"/>
                <a:gd name="T46" fmla="*/ 5762 w 6231"/>
                <a:gd name="T47" fmla="*/ 2457 h 2686"/>
                <a:gd name="T48" fmla="*/ 6217 w 6231"/>
                <a:gd name="T49" fmla="*/ 2686 h 2686"/>
                <a:gd name="T50" fmla="*/ 6231 w 6231"/>
                <a:gd name="T51" fmla="*/ 2683 h 2686"/>
                <a:gd name="T52" fmla="*/ 5766 w 6231"/>
                <a:gd name="T53" fmla="*/ 2451 h 2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231" h="2686">
                  <a:moveTo>
                    <a:pt x="5766" y="2451"/>
                  </a:moveTo>
                  <a:cubicBezTo>
                    <a:pt x="5475" y="2257"/>
                    <a:pt x="5295" y="1905"/>
                    <a:pt x="5137" y="1595"/>
                  </a:cubicBezTo>
                  <a:cubicBezTo>
                    <a:pt x="5106" y="1536"/>
                    <a:pt x="5078" y="1481"/>
                    <a:pt x="5049" y="1426"/>
                  </a:cubicBezTo>
                  <a:cubicBezTo>
                    <a:pt x="5035" y="1400"/>
                    <a:pt x="5021" y="1374"/>
                    <a:pt x="5007" y="1347"/>
                  </a:cubicBezTo>
                  <a:cubicBezTo>
                    <a:pt x="4833" y="1017"/>
                    <a:pt x="4636" y="643"/>
                    <a:pt x="4291" y="497"/>
                  </a:cubicBezTo>
                  <a:cubicBezTo>
                    <a:pt x="3960" y="356"/>
                    <a:pt x="3587" y="483"/>
                    <a:pt x="3257" y="595"/>
                  </a:cubicBezTo>
                  <a:cubicBezTo>
                    <a:pt x="3225" y="606"/>
                    <a:pt x="3225" y="606"/>
                    <a:pt x="3225" y="606"/>
                  </a:cubicBezTo>
                  <a:cubicBezTo>
                    <a:pt x="3162" y="627"/>
                    <a:pt x="3099" y="650"/>
                    <a:pt x="3032" y="674"/>
                  </a:cubicBezTo>
                  <a:cubicBezTo>
                    <a:pt x="2717" y="789"/>
                    <a:pt x="2391" y="907"/>
                    <a:pt x="2071" y="858"/>
                  </a:cubicBezTo>
                  <a:cubicBezTo>
                    <a:pt x="1829" y="821"/>
                    <a:pt x="1581" y="700"/>
                    <a:pt x="1341" y="584"/>
                  </a:cubicBezTo>
                  <a:cubicBezTo>
                    <a:pt x="1244" y="537"/>
                    <a:pt x="1152" y="492"/>
                    <a:pt x="1061" y="45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058" y="460"/>
                    <a:pt x="1058" y="460"/>
                    <a:pt x="1058" y="460"/>
                  </a:cubicBezTo>
                  <a:cubicBezTo>
                    <a:pt x="1149" y="499"/>
                    <a:pt x="1241" y="544"/>
                    <a:pt x="1338" y="591"/>
                  </a:cubicBezTo>
                  <a:cubicBezTo>
                    <a:pt x="1578" y="707"/>
                    <a:pt x="1826" y="828"/>
                    <a:pt x="2070" y="865"/>
                  </a:cubicBezTo>
                  <a:cubicBezTo>
                    <a:pt x="2392" y="915"/>
                    <a:pt x="2719" y="796"/>
                    <a:pt x="3035" y="681"/>
                  </a:cubicBezTo>
                  <a:cubicBezTo>
                    <a:pt x="3102" y="657"/>
                    <a:pt x="3165" y="634"/>
                    <a:pt x="3228" y="613"/>
                  </a:cubicBezTo>
                  <a:cubicBezTo>
                    <a:pt x="3259" y="602"/>
                    <a:pt x="3259" y="602"/>
                    <a:pt x="3259" y="602"/>
                  </a:cubicBezTo>
                  <a:cubicBezTo>
                    <a:pt x="3588" y="490"/>
                    <a:pt x="3960" y="364"/>
                    <a:pt x="4288" y="504"/>
                  </a:cubicBezTo>
                  <a:cubicBezTo>
                    <a:pt x="4631" y="649"/>
                    <a:pt x="4827" y="1022"/>
                    <a:pt x="5000" y="1350"/>
                  </a:cubicBezTo>
                  <a:cubicBezTo>
                    <a:pt x="5015" y="1377"/>
                    <a:pt x="5029" y="1404"/>
                    <a:pt x="5042" y="1430"/>
                  </a:cubicBezTo>
                  <a:cubicBezTo>
                    <a:pt x="5071" y="1484"/>
                    <a:pt x="5100" y="1540"/>
                    <a:pt x="5130" y="1598"/>
                  </a:cubicBezTo>
                  <a:cubicBezTo>
                    <a:pt x="5289" y="1909"/>
                    <a:pt x="5470" y="2262"/>
                    <a:pt x="5762" y="2457"/>
                  </a:cubicBezTo>
                  <a:cubicBezTo>
                    <a:pt x="5899" y="2548"/>
                    <a:pt x="6056" y="2620"/>
                    <a:pt x="6217" y="2686"/>
                  </a:cubicBezTo>
                  <a:cubicBezTo>
                    <a:pt x="6231" y="2683"/>
                    <a:pt x="6231" y="2683"/>
                    <a:pt x="6231" y="2683"/>
                  </a:cubicBezTo>
                  <a:cubicBezTo>
                    <a:pt x="6066" y="2617"/>
                    <a:pt x="5905" y="2544"/>
                    <a:pt x="5766" y="2451"/>
                  </a:cubicBezTo>
                  <a:close/>
                </a:path>
              </a:pathLst>
            </a:custGeom>
            <a:solidFill>
              <a:srgbClr val="C9CA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4" name="Freeform 63"/>
            <p:cNvSpPr>
              <a:spLocks/>
            </p:cNvSpPr>
            <p:nvPr userDrawn="1"/>
          </p:nvSpPr>
          <p:spPr bwMode="auto">
            <a:xfrm>
              <a:off x="-792" y="230893"/>
              <a:ext cx="9849841" cy="4237854"/>
            </a:xfrm>
            <a:custGeom>
              <a:avLst/>
              <a:gdLst>
                <a:gd name="T0" fmla="*/ 5815 w 6459"/>
                <a:gd name="T1" fmla="*/ 2469 h 2777"/>
                <a:gd name="T2" fmla="*/ 5184 w 6459"/>
                <a:gd name="T3" fmla="*/ 1614 h 2777"/>
                <a:gd name="T4" fmla="*/ 5096 w 6459"/>
                <a:gd name="T5" fmla="*/ 1447 h 2777"/>
                <a:gd name="T6" fmla="*/ 5050 w 6459"/>
                <a:gd name="T7" fmla="*/ 1361 h 2777"/>
                <a:gd name="T8" fmla="*/ 4338 w 6459"/>
                <a:gd name="T9" fmla="*/ 518 h 2777"/>
                <a:gd name="T10" fmla="*/ 3311 w 6459"/>
                <a:gd name="T11" fmla="*/ 614 h 2777"/>
                <a:gd name="T12" fmla="*/ 3272 w 6459"/>
                <a:gd name="T13" fmla="*/ 627 h 2777"/>
                <a:gd name="T14" fmla="*/ 3080 w 6459"/>
                <a:gd name="T15" fmla="*/ 694 h 2777"/>
                <a:gd name="T16" fmla="*/ 2120 w 6459"/>
                <a:gd name="T17" fmla="*/ 876 h 2777"/>
                <a:gd name="T18" fmla="*/ 1385 w 6459"/>
                <a:gd name="T19" fmla="*/ 603 h 2777"/>
                <a:gd name="T20" fmla="*/ 1108 w 6459"/>
                <a:gd name="T21" fmla="*/ 473 h 2777"/>
                <a:gd name="T22" fmla="*/ 0 w 6459"/>
                <a:gd name="T23" fmla="*/ 0 h 2777"/>
                <a:gd name="T24" fmla="*/ 0 w 6459"/>
                <a:gd name="T25" fmla="*/ 8 h 2777"/>
                <a:gd name="T26" fmla="*/ 1105 w 6459"/>
                <a:gd name="T27" fmla="*/ 480 h 2777"/>
                <a:gd name="T28" fmla="*/ 1382 w 6459"/>
                <a:gd name="T29" fmla="*/ 610 h 2777"/>
                <a:gd name="T30" fmla="*/ 2119 w 6459"/>
                <a:gd name="T31" fmla="*/ 883 h 2777"/>
                <a:gd name="T32" fmla="*/ 3082 w 6459"/>
                <a:gd name="T33" fmla="*/ 701 h 2777"/>
                <a:gd name="T34" fmla="*/ 3274 w 6459"/>
                <a:gd name="T35" fmla="*/ 634 h 2777"/>
                <a:gd name="T36" fmla="*/ 3313 w 6459"/>
                <a:gd name="T37" fmla="*/ 621 h 2777"/>
                <a:gd name="T38" fmla="*/ 4335 w 6459"/>
                <a:gd name="T39" fmla="*/ 525 h 2777"/>
                <a:gd name="T40" fmla="*/ 5043 w 6459"/>
                <a:gd name="T41" fmla="*/ 1365 h 2777"/>
                <a:gd name="T42" fmla="*/ 5089 w 6459"/>
                <a:gd name="T43" fmla="*/ 1451 h 2777"/>
                <a:gd name="T44" fmla="*/ 5177 w 6459"/>
                <a:gd name="T45" fmla="*/ 1618 h 2777"/>
                <a:gd name="T46" fmla="*/ 5810 w 6459"/>
                <a:gd name="T47" fmla="*/ 2475 h 2777"/>
                <a:gd name="T48" fmla="*/ 6445 w 6459"/>
                <a:gd name="T49" fmla="*/ 2777 h 2777"/>
                <a:gd name="T50" fmla="*/ 6459 w 6459"/>
                <a:gd name="T51" fmla="*/ 2774 h 2777"/>
                <a:gd name="T52" fmla="*/ 5815 w 6459"/>
                <a:gd name="T53" fmla="*/ 2469 h 2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459" h="2777">
                  <a:moveTo>
                    <a:pt x="5815" y="2469"/>
                  </a:moveTo>
                  <a:cubicBezTo>
                    <a:pt x="5526" y="2272"/>
                    <a:pt x="5344" y="1923"/>
                    <a:pt x="5184" y="1614"/>
                  </a:cubicBezTo>
                  <a:cubicBezTo>
                    <a:pt x="5154" y="1556"/>
                    <a:pt x="5125" y="1501"/>
                    <a:pt x="5096" y="1447"/>
                  </a:cubicBezTo>
                  <a:cubicBezTo>
                    <a:pt x="5081" y="1419"/>
                    <a:pt x="5066" y="1390"/>
                    <a:pt x="5050" y="1361"/>
                  </a:cubicBezTo>
                  <a:cubicBezTo>
                    <a:pt x="4884" y="1050"/>
                    <a:pt x="4677" y="662"/>
                    <a:pt x="4338" y="518"/>
                  </a:cubicBezTo>
                  <a:cubicBezTo>
                    <a:pt x="4013" y="379"/>
                    <a:pt x="3623" y="509"/>
                    <a:pt x="3311" y="614"/>
                  </a:cubicBezTo>
                  <a:cubicBezTo>
                    <a:pt x="3272" y="627"/>
                    <a:pt x="3272" y="627"/>
                    <a:pt x="3272" y="627"/>
                  </a:cubicBezTo>
                  <a:cubicBezTo>
                    <a:pt x="3209" y="648"/>
                    <a:pt x="3146" y="670"/>
                    <a:pt x="3080" y="694"/>
                  </a:cubicBezTo>
                  <a:cubicBezTo>
                    <a:pt x="2765" y="806"/>
                    <a:pt x="2440" y="922"/>
                    <a:pt x="2120" y="876"/>
                  </a:cubicBezTo>
                  <a:cubicBezTo>
                    <a:pt x="1876" y="841"/>
                    <a:pt x="1626" y="720"/>
                    <a:pt x="1385" y="603"/>
                  </a:cubicBezTo>
                  <a:cubicBezTo>
                    <a:pt x="1289" y="556"/>
                    <a:pt x="1198" y="512"/>
                    <a:pt x="1108" y="47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105" y="480"/>
                    <a:pt x="1105" y="480"/>
                    <a:pt x="1105" y="480"/>
                  </a:cubicBezTo>
                  <a:cubicBezTo>
                    <a:pt x="1195" y="519"/>
                    <a:pt x="1286" y="563"/>
                    <a:pt x="1382" y="610"/>
                  </a:cubicBezTo>
                  <a:cubicBezTo>
                    <a:pt x="1624" y="727"/>
                    <a:pt x="1873" y="848"/>
                    <a:pt x="2119" y="883"/>
                  </a:cubicBezTo>
                  <a:cubicBezTo>
                    <a:pt x="2441" y="930"/>
                    <a:pt x="2767" y="813"/>
                    <a:pt x="3082" y="701"/>
                  </a:cubicBezTo>
                  <a:cubicBezTo>
                    <a:pt x="3149" y="677"/>
                    <a:pt x="3212" y="655"/>
                    <a:pt x="3274" y="634"/>
                  </a:cubicBezTo>
                  <a:cubicBezTo>
                    <a:pt x="3313" y="621"/>
                    <a:pt x="3313" y="621"/>
                    <a:pt x="3313" y="621"/>
                  </a:cubicBezTo>
                  <a:cubicBezTo>
                    <a:pt x="3625" y="517"/>
                    <a:pt x="4012" y="388"/>
                    <a:pt x="4335" y="525"/>
                  </a:cubicBezTo>
                  <a:cubicBezTo>
                    <a:pt x="4672" y="668"/>
                    <a:pt x="4878" y="1054"/>
                    <a:pt x="5043" y="1365"/>
                  </a:cubicBezTo>
                  <a:cubicBezTo>
                    <a:pt x="5059" y="1394"/>
                    <a:pt x="5074" y="1423"/>
                    <a:pt x="5089" y="1451"/>
                  </a:cubicBezTo>
                  <a:cubicBezTo>
                    <a:pt x="5119" y="1505"/>
                    <a:pt x="5147" y="1560"/>
                    <a:pt x="5177" y="1618"/>
                  </a:cubicBezTo>
                  <a:cubicBezTo>
                    <a:pt x="5338" y="1927"/>
                    <a:pt x="5520" y="2277"/>
                    <a:pt x="5810" y="2475"/>
                  </a:cubicBezTo>
                  <a:cubicBezTo>
                    <a:pt x="5996" y="2602"/>
                    <a:pt x="6221" y="2692"/>
                    <a:pt x="6445" y="2777"/>
                  </a:cubicBezTo>
                  <a:cubicBezTo>
                    <a:pt x="6459" y="2774"/>
                    <a:pt x="6459" y="2774"/>
                    <a:pt x="6459" y="2774"/>
                  </a:cubicBezTo>
                  <a:cubicBezTo>
                    <a:pt x="6233" y="2688"/>
                    <a:pt x="6002" y="2597"/>
                    <a:pt x="5815" y="2469"/>
                  </a:cubicBezTo>
                  <a:close/>
                </a:path>
              </a:pathLst>
            </a:custGeom>
            <a:solidFill>
              <a:srgbClr val="C8CA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</p:grp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4079776" y="0"/>
            <a:ext cx="8112224" cy="6861600"/>
          </a:xfrm>
          <a:custGeom>
            <a:avLst/>
            <a:gdLst>
              <a:gd name="connsiteX0" fmla="*/ 0 w 6120000"/>
              <a:gd name="connsiteY0" fmla="*/ 6855351 h 6861600"/>
              <a:gd name="connsiteX1" fmla="*/ 6120000 w 6120000"/>
              <a:gd name="connsiteY1" fmla="*/ 6856413 h 6861600"/>
              <a:gd name="connsiteX2" fmla="*/ 6120000 w 6120000"/>
              <a:gd name="connsiteY2" fmla="*/ 6861600 h 6861600"/>
              <a:gd name="connsiteX3" fmla="*/ 0 w 6120000"/>
              <a:gd name="connsiteY3" fmla="*/ 6861600 h 6861600"/>
              <a:gd name="connsiteX4" fmla="*/ 0 w 6120000"/>
              <a:gd name="connsiteY4" fmla="*/ 0 h 6861600"/>
              <a:gd name="connsiteX5" fmla="*/ 6120000 w 6120000"/>
              <a:gd name="connsiteY5" fmla="*/ 0 h 6861600"/>
              <a:gd name="connsiteX6" fmla="*/ 6120000 w 6120000"/>
              <a:gd name="connsiteY6" fmla="*/ 6856413 h 6861600"/>
              <a:gd name="connsiteX7" fmla="*/ 30350 w 6120000"/>
              <a:gd name="connsiteY7" fmla="*/ 5778500 h 6861600"/>
              <a:gd name="connsiteX8" fmla="*/ 0 w 6120000"/>
              <a:gd name="connsiteY8" fmla="*/ 5783848 h 6861600"/>
              <a:gd name="connsiteX0" fmla="*/ 0 w 6120000"/>
              <a:gd name="connsiteY0" fmla="*/ 6855351 h 6861600"/>
              <a:gd name="connsiteX1" fmla="*/ 6120000 w 6120000"/>
              <a:gd name="connsiteY1" fmla="*/ 6856413 h 6861600"/>
              <a:gd name="connsiteX2" fmla="*/ 6120000 w 6120000"/>
              <a:gd name="connsiteY2" fmla="*/ 6861600 h 6861600"/>
              <a:gd name="connsiteX3" fmla="*/ 0 w 6120000"/>
              <a:gd name="connsiteY3" fmla="*/ 6861600 h 6861600"/>
              <a:gd name="connsiteX4" fmla="*/ 0 w 6120000"/>
              <a:gd name="connsiteY4" fmla="*/ 6855351 h 6861600"/>
              <a:gd name="connsiteX5" fmla="*/ 0 w 6120000"/>
              <a:gd name="connsiteY5" fmla="*/ 0 h 6861600"/>
              <a:gd name="connsiteX6" fmla="*/ 6120000 w 6120000"/>
              <a:gd name="connsiteY6" fmla="*/ 0 h 6861600"/>
              <a:gd name="connsiteX7" fmla="*/ 6120000 w 6120000"/>
              <a:gd name="connsiteY7" fmla="*/ 6856413 h 6861600"/>
              <a:gd name="connsiteX8" fmla="*/ 30350 w 6120000"/>
              <a:gd name="connsiteY8" fmla="*/ 5778500 h 6861600"/>
              <a:gd name="connsiteX9" fmla="*/ 0 w 6120000"/>
              <a:gd name="connsiteY9" fmla="*/ 5461580 h 6861600"/>
              <a:gd name="connsiteX10" fmla="*/ 0 w 6120000"/>
              <a:gd name="connsiteY10" fmla="*/ 0 h 6861600"/>
              <a:gd name="connsiteX0" fmla="*/ 0 w 6120000"/>
              <a:gd name="connsiteY0" fmla="*/ 6855351 h 6861600"/>
              <a:gd name="connsiteX1" fmla="*/ 6120000 w 6120000"/>
              <a:gd name="connsiteY1" fmla="*/ 6856413 h 6861600"/>
              <a:gd name="connsiteX2" fmla="*/ 6120000 w 6120000"/>
              <a:gd name="connsiteY2" fmla="*/ 6861600 h 6861600"/>
              <a:gd name="connsiteX3" fmla="*/ 0 w 6120000"/>
              <a:gd name="connsiteY3" fmla="*/ 6861600 h 6861600"/>
              <a:gd name="connsiteX4" fmla="*/ 0 w 6120000"/>
              <a:gd name="connsiteY4" fmla="*/ 6855351 h 6861600"/>
              <a:gd name="connsiteX5" fmla="*/ 0 w 6120000"/>
              <a:gd name="connsiteY5" fmla="*/ 0 h 6861600"/>
              <a:gd name="connsiteX6" fmla="*/ 6120000 w 6120000"/>
              <a:gd name="connsiteY6" fmla="*/ 0 h 6861600"/>
              <a:gd name="connsiteX7" fmla="*/ 6120000 w 6120000"/>
              <a:gd name="connsiteY7" fmla="*/ 6856413 h 6861600"/>
              <a:gd name="connsiteX8" fmla="*/ 0 w 6120000"/>
              <a:gd name="connsiteY8" fmla="*/ 5461580 h 6861600"/>
              <a:gd name="connsiteX9" fmla="*/ 0 w 6120000"/>
              <a:gd name="connsiteY9" fmla="*/ 0 h 6861600"/>
              <a:gd name="connsiteX0" fmla="*/ 0 w 6120000"/>
              <a:gd name="connsiteY0" fmla="*/ 6861600 h 6861600"/>
              <a:gd name="connsiteX1" fmla="*/ 6120000 w 6120000"/>
              <a:gd name="connsiteY1" fmla="*/ 6856413 h 6861600"/>
              <a:gd name="connsiteX2" fmla="*/ 6120000 w 6120000"/>
              <a:gd name="connsiteY2" fmla="*/ 6861600 h 6861600"/>
              <a:gd name="connsiteX3" fmla="*/ 0 w 6120000"/>
              <a:gd name="connsiteY3" fmla="*/ 6861600 h 6861600"/>
              <a:gd name="connsiteX4" fmla="*/ 0 w 6120000"/>
              <a:gd name="connsiteY4" fmla="*/ 0 h 6861600"/>
              <a:gd name="connsiteX5" fmla="*/ 6120000 w 6120000"/>
              <a:gd name="connsiteY5" fmla="*/ 0 h 6861600"/>
              <a:gd name="connsiteX6" fmla="*/ 6120000 w 6120000"/>
              <a:gd name="connsiteY6" fmla="*/ 6856413 h 6861600"/>
              <a:gd name="connsiteX7" fmla="*/ 0 w 6120000"/>
              <a:gd name="connsiteY7" fmla="*/ 5461580 h 6861600"/>
              <a:gd name="connsiteX8" fmla="*/ 0 w 6120000"/>
              <a:gd name="connsiteY8" fmla="*/ 0 h 6861600"/>
              <a:gd name="connsiteX0" fmla="*/ 6120000 w 6120000"/>
              <a:gd name="connsiteY0" fmla="*/ 6861600 h 6861600"/>
              <a:gd name="connsiteX1" fmla="*/ 6120000 w 6120000"/>
              <a:gd name="connsiteY1" fmla="*/ 6856413 h 6861600"/>
              <a:gd name="connsiteX2" fmla="*/ 6120000 w 6120000"/>
              <a:gd name="connsiteY2" fmla="*/ 6861600 h 6861600"/>
              <a:gd name="connsiteX3" fmla="*/ 0 w 6120000"/>
              <a:gd name="connsiteY3" fmla="*/ 0 h 6861600"/>
              <a:gd name="connsiteX4" fmla="*/ 6120000 w 6120000"/>
              <a:gd name="connsiteY4" fmla="*/ 0 h 6861600"/>
              <a:gd name="connsiteX5" fmla="*/ 6120000 w 6120000"/>
              <a:gd name="connsiteY5" fmla="*/ 6856413 h 6861600"/>
              <a:gd name="connsiteX6" fmla="*/ 0 w 6120000"/>
              <a:gd name="connsiteY6" fmla="*/ 5461580 h 6861600"/>
              <a:gd name="connsiteX7" fmla="*/ 0 w 6120000"/>
              <a:gd name="connsiteY7" fmla="*/ 0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120000" h="6861600">
                <a:moveTo>
                  <a:pt x="6120000" y="6861600"/>
                </a:moveTo>
                <a:lnTo>
                  <a:pt x="6120000" y="6856413"/>
                </a:lnTo>
                <a:lnTo>
                  <a:pt x="6120000" y="6861600"/>
                </a:lnTo>
                <a:close/>
                <a:moveTo>
                  <a:pt x="0" y="0"/>
                </a:moveTo>
                <a:lnTo>
                  <a:pt x="6120000" y="0"/>
                </a:lnTo>
                <a:lnTo>
                  <a:pt x="6120000" y="6856413"/>
                </a:lnTo>
                <a:lnTo>
                  <a:pt x="0" y="546158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90000"/>
            </a:schemeClr>
          </a:solidFill>
        </p:spPr>
        <p:txBody>
          <a:bodyPr wrap="square" lIns="666000" tIns="2304000" rIns="489600" bIns="2538000" anchor="t" anchorCtr="0">
            <a:noAutofit/>
          </a:bodyPr>
          <a:lstStyle>
            <a:lvl1pPr>
              <a:lnSpc>
                <a:spcPct val="87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Præsentationstitel i maksimum to linjer</a:t>
            </a:r>
            <a:endParaRPr lang="da-DK"/>
          </a:p>
        </p:txBody>
      </p:sp>
      <p:sp>
        <p:nvSpPr>
          <p:cNvPr id="3" name="Undertitel 2"/>
          <p:cNvSpPr>
            <a:spLocks noGrp="1"/>
          </p:cNvSpPr>
          <p:nvPr>
            <p:ph type="subTitle" idx="1" hasCustomPrompt="1"/>
          </p:nvPr>
        </p:nvSpPr>
        <p:spPr>
          <a:xfrm>
            <a:off x="4077409" y="3512868"/>
            <a:ext cx="7441491" cy="498834"/>
          </a:xfrm>
        </p:spPr>
        <p:txBody>
          <a:bodyPr lIns="684000" rIns="511200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Klik, og tilføj undertitel</a:t>
            </a:r>
            <a:endParaRPr lang="da-DK"/>
          </a:p>
        </p:txBody>
      </p:sp>
      <p:sp>
        <p:nvSpPr>
          <p:cNvPr id="6" name="Indsæt TitleName"/>
          <p:cNvSpPr>
            <a:spLocks noGrp="1"/>
          </p:cNvSpPr>
          <p:nvPr>
            <p:ph type="body" sz="quarter" idx="14" hasCustomPrompt="1"/>
          </p:nvPr>
        </p:nvSpPr>
        <p:spPr>
          <a:xfrm>
            <a:off x="4079775" y="1349645"/>
            <a:ext cx="7439125" cy="360040"/>
          </a:xfrm>
        </p:spPr>
        <p:txBody>
          <a:bodyPr lIns="684000" anchor="b" anchorCtr="0"/>
          <a:lstStyle>
            <a:lvl1pPr>
              <a:lnSpc>
                <a:spcPct val="115000"/>
              </a:lnSpc>
              <a:defRPr sz="10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Indsæt titel, navn</a:t>
            </a:r>
            <a:endParaRPr lang="da-DK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445224"/>
            <a:ext cx="12192000" cy="1411191"/>
          </a:xfrm>
          <a:custGeom>
            <a:avLst/>
            <a:gdLst>
              <a:gd name="connsiteX0" fmla="*/ 3054350 w 9144000"/>
              <a:gd name="connsiteY0" fmla="*/ 0 h 1077913"/>
              <a:gd name="connsiteX1" fmla="*/ 9144000 w 9144000"/>
              <a:gd name="connsiteY1" fmla="*/ 1077913 h 1077913"/>
              <a:gd name="connsiteX2" fmla="*/ 0 w 9144000"/>
              <a:gd name="connsiteY2" fmla="*/ 1076326 h 1077913"/>
              <a:gd name="connsiteX3" fmla="*/ 0 w 9144000"/>
              <a:gd name="connsiteY3" fmla="*/ 538163 h 1077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1077913">
                <a:moveTo>
                  <a:pt x="3054350" y="0"/>
                </a:moveTo>
                <a:lnTo>
                  <a:pt x="9144000" y="1077913"/>
                </a:lnTo>
                <a:lnTo>
                  <a:pt x="0" y="1076326"/>
                </a:lnTo>
                <a:lnTo>
                  <a:pt x="0" y="53816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079776" y="4041068"/>
            <a:ext cx="8109858" cy="2823852"/>
          </a:xfrm>
          <a:custGeom>
            <a:avLst/>
            <a:gdLst>
              <a:gd name="connsiteX0" fmla="*/ 6116484 w 6118225"/>
              <a:gd name="connsiteY0" fmla="*/ 0 h 2159720"/>
              <a:gd name="connsiteX1" fmla="*/ 6118225 w 6118225"/>
              <a:gd name="connsiteY1" fmla="*/ 0 h 2159720"/>
              <a:gd name="connsiteX2" fmla="*/ 6118225 w 6118225"/>
              <a:gd name="connsiteY2" fmla="*/ 2159720 h 2159720"/>
              <a:gd name="connsiteX3" fmla="*/ 0 w 6118225"/>
              <a:gd name="connsiteY3" fmla="*/ 1078913 h 2159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18225" h="2159720">
                <a:moveTo>
                  <a:pt x="6116484" y="0"/>
                </a:moveTo>
                <a:lnTo>
                  <a:pt x="6118225" y="0"/>
                </a:lnTo>
                <a:lnTo>
                  <a:pt x="6118225" y="2159720"/>
                </a:lnTo>
                <a:lnTo>
                  <a:pt x="0" y="1078913"/>
                </a:lnTo>
                <a:close/>
              </a:path>
            </a:pathLst>
          </a:custGeom>
          <a:solidFill>
            <a:srgbClr val="061C48"/>
          </a:solidFill>
        </p:spPr>
        <p:txBody>
          <a:bodyPr wrap="square">
            <a:noAutofit/>
          </a:bodyPr>
          <a:lstStyle>
            <a:lvl1pPr marL="0" indent="0">
              <a:buNone/>
              <a:defRPr sz="100"/>
            </a:lvl1pPr>
            <a:lvl2pPr marL="0" indent="0">
              <a:buNone/>
              <a:defRPr sz="100"/>
            </a:lvl2pPr>
            <a:lvl3pPr marL="216000" indent="0">
              <a:buNone/>
              <a:defRPr sz="100"/>
            </a:lvl3pPr>
            <a:lvl4pPr marL="432000" indent="0">
              <a:buNone/>
              <a:defRPr sz="100"/>
            </a:lvl4pPr>
            <a:lvl5pPr marL="648000" indent="0">
              <a:buNone/>
              <a:defRPr sz="100"/>
            </a:lvl5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  <p:sp>
        <p:nvSpPr>
          <p:cNvPr id="122" name="Text Placeholder 3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4764088" y="345600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9169002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hap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3175">
            <a:noFill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4000"/>
              </a:lnSpc>
            </a:pPr>
            <a:endParaRPr lang="da-DK" sz="1800" dirty="0" err="1"/>
          </a:p>
        </p:txBody>
      </p:sp>
      <p:sp>
        <p:nvSpPr>
          <p:cNvPr id="10" name="Shape 1"/>
          <p:cNvSpPr>
            <a:spLocks/>
          </p:cNvSpPr>
          <p:nvPr userDrawn="1"/>
        </p:nvSpPr>
        <p:spPr bwMode="auto">
          <a:xfrm>
            <a:off x="0" y="1"/>
            <a:ext cx="12192000" cy="6856413"/>
          </a:xfrm>
          <a:custGeom>
            <a:avLst/>
            <a:gdLst>
              <a:gd name="T0" fmla="*/ 0 w 5757"/>
              <a:gd name="T1" fmla="*/ 0 h 4319"/>
              <a:gd name="T2" fmla="*/ 0 w 5757"/>
              <a:gd name="T3" fmla="*/ 3304 h 4319"/>
              <a:gd name="T4" fmla="*/ 5757 w 5757"/>
              <a:gd name="T5" fmla="*/ 4319 h 4319"/>
              <a:gd name="T6" fmla="*/ 5757 w 5757"/>
              <a:gd name="T7" fmla="*/ 0 h 4319"/>
              <a:gd name="T8" fmla="*/ 0 w 5757"/>
              <a:gd name="T9" fmla="*/ 0 h 4319"/>
              <a:gd name="connsiteX0" fmla="*/ 0 w 10000"/>
              <a:gd name="connsiteY0" fmla="*/ 0 h 10000"/>
              <a:gd name="connsiteX1" fmla="*/ 2 w 10000"/>
              <a:gd name="connsiteY1" fmla="*/ 6878 h 10000"/>
              <a:gd name="connsiteX2" fmla="*/ 10000 w 10000"/>
              <a:gd name="connsiteY2" fmla="*/ 10000 h 10000"/>
              <a:gd name="connsiteX3" fmla="*/ 10000 w 10000"/>
              <a:gd name="connsiteY3" fmla="*/ 0 h 10000"/>
              <a:gd name="connsiteX4" fmla="*/ 0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0"/>
                </a:moveTo>
                <a:cubicBezTo>
                  <a:pt x="1" y="2293"/>
                  <a:pt x="1" y="4585"/>
                  <a:pt x="2" y="6878"/>
                </a:cubicBezTo>
                <a:lnTo>
                  <a:pt x="10000" y="10000"/>
                </a:lnTo>
                <a:lnTo>
                  <a:pt x="1000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sz="1800" dirty="0"/>
          </a:p>
        </p:txBody>
      </p:sp>
      <p:sp>
        <p:nvSpPr>
          <p:cNvPr id="15" name="Shape 2"/>
          <p:cNvSpPr>
            <a:spLocks/>
          </p:cNvSpPr>
          <p:nvPr userDrawn="1"/>
        </p:nvSpPr>
        <p:spPr bwMode="auto">
          <a:xfrm>
            <a:off x="0" y="2565400"/>
            <a:ext cx="12192000" cy="4291014"/>
          </a:xfrm>
          <a:custGeom>
            <a:avLst/>
            <a:gdLst>
              <a:gd name="T0" fmla="*/ 5760 w 5760"/>
              <a:gd name="T1" fmla="*/ 0 h 2034"/>
              <a:gd name="T2" fmla="*/ 0 w 5760"/>
              <a:gd name="T3" fmla="*/ 1017 h 2034"/>
              <a:gd name="T4" fmla="*/ 5760 w 5760"/>
              <a:gd name="T5" fmla="*/ 2034 h 2034"/>
              <a:gd name="T6" fmla="*/ 5760 w 5760"/>
              <a:gd name="T7" fmla="*/ 0 h 20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760" h="2034">
                <a:moveTo>
                  <a:pt x="5760" y="0"/>
                </a:moveTo>
                <a:lnTo>
                  <a:pt x="0" y="1017"/>
                </a:lnTo>
                <a:lnTo>
                  <a:pt x="5760" y="2034"/>
                </a:lnTo>
                <a:lnTo>
                  <a:pt x="5760" y="0"/>
                </a:lnTo>
                <a:close/>
              </a:path>
            </a:pathLst>
          </a:custGeom>
          <a:solidFill>
            <a:srgbClr val="27A1B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sz="18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002" y="1954278"/>
            <a:ext cx="8781561" cy="1224136"/>
          </a:xfrm>
        </p:spPr>
        <p:txBody>
          <a:bodyPr/>
          <a:lstStyle>
            <a:lvl1pPr>
              <a:lnSpc>
                <a:spcPct val="87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pic>
        <p:nvPicPr>
          <p:cNvPr id="11" name="Logo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1055" y="346665"/>
            <a:ext cx="1403387" cy="256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788348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hap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3175">
            <a:noFill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4000"/>
              </a:lnSpc>
            </a:pPr>
            <a:endParaRPr lang="da-DK" sz="1800" dirty="0" err="1"/>
          </a:p>
        </p:txBody>
      </p:sp>
      <p:sp>
        <p:nvSpPr>
          <p:cNvPr id="10" name="Shape 1"/>
          <p:cNvSpPr>
            <a:spLocks/>
          </p:cNvSpPr>
          <p:nvPr userDrawn="1"/>
        </p:nvSpPr>
        <p:spPr bwMode="auto">
          <a:xfrm>
            <a:off x="0" y="1"/>
            <a:ext cx="12192000" cy="6856413"/>
          </a:xfrm>
          <a:custGeom>
            <a:avLst/>
            <a:gdLst>
              <a:gd name="T0" fmla="*/ 0 w 5757"/>
              <a:gd name="T1" fmla="*/ 0 h 4319"/>
              <a:gd name="T2" fmla="*/ 0 w 5757"/>
              <a:gd name="T3" fmla="*/ 3304 h 4319"/>
              <a:gd name="T4" fmla="*/ 5757 w 5757"/>
              <a:gd name="T5" fmla="*/ 4319 h 4319"/>
              <a:gd name="T6" fmla="*/ 5757 w 5757"/>
              <a:gd name="T7" fmla="*/ 0 h 4319"/>
              <a:gd name="T8" fmla="*/ 0 w 5757"/>
              <a:gd name="T9" fmla="*/ 0 h 4319"/>
              <a:gd name="connsiteX0" fmla="*/ 0 w 10000"/>
              <a:gd name="connsiteY0" fmla="*/ 0 h 10000"/>
              <a:gd name="connsiteX1" fmla="*/ 2 w 10000"/>
              <a:gd name="connsiteY1" fmla="*/ 6878 h 10000"/>
              <a:gd name="connsiteX2" fmla="*/ 10000 w 10000"/>
              <a:gd name="connsiteY2" fmla="*/ 10000 h 10000"/>
              <a:gd name="connsiteX3" fmla="*/ 10000 w 10000"/>
              <a:gd name="connsiteY3" fmla="*/ 0 h 10000"/>
              <a:gd name="connsiteX4" fmla="*/ 0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0"/>
                </a:moveTo>
                <a:cubicBezTo>
                  <a:pt x="1" y="2293"/>
                  <a:pt x="1" y="4585"/>
                  <a:pt x="2" y="6878"/>
                </a:cubicBezTo>
                <a:lnTo>
                  <a:pt x="10000" y="10000"/>
                </a:lnTo>
                <a:lnTo>
                  <a:pt x="1000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sz="1800" dirty="0"/>
          </a:p>
        </p:txBody>
      </p:sp>
      <p:sp>
        <p:nvSpPr>
          <p:cNvPr id="15" name="Shape 2"/>
          <p:cNvSpPr>
            <a:spLocks/>
          </p:cNvSpPr>
          <p:nvPr userDrawn="1"/>
        </p:nvSpPr>
        <p:spPr bwMode="auto">
          <a:xfrm>
            <a:off x="0" y="2565400"/>
            <a:ext cx="12192000" cy="4291014"/>
          </a:xfrm>
          <a:custGeom>
            <a:avLst/>
            <a:gdLst>
              <a:gd name="T0" fmla="*/ 5760 w 5760"/>
              <a:gd name="T1" fmla="*/ 0 h 2034"/>
              <a:gd name="T2" fmla="*/ 0 w 5760"/>
              <a:gd name="T3" fmla="*/ 1017 h 2034"/>
              <a:gd name="T4" fmla="*/ 5760 w 5760"/>
              <a:gd name="T5" fmla="*/ 2034 h 2034"/>
              <a:gd name="T6" fmla="*/ 5760 w 5760"/>
              <a:gd name="T7" fmla="*/ 0 h 20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760" h="2034">
                <a:moveTo>
                  <a:pt x="5760" y="0"/>
                </a:moveTo>
                <a:lnTo>
                  <a:pt x="0" y="1017"/>
                </a:lnTo>
                <a:lnTo>
                  <a:pt x="5760" y="2034"/>
                </a:lnTo>
                <a:lnTo>
                  <a:pt x="5760" y="0"/>
                </a:lnTo>
                <a:close/>
              </a:path>
            </a:pathLst>
          </a:custGeom>
          <a:solidFill>
            <a:srgbClr val="ECAD28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sz="18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002" y="1954278"/>
            <a:ext cx="8781561" cy="1224136"/>
          </a:xfrm>
        </p:spPr>
        <p:txBody>
          <a:bodyPr/>
          <a:lstStyle>
            <a:lvl1pPr>
              <a:lnSpc>
                <a:spcPct val="87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pic>
        <p:nvPicPr>
          <p:cNvPr id="11" name="Logo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1055" y="346665"/>
            <a:ext cx="1403387" cy="256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424529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hap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 w="3175">
            <a:noFill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4000"/>
              </a:lnSpc>
            </a:pPr>
            <a:endParaRPr lang="da-DK" sz="1800" dirty="0" err="1"/>
          </a:p>
        </p:txBody>
      </p:sp>
      <p:sp>
        <p:nvSpPr>
          <p:cNvPr id="10" name="Shape 1"/>
          <p:cNvSpPr>
            <a:spLocks/>
          </p:cNvSpPr>
          <p:nvPr userDrawn="1"/>
        </p:nvSpPr>
        <p:spPr bwMode="auto">
          <a:xfrm>
            <a:off x="0" y="1"/>
            <a:ext cx="12192000" cy="6856413"/>
          </a:xfrm>
          <a:custGeom>
            <a:avLst/>
            <a:gdLst>
              <a:gd name="T0" fmla="*/ 0 w 5757"/>
              <a:gd name="T1" fmla="*/ 0 h 4319"/>
              <a:gd name="T2" fmla="*/ 0 w 5757"/>
              <a:gd name="T3" fmla="*/ 3304 h 4319"/>
              <a:gd name="T4" fmla="*/ 5757 w 5757"/>
              <a:gd name="T5" fmla="*/ 4319 h 4319"/>
              <a:gd name="T6" fmla="*/ 5757 w 5757"/>
              <a:gd name="T7" fmla="*/ 0 h 4319"/>
              <a:gd name="T8" fmla="*/ 0 w 5757"/>
              <a:gd name="T9" fmla="*/ 0 h 4319"/>
              <a:gd name="connsiteX0" fmla="*/ 0 w 10000"/>
              <a:gd name="connsiteY0" fmla="*/ 0 h 10000"/>
              <a:gd name="connsiteX1" fmla="*/ 2 w 10000"/>
              <a:gd name="connsiteY1" fmla="*/ 6878 h 10000"/>
              <a:gd name="connsiteX2" fmla="*/ 10000 w 10000"/>
              <a:gd name="connsiteY2" fmla="*/ 10000 h 10000"/>
              <a:gd name="connsiteX3" fmla="*/ 10000 w 10000"/>
              <a:gd name="connsiteY3" fmla="*/ 0 h 10000"/>
              <a:gd name="connsiteX4" fmla="*/ 0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0"/>
                </a:moveTo>
                <a:cubicBezTo>
                  <a:pt x="1" y="2293"/>
                  <a:pt x="1" y="4585"/>
                  <a:pt x="2" y="6878"/>
                </a:cubicBezTo>
                <a:lnTo>
                  <a:pt x="10000" y="10000"/>
                </a:lnTo>
                <a:lnTo>
                  <a:pt x="1000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sz="1800" dirty="0"/>
          </a:p>
        </p:txBody>
      </p:sp>
      <p:sp>
        <p:nvSpPr>
          <p:cNvPr id="15" name="Shape 2"/>
          <p:cNvSpPr>
            <a:spLocks/>
          </p:cNvSpPr>
          <p:nvPr userDrawn="1"/>
        </p:nvSpPr>
        <p:spPr bwMode="auto">
          <a:xfrm>
            <a:off x="0" y="2565400"/>
            <a:ext cx="12192000" cy="4291014"/>
          </a:xfrm>
          <a:custGeom>
            <a:avLst/>
            <a:gdLst>
              <a:gd name="T0" fmla="*/ 5760 w 5760"/>
              <a:gd name="T1" fmla="*/ 0 h 2034"/>
              <a:gd name="T2" fmla="*/ 0 w 5760"/>
              <a:gd name="T3" fmla="*/ 1017 h 2034"/>
              <a:gd name="T4" fmla="*/ 5760 w 5760"/>
              <a:gd name="T5" fmla="*/ 2034 h 2034"/>
              <a:gd name="T6" fmla="*/ 5760 w 5760"/>
              <a:gd name="T7" fmla="*/ 0 h 20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760" h="2034">
                <a:moveTo>
                  <a:pt x="5760" y="0"/>
                </a:moveTo>
                <a:lnTo>
                  <a:pt x="0" y="1017"/>
                </a:lnTo>
                <a:lnTo>
                  <a:pt x="5760" y="2034"/>
                </a:lnTo>
                <a:lnTo>
                  <a:pt x="5760" y="0"/>
                </a:lnTo>
                <a:close/>
              </a:path>
            </a:pathLst>
          </a:custGeom>
          <a:solidFill>
            <a:srgbClr val="EB443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sz="18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2002" y="1954278"/>
            <a:ext cx="8781561" cy="1224136"/>
          </a:xfrm>
        </p:spPr>
        <p:txBody>
          <a:bodyPr/>
          <a:lstStyle>
            <a:lvl1pPr>
              <a:lnSpc>
                <a:spcPct val="87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, og tilføj overskrift i maksimum to linjer</a:t>
            </a:r>
            <a:endParaRPr lang="da-DK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pic>
        <p:nvPicPr>
          <p:cNvPr id="11" name="Logo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1055" y="346665"/>
            <a:ext cx="1403387" cy="256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564220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bille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-4800" y="-3600"/>
            <a:ext cx="12201600" cy="6865200"/>
          </a:xfrm>
          <a:custGeom>
            <a:avLst/>
            <a:gdLst>
              <a:gd name="connsiteX0" fmla="*/ 4086489 w 12201600"/>
              <a:gd name="connsiteY0" fmla="*/ 5433814 h 6865200"/>
              <a:gd name="connsiteX1" fmla="*/ 4086489 w 12201600"/>
              <a:gd name="connsiteY1" fmla="*/ 5435409 h 6865200"/>
              <a:gd name="connsiteX2" fmla="*/ 12200835 w 12201600"/>
              <a:gd name="connsiteY2" fmla="*/ 6865200 h 6865200"/>
              <a:gd name="connsiteX3" fmla="*/ 0 w 12201600"/>
              <a:gd name="connsiteY3" fmla="*/ 6865200 h 6865200"/>
              <a:gd name="connsiteX4" fmla="*/ 0 w 12201600"/>
              <a:gd name="connsiteY4" fmla="*/ 6155240 h 6865200"/>
              <a:gd name="connsiteX5" fmla="*/ 12201600 w 12201600"/>
              <a:gd name="connsiteY5" fmla="*/ 4002949 h 6865200"/>
              <a:gd name="connsiteX6" fmla="*/ 12201600 w 12201600"/>
              <a:gd name="connsiteY6" fmla="*/ 6840570 h 6865200"/>
              <a:gd name="connsiteX7" fmla="*/ 4156644 w 12201600"/>
              <a:gd name="connsiteY7" fmla="*/ 5421059 h 6865200"/>
              <a:gd name="connsiteX8" fmla="*/ 4100838 w 12201600"/>
              <a:gd name="connsiteY8" fmla="*/ 0 h 6865200"/>
              <a:gd name="connsiteX9" fmla="*/ 12201600 w 12201600"/>
              <a:gd name="connsiteY9" fmla="*/ 0 h 6865200"/>
              <a:gd name="connsiteX10" fmla="*/ 12201600 w 12201600"/>
              <a:gd name="connsiteY10" fmla="*/ 3978465 h 6865200"/>
              <a:gd name="connsiteX11" fmla="*/ 4100838 w 12201600"/>
              <a:gd name="connsiteY11" fmla="*/ 5405114 h 6865200"/>
              <a:gd name="connsiteX12" fmla="*/ 0 w 12201600"/>
              <a:gd name="connsiteY12" fmla="*/ 0 h 6865200"/>
              <a:gd name="connsiteX13" fmla="*/ 4075328 w 12201600"/>
              <a:gd name="connsiteY13" fmla="*/ 0 h 6865200"/>
              <a:gd name="connsiteX14" fmla="*/ 4075328 w 12201600"/>
              <a:gd name="connsiteY14" fmla="*/ 5409898 h 6865200"/>
              <a:gd name="connsiteX15" fmla="*/ 0 w 12201600"/>
              <a:gd name="connsiteY15" fmla="*/ 6128886 h 68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201600" h="6865200">
                <a:moveTo>
                  <a:pt x="4086489" y="5433814"/>
                </a:moveTo>
                <a:lnTo>
                  <a:pt x="4086489" y="5435409"/>
                </a:lnTo>
                <a:lnTo>
                  <a:pt x="12200835" y="6865200"/>
                </a:lnTo>
                <a:lnTo>
                  <a:pt x="0" y="6865200"/>
                </a:lnTo>
                <a:lnTo>
                  <a:pt x="0" y="6155240"/>
                </a:lnTo>
                <a:close/>
                <a:moveTo>
                  <a:pt x="12201600" y="4002949"/>
                </a:moveTo>
                <a:lnTo>
                  <a:pt x="12201600" y="6840570"/>
                </a:lnTo>
                <a:lnTo>
                  <a:pt x="4156644" y="5421059"/>
                </a:lnTo>
                <a:close/>
                <a:moveTo>
                  <a:pt x="4100838" y="0"/>
                </a:moveTo>
                <a:lnTo>
                  <a:pt x="12201600" y="0"/>
                </a:lnTo>
                <a:lnTo>
                  <a:pt x="12201600" y="3978465"/>
                </a:lnTo>
                <a:lnTo>
                  <a:pt x="4100838" y="5405114"/>
                </a:lnTo>
                <a:close/>
                <a:moveTo>
                  <a:pt x="0" y="0"/>
                </a:moveTo>
                <a:lnTo>
                  <a:pt x="4075328" y="0"/>
                </a:lnTo>
                <a:lnTo>
                  <a:pt x="4075328" y="5409898"/>
                </a:lnTo>
                <a:lnTo>
                  <a:pt x="0" y="6128886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1044000" anchor="ctr" anchorCtr="0">
            <a:noAutofit/>
          </a:bodyPr>
          <a:lstStyle>
            <a:lvl1pPr algn="ctr">
              <a:defRPr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9" name="Text Placeholder 3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684000" y="345600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2796668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billed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3" hasCustomPrompt="1"/>
          </p:nvPr>
        </p:nvSpPr>
        <p:spPr>
          <a:xfrm>
            <a:off x="-4800" y="-3600"/>
            <a:ext cx="12201600" cy="6865200"/>
          </a:xfrm>
          <a:custGeom>
            <a:avLst/>
            <a:gdLst>
              <a:gd name="connsiteX0" fmla="*/ 12201600 w 12201600"/>
              <a:gd name="connsiteY0" fmla="*/ 4720711 h 6865200"/>
              <a:gd name="connsiteX1" fmla="*/ 12201600 w 12201600"/>
              <a:gd name="connsiteY1" fmla="*/ 6842373 h 6865200"/>
              <a:gd name="connsiteX2" fmla="*/ 6188113 w 12201600"/>
              <a:gd name="connsiteY2" fmla="*/ 5782100 h 6865200"/>
              <a:gd name="connsiteX3" fmla="*/ 0 w 12201600"/>
              <a:gd name="connsiteY3" fmla="*/ 4715387 h 6865200"/>
              <a:gd name="connsiteX4" fmla="*/ 12182275 w 12201600"/>
              <a:gd name="connsiteY4" fmla="*/ 6865200 h 6865200"/>
              <a:gd name="connsiteX5" fmla="*/ 0 w 12201600"/>
              <a:gd name="connsiteY5" fmla="*/ 6865200 h 6865200"/>
              <a:gd name="connsiteX6" fmla="*/ 6127788 w 12201600"/>
              <a:gd name="connsiteY6" fmla="*/ 0 h 6865200"/>
              <a:gd name="connsiteX7" fmla="*/ 12201600 w 12201600"/>
              <a:gd name="connsiteY7" fmla="*/ 0 h 6865200"/>
              <a:gd name="connsiteX8" fmla="*/ 12201600 w 12201600"/>
              <a:gd name="connsiteY8" fmla="*/ 4694747 h 6865200"/>
              <a:gd name="connsiteX9" fmla="*/ 6127788 w 12201600"/>
              <a:gd name="connsiteY9" fmla="*/ 5766225 h 6865200"/>
              <a:gd name="connsiteX10" fmla="*/ 0 w 12201600"/>
              <a:gd name="connsiteY10" fmla="*/ 0 h 6865200"/>
              <a:gd name="connsiteX11" fmla="*/ 6102387 w 12201600"/>
              <a:gd name="connsiteY11" fmla="*/ 0 h 6865200"/>
              <a:gd name="connsiteX12" fmla="*/ 6102387 w 12201600"/>
              <a:gd name="connsiteY12" fmla="*/ 5766225 h 6865200"/>
              <a:gd name="connsiteX13" fmla="*/ 0 w 12201600"/>
              <a:gd name="connsiteY13" fmla="*/ 4690733 h 68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201600" h="6865200">
                <a:moveTo>
                  <a:pt x="12201600" y="4720711"/>
                </a:moveTo>
                <a:lnTo>
                  <a:pt x="12201600" y="6842373"/>
                </a:lnTo>
                <a:lnTo>
                  <a:pt x="6188113" y="5782100"/>
                </a:lnTo>
                <a:close/>
                <a:moveTo>
                  <a:pt x="0" y="4715387"/>
                </a:moveTo>
                <a:lnTo>
                  <a:pt x="12182275" y="6865200"/>
                </a:lnTo>
                <a:lnTo>
                  <a:pt x="0" y="6865200"/>
                </a:lnTo>
                <a:close/>
                <a:moveTo>
                  <a:pt x="6127788" y="0"/>
                </a:moveTo>
                <a:lnTo>
                  <a:pt x="12201600" y="0"/>
                </a:lnTo>
                <a:lnTo>
                  <a:pt x="12201600" y="4694747"/>
                </a:lnTo>
                <a:lnTo>
                  <a:pt x="6127788" y="5766225"/>
                </a:lnTo>
                <a:close/>
                <a:moveTo>
                  <a:pt x="0" y="0"/>
                </a:moveTo>
                <a:lnTo>
                  <a:pt x="6102387" y="0"/>
                </a:lnTo>
                <a:lnTo>
                  <a:pt x="6102387" y="5766225"/>
                </a:lnTo>
                <a:lnTo>
                  <a:pt x="0" y="469073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1044000" anchor="ctr" anchorCtr="0">
            <a:noAutofit/>
          </a:bodyPr>
          <a:lstStyle>
            <a:lvl1pPr algn="ctr">
              <a:defRPr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17" name="Text Placeholder 3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684000" y="345600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5555914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billed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-4800" y="-3600"/>
            <a:ext cx="12201600" cy="6865200"/>
          </a:xfrm>
          <a:custGeom>
            <a:avLst/>
            <a:gdLst>
              <a:gd name="connsiteX0" fmla="*/ 12201600 w 12201600"/>
              <a:gd name="connsiteY0" fmla="*/ 3998299 h 6865200"/>
              <a:gd name="connsiteX1" fmla="*/ 12201600 w 12201600"/>
              <a:gd name="connsiteY1" fmla="*/ 5411563 h 6865200"/>
              <a:gd name="connsiteX2" fmla="*/ 8197888 w 12201600"/>
              <a:gd name="connsiteY2" fmla="*/ 4704188 h 6865200"/>
              <a:gd name="connsiteX3" fmla="*/ 0 w 12201600"/>
              <a:gd name="connsiteY3" fmla="*/ 3283463 h 6865200"/>
              <a:gd name="connsiteX4" fmla="*/ 12201600 w 12201600"/>
              <a:gd name="connsiteY4" fmla="*/ 5437805 h 6865200"/>
              <a:gd name="connsiteX5" fmla="*/ 12201600 w 12201600"/>
              <a:gd name="connsiteY5" fmla="*/ 6865200 h 6865200"/>
              <a:gd name="connsiteX6" fmla="*/ 0 w 12201600"/>
              <a:gd name="connsiteY6" fmla="*/ 6865200 h 6865200"/>
              <a:gd name="connsiteX7" fmla="*/ 8137563 w 12201600"/>
              <a:gd name="connsiteY7" fmla="*/ 0 h 6865200"/>
              <a:gd name="connsiteX8" fmla="*/ 12201600 w 12201600"/>
              <a:gd name="connsiteY8" fmla="*/ 0 h 6865200"/>
              <a:gd name="connsiteX9" fmla="*/ 12201600 w 12201600"/>
              <a:gd name="connsiteY9" fmla="*/ 3972067 h 6865200"/>
              <a:gd name="connsiteX10" fmla="*/ 8137563 w 12201600"/>
              <a:gd name="connsiteY10" fmla="*/ 4689900 h 6865200"/>
              <a:gd name="connsiteX11" fmla="*/ 0 w 12201600"/>
              <a:gd name="connsiteY11" fmla="*/ 0 h 6865200"/>
              <a:gd name="connsiteX12" fmla="*/ 8112163 w 12201600"/>
              <a:gd name="connsiteY12" fmla="*/ 0 h 6865200"/>
              <a:gd name="connsiteX13" fmla="*/ 8112163 w 12201600"/>
              <a:gd name="connsiteY13" fmla="*/ 4689900 h 6865200"/>
              <a:gd name="connsiteX14" fmla="*/ 0 w 12201600"/>
              <a:gd name="connsiteY14" fmla="*/ 3257222 h 68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201600" h="6865200">
                <a:moveTo>
                  <a:pt x="12201600" y="3998299"/>
                </a:moveTo>
                <a:lnTo>
                  <a:pt x="12201600" y="5411563"/>
                </a:lnTo>
                <a:lnTo>
                  <a:pt x="8197888" y="4704188"/>
                </a:lnTo>
                <a:close/>
                <a:moveTo>
                  <a:pt x="0" y="3283463"/>
                </a:moveTo>
                <a:lnTo>
                  <a:pt x="12201600" y="5437805"/>
                </a:lnTo>
                <a:lnTo>
                  <a:pt x="12201600" y="6865200"/>
                </a:lnTo>
                <a:lnTo>
                  <a:pt x="0" y="6865200"/>
                </a:lnTo>
                <a:close/>
                <a:moveTo>
                  <a:pt x="8137563" y="0"/>
                </a:moveTo>
                <a:lnTo>
                  <a:pt x="12201600" y="0"/>
                </a:lnTo>
                <a:lnTo>
                  <a:pt x="12201600" y="3972067"/>
                </a:lnTo>
                <a:lnTo>
                  <a:pt x="8137563" y="4689900"/>
                </a:lnTo>
                <a:close/>
                <a:moveTo>
                  <a:pt x="0" y="0"/>
                </a:moveTo>
                <a:lnTo>
                  <a:pt x="8112163" y="0"/>
                </a:lnTo>
                <a:lnTo>
                  <a:pt x="8112163" y="4689900"/>
                </a:lnTo>
                <a:lnTo>
                  <a:pt x="0" y="3257222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1044000" anchor="ctr" anchorCtr="0">
            <a:noAutofit/>
          </a:bodyPr>
          <a:lstStyle>
            <a:lvl1pPr algn="ctr">
              <a:defRPr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12" name="Text Placeholder 3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684000" y="345600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6912992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billed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201600" cy="6865200"/>
          </a:xfrm>
          <a:custGeom>
            <a:avLst/>
            <a:gdLst>
              <a:gd name="connsiteX0" fmla="*/ 6118651 w 12201600"/>
              <a:gd name="connsiteY0" fmla="*/ 4604175 h 6865200"/>
              <a:gd name="connsiteX1" fmla="*/ 12201600 w 12201600"/>
              <a:gd name="connsiteY1" fmla="*/ 5677079 h 6865200"/>
              <a:gd name="connsiteX2" fmla="*/ 12201600 w 12201600"/>
              <a:gd name="connsiteY2" fmla="*/ 6865200 h 6865200"/>
              <a:gd name="connsiteX3" fmla="*/ 50412 w 12201600"/>
              <a:gd name="connsiteY3" fmla="*/ 6865200 h 6865200"/>
              <a:gd name="connsiteX4" fmla="*/ 12201600 w 12201600"/>
              <a:gd name="connsiteY4" fmla="*/ 3530712 h 6865200"/>
              <a:gd name="connsiteX5" fmla="*/ 12201600 w 12201600"/>
              <a:gd name="connsiteY5" fmla="*/ 5649250 h 6865200"/>
              <a:gd name="connsiteX6" fmla="*/ 6196438 w 12201600"/>
              <a:gd name="connsiteY6" fmla="*/ 4589888 h 6865200"/>
              <a:gd name="connsiteX7" fmla="*/ 6131351 w 12201600"/>
              <a:gd name="connsiteY7" fmla="*/ 0 h 6865200"/>
              <a:gd name="connsiteX8" fmla="*/ 12201600 w 12201600"/>
              <a:gd name="connsiteY8" fmla="*/ 0 h 6865200"/>
              <a:gd name="connsiteX9" fmla="*/ 12201600 w 12201600"/>
              <a:gd name="connsiteY9" fmla="*/ 3502885 h 6865200"/>
              <a:gd name="connsiteX10" fmla="*/ 6131351 w 12201600"/>
              <a:gd name="connsiteY10" fmla="*/ 4574013 h 6865200"/>
              <a:gd name="connsiteX11" fmla="*/ 0 w 12201600"/>
              <a:gd name="connsiteY11" fmla="*/ 0 h 6865200"/>
              <a:gd name="connsiteX12" fmla="*/ 6104363 w 12201600"/>
              <a:gd name="connsiteY12" fmla="*/ 0 h 6865200"/>
              <a:gd name="connsiteX13" fmla="*/ 6104363 w 12201600"/>
              <a:gd name="connsiteY13" fmla="*/ 4581950 h 6865200"/>
              <a:gd name="connsiteX14" fmla="*/ 0 w 12201600"/>
              <a:gd name="connsiteY14" fmla="*/ 6855037 h 686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201600" h="6865200">
                <a:moveTo>
                  <a:pt x="6118651" y="4604175"/>
                </a:moveTo>
                <a:lnTo>
                  <a:pt x="12201600" y="5677079"/>
                </a:lnTo>
                <a:lnTo>
                  <a:pt x="12201600" y="6865200"/>
                </a:lnTo>
                <a:lnTo>
                  <a:pt x="50412" y="6865200"/>
                </a:lnTo>
                <a:close/>
                <a:moveTo>
                  <a:pt x="12201600" y="3530712"/>
                </a:moveTo>
                <a:lnTo>
                  <a:pt x="12201600" y="5649250"/>
                </a:lnTo>
                <a:lnTo>
                  <a:pt x="6196438" y="4589888"/>
                </a:lnTo>
                <a:close/>
                <a:moveTo>
                  <a:pt x="6131351" y="0"/>
                </a:moveTo>
                <a:lnTo>
                  <a:pt x="12201600" y="0"/>
                </a:lnTo>
                <a:lnTo>
                  <a:pt x="12201600" y="3502885"/>
                </a:lnTo>
                <a:lnTo>
                  <a:pt x="6131351" y="4574013"/>
                </a:lnTo>
                <a:close/>
                <a:moveTo>
                  <a:pt x="0" y="0"/>
                </a:moveTo>
                <a:lnTo>
                  <a:pt x="6104363" y="0"/>
                </a:lnTo>
                <a:lnTo>
                  <a:pt x="6104363" y="4581950"/>
                </a:lnTo>
                <a:lnTo>
                  <a:pt x="0" y="685503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1044000" anchor="ctr" anchorCtr="0">
            <a:noAutofit/>
          </a:bodyPr>
          <a:lstStyle>
            <a:lvl1pPr algn="ctr">
              <a:defRPr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11" name="Text Placeholder 3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684000" y="345600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1258748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med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2" hasCustomPrompt="1"/>
          </p:nvPr>
        </p:nvSpPr>
        <p:spPr>
          <a:xfrm>
            <a:off x="-4800" y="-3600"/>
            <a:ext cx="12201600" cy="6865200"/>
          </a:xfrm>
          <a:solidFill>
            <a:schemeClr val="bg2"/>
          </a:solidFill>
        </p:spPr>
        <p:txBody>
          <a:bodyPr bIns="1044000" anchor="ctr" anchorCtr="0"/>
          <a:lstStyle>
            <a:lvl1pPr algn="ctr">
              <a:defRPr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8508268" y="3871519"/>
            <a:ext cx="3337657" cy="1933969"/>
          </a:xfrm>
          <a:solidFill>
            <a:schemeClr val="accent1">
              <a:alpha val="90000"/>
            </a:schemeClr>
          </a:solidFill>
        </p:spPr>
        <p:txBody>
          <a:bodyPr wrap="square" lIns="342000" tIns="342000" rIns="342000" bIns="342000" anchor="b" anchorCtr="0">
            <a:spAutoFit/>
          </a:bodyPr>
          <a:lstStyle>
            <a:lvl1pPr marL="0" indent="0">
              <a:lnSpc>
                <a:spcPct val="118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lnSpc>
                <a:spcPct val="118000"/>
              </a:lnSpc>
              <a:spcBef>
                <a:spcPts val="300"/>
              </a:spcBef>
              <a:defRPr sz="1200">
                <a:solidFill>
                  <a:schemeClr val="bg1"/>
                </a:solidFill>
              </a:defRPr>
            </a:lvl2pPr>
            <a:lvl3pPr marL="324000">
              <a:lnSpc>
                <a:spcPct val="118000"/>
              </a:lnSpc>
              <a:spcBef>
                <a:spcPts val="300"/>
              </a:spcBef>
              <a:defRPr sz="1200">
                <a:solidFill>
                  <a:schemeClr val="bg1"/>
                </a:solidFill>
              </a:defRPr>
            </a:lvl3pPr>
            <a:lvl4pPr marL="360000">
              <a:lnSpc>
                <a:spcPct val="118000"/>
              </a:lnSpc>
              <a:spcBef>
                <a:spcPts val="300"/>
              </a:spcBef>
              <a:defRPr sz="1200">
                <a:solidFill>
                  <a:schemeClr val="bg1"/>
                </a:solidFill>
              </a:defRPr>
            </a:lvl4pPr>
            <a:lvl5pPr marL="360000">
              <a:lnSpc>
                <a:spcPct val="118000"/>
              </a:lnSpc>
              <a:spcBef>
                <a:spcPts val="300"/>
              </a:spcBef>
              <a:defRPr sz="1200">
                <a:solidFill>
                  <a:schemeClr val="bg1"/>
                </a:solidFill>
              </a:defRPr>
            </a:lvl5pPr>
            <a:lvl6pPr marL="252000" indent="0">
              <a:lnSpc>
                <a:spcPct val="110000"/>
              </a:lnSpc>
              <a:spcBef>
                <a:spcPts val="300"/>
              </a:spcBef>
              <a:buNone/>
              <a:defRPr sz="1000">
                <a:solidFill>
                  <a:schemeClr val="bg1"/>
                </a:solidFill>
              </a:defRPr>
            </a:lvl6pPr>
            <a:lvl7pPr marL="360000">
              <a:lnSpc>
                <a:spcPct val="110000"/>
              </a:lnSpc>
              <a:spcBef>
                <a:spcPts val="300"/>
              </a:spcBef>
              <a:defRPr sz="1000">
                <a:solidFill>
                  <a:schemeClr val="bg1"/>
                </a:solidFill>
              </a:defRPr>
            </a:lvl7pPr>
            <a:lvl8pPr marL="360000">
              <a:lnSpc>
                <a:spcPct val="110000"/>
              </a:lnSpc>
              <a:spcBef>
                <a:spcPts val="300"/>
              </a:spcBef>
              <a:defRPr sz="1000">
                <a:solidFill>
                  <a:schemeClr val="bg1"/>
                </a:solidFill>
              </a:defRPr>
            </a:lvl8pPr>
            <a:lvl9pPr marL="360000">
              <a:lnSpc>
                <a:spcPct val="110000"/>
              </a:lnSpc>
              <a:spcBef>
                <a:spcPts val="300"/>
              </a:spcBef>
              <a:defRPr sz="1000"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Edit Master </a:t>
            </a:r>
            <a:r>
              <a:rPr lang="da-DK" dirty="0" err="1"/>
              <a:t>text</a:t>
            </a:r>
            <a:r>
              <a:rPr lang="da-DK" dirty="0"/>
              <a:t> styles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7" name="Text Placeholder 3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684000" y="345600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9653404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med tekstbok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2" hasCustomPrompt="1"/>
          </p:nvPr>
        </p:nvSpPr>
        <p:spPr>
          <a:xfrm>
            <a:off x="-4800" y="-3600"/>
            <a:ext cx="12201600" cy="6865200"/>
          </a:xfrm>
          <a:solidFill>
            <a:schemeClr val="bg2"/>
          </a:solidFill>
        </p:spPr>
        <p:txBody>
          <a:bodyPr bIns="1044000" anchor="ctr" anchorCtr="0"/>
          <a:lstStyle>
            <a:lvl1pPr algn="ctr">
              <a:defRPr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8508268" y="3871519"/>
            <a:ext cx="3337657" cy="1933969"/>
          </a:xfrm>
          <a:solidFill>
            <a:schemeClr val="accent2">
              <a:alpha val="90000"/>
            </a:schemeClr>
          </a:solidFill>
        </p:spPr>
        <p:txBody>
          <a:bodyPr wrap="square" lIns="342000" tIns="342000" rIns="342000" bIns="342000" anchor="b" anchorCtr="0">
            <a:spAutoFit/>
          </a:bodyPr>
          <a:lstStyle>
            <a:lvl1pPr marL="0" indent="0">
              <a:lnSpc>
                <a:spcPct val="118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lnSpc>
                <a:spcPct val="118000"/>
              </a:lnSpc>
              <a:spcBef>
                <a:spcPts val="300"/>
              </a:spcBef>
              <a:defRPr sz="1200">
                <a:solidFill>
                  <a:schemeClr val="bg1"/>
                </a:solidFill>
              </a:defRPr>
            </a:lvl2pPr>
            <a:lvl3pPr marL="324000">
              <a:lnSpc>
                <a:spcPct val="118000"/>
              </a:lnSpc>
              <a:spcBef>
                <a:spcPts val="300"/>
              </a:spcBef>
              <a:defRPr sz="1200">
                <a:solidFill>
                  <a:schemeClr val="bg1"/>
                </a:solidFill>
              </a:defRPr>
            </a:lvl3pPr>
            <a:lvl4pPr marL="360000">
              <a:lnSpc>
                <a:spcPct val="118000"/>
              </a:lnSpc>
              <a:spcBef>
                <a:spcPts val="300"/>
              </a:spcBef>
              <a:defRPr sz="1200">
                <a:solidFill>
                  <a:schemeClr val="bg1"/>
                </a:solidFill>
              </a:defRPr>
            </a:lvl4pPr>
            <a:lvl5pPr marL="360000">
              <a:lnSpc>
                <a:spcPct val="118000"/>
              </a:lnSpc>
              <a:spcBef>
                <a:spcPts val="300"/>
              </a:spcBef>
              <a:defRPr sz="1200">
                <a:solidFill>
                  <a:schemeClr val="bg1"/>
                </a:solidFill>
              </a:defRPr>
            </a:lvl5pPr>
            <a:lvl6pPr marL="252000" indent="0">
              <a:lnSpc>
                <a:spcPct val="110000"/>
              </a:lnSpc>
              <a:spcBef>
                <a:spcPts val="300"/>
              </a:spcBef>
              <a:buNone/>
              <a:defRPr sz="1000">
                <a:solidFill>
                  <a:schemeClr val="bg1"/>
                </a:solidFill>
              </a:defRPr>
            </a:lvl6pPr>
            <a:lvl7pPr marL="360000">
              <a:lnSpc>
                <a:spcPct val="110000"/>
              </a:lnSpc>
              <a:spcBef>
                <a:spcPts val="300"/>
              </a:spcBef>
              <a:defRPr sz="1000">
                <a:solidFill>
                  <a:schemeClr val="bg1"/>
                </a:solidFill>
              </a:defRPr>
            </a:lvl7pPr>
            <a:lvl8pPr marL="360000">
              <a:lnSpc>
                <a:spcPct val="110000"/>
              </a:lnSpc>
              <a:spcBef>
                <a:spcPts val="300"/>
              </a:spcBef>
              <a:defRPr sz="1000">
                <a:solidFill>
                  <a:schemeClr val="bg1"/>
                </a:solidFill>
              </a:defRPr>
            </a:lvl8pPr>
            <a:lvl9pPr marL="360000">
              <a:lnSpc>
                <a:spcPct val="110000"/>
              </a:lnSpc>
              <a:spcBef>
                <a:spcPts val="300"/>
              </a:spcBef>
              <a:defRPr sz="1000"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Edit Master </a:t>
            </a:r>
            <a:r>
              <a:rPr lang="da-DK" dirty="0" err="1"/>
              <a:t>text</a:t>
            </a:r>
            <a:r>
              <a:rPr lang="da-DK" dirty="0"/>
              <a:t> styles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7" name="Text Placeholder 3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684000" y="345600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8513022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med tekstboks  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2" hasCustomPrompt="1"/>
          </p:nvPr>
        </p:nvSpPr>
        <p:spPr>
          <a:xfrm>
            <a:off x="-4800" y="-3600"/>
            <a:ext cx="12201600" cy="6865200"/>
          </a:xfrm>
          <a:solidFill>
            <a:schemeClr val="bg2"/>
          </a:solidFill>
        </p:spPr>
        <p:txBody>
          <a:bodyPr bIns="1044000" anchor="ctr" anchorCtr="0"/>
          <a:lstStyle>
            <a:lvl1pPr algn="ctr">
              <a:defRPr/>
            </a:lvl1pPr>
          </a:lstStyle>
          <a:p>
            <a:r>
              <a:rPr lang="da-DK" dirty="0"/>
              <a:t>Vælg billedpladsholderen og indsæt billede via </a:t>
            </a:r>
            <a:r>
              <a:rPr lang="da-DK" noProof="1"/>
              <a:t>Images / ImageTools</a:t>
            </a:r>
            <a:endParaRPr lang="da-DK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8508268" y="3871519"/>
            <a:ext cx="3337657" cy="1933969"/>
          </a:xfrm>
          <a:solidFill>
            <a:schemeClr val="accent3">
              <a:alpha val="90000"/>
            </a:schemeClr>
          </a:solidFill>
        </p:spPr>
        <p:txBody>
          <a:bodyPr wrap="square" lIns="342000" tIns="342000" rIns="342000" bIns="342000" anchor="b" anchorCtr="0">
            <a:spAutoFit/>
          </a:bodyPr>
          <a:lstStyle>
            <a:lvl1pPr marL="0" indent="0">
              <a:lnSpc>
                <a:spcPct val="118000"/>
              </a:lnSpc>
              <a:spcBef>
                <a:spcPts val="0"/>
              </a:spcBef>
              <a:defRPr sz="1200">
                <a:solidFill>
                  <a:schemeClr val="bg1"/>
                </a:solidFill>
              </a:defRPr>
            </a:lvl1pPr>
            <a:lvl2pPr>
              <a:lnSpc>
                <a:spcPct val="118000"/>
              </a:lnSpc>
              <a:spcBef>
                <a:spcPts val="300"/>
              </a:spcBef>
              <a:defRPr sz="1200">
                <a:solidFill>
                  <a:schemeClr val="bg1"/>
                </a:solidFill>
              </a:defRPr>
            </a:lvl2pPr>
            <a:lvl3pPr marL="324000">
              <a:lnSpc>
                <a:spcPct val="118000"/>
              </a:lnSpc>
              <a:spcBef>
                <a:spcPts val="300"/>
              </a:spcBef>
              <a:defRPr sz="1200">
                <a:solidFill>
                  <a:schemeClr val="bg1"/>
                </a:solidFill>
              </a:defRPr>
            </a:lvl3pPr>
            <a:lvl4pPr marL="360000">
              <a:lnSpc>
                <a:spcPct val="118000"/>
              </a:lnSpc>
              <a:spcBef>
                <a:spcPts val="300"/>
              </a:spcBef>
              <a:defRPr sz="1200">
                <a:solidFill>
                  <a:schemeClr val="bg1"/>
                </a:solidFill>
              </a:defRPr>
            </a:lvl4pPr>
            <a:lvl5pPr marL="360000">
              <a:lnSpc>
                <a:spcPct val="118000"/>
              </a:lnSpc>
              <a:spcBef>
                <a:spcPts val="300"/>
              </a:spcBef>
              <a:defRPr sz="1200">
                <a:solidFill>
                  <a:schemeClr val="bg1"/>
                </a:solidFill>
              </a:defRPr>
            </a:lvl5pPr>
            <a:lvl6pPr marL="252000" indent="0">
              <a:lnSpc>
                <a:spcPct val="110000"/>
              </a:lnSpc>
              <a:spcBef>
                <a:spcPts val="300"/>
              </a:spcBef>
              <a:buNone/>
              <a:defRPr sz="1000">
                <a:solidFill>
                  <a:schemeClr val="bg1"/>
                </a:solidFill>
              </a:defRPr>
            </a:lvl6pPr>
            <a:lvl7pPr marL="360000">
              <a:lnSpc>
                <a:spcPct val="110000"/>
              </a:lnSpc>
              <a:spcBef>
                <a:spcPts val="300"/>
              </a:spcBef>
              <a:defRPr sz="1000">
                <a:solidFill>
                  <a:schemeClr val="bg1"/>
                </a:solidFill>
              </a:defRPr>
            </a:lvl7pPr>
            <a:lvl8pPr marL="360000">
              <a:lnSpc>
                <a:spcPct val="110000"/>
              </a:lnSpc>
              <a:spcBef>
                <a:spcPts val="300"/>
              </a:spcBef>
              <a:defRPr sz="1000">
                <a:solidFill>
                  <a:schemeClr val="bg1"/>
                </a:solidFill>
              </a:defRPr>
            </a:lvl8pPr>
            <a:lvl9pPr marL="360000">
              <a:lnSpc>
                <a:spcPct val="110000"/>
              </a:lnSpc>
              <a:spcBef>
                <a:spcPts val="300"/>
              </a:spcBef>
              <a:defRPr sz="1000">
                <a:solidFill>
                  <a:schemeClr val="bg1"/>
                </a:solidFill>
              </a:defRPr>
            </a:lvl9pPr>
          </a:lstStyle>
          <a:p>
            <a:pPr lvl="0"/>
            <a:r>
              <a:rPr lang="da-DK" dirty="0"/>
              <a:t>Edit Master </a:t>
            </a:r>
            <a:r>
              <a:rPr lang="da-DK" dirty="0" err="1"/>
              <a:t>text</a:t>
            </a:r>
            <a:r>
              <a:rPr lang="da-DK" dirty="0"/>
              <a:t> styles</a:t>
            </a:r>
            <a:endParaRPr lang="da-DK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7" name="Text Placeholder 3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684000" y="345600"/>
            <a:ext cx="1404000" cy="256779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>
                <a:noFill/>
              </a:defRPr>
            </a:lvl1pPr>
          </a:lstStyle>
          <a:p>
            <a:pPr lvl="0"/>
            <a:r>
              <a:rPr lang="da-DK" dirty="0"/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816488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heme" Target="../theme/theme1.xml"/><Relationship Id="rId50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51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slideLayout" Target="../slideLayouts/slideLayout59.xml"/><Relationship Id="rId18" Type="http://schemas.openxmlformats.org/officeDocument/2006/relationships/vmlDrawing" Target="../drawings/vmlDrawing2.vml"/><Relationship Id="rId3" Type="http://schemas.openxmlformats.org/officeDocument/2006/relationships/slideLayout" Target="../slideLayouts/slideLayout49.xml"/><Relationship Id="rId21" Type="http://schemas.openxmlformats.org/officeDocument/2006/relationships/oleObject" Target="../embeddings/oleObject2.bin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48.xml"/><Relationship Id="rId16" Type="http://schemas.openxmlformats.org/officeDocument/2006/relationships/slideLayout" Target="../slideLayouts/slideLayout62.xml"/><Relationship Id="rId20" Type="http://schemas.openxmlformats.org/officeDocument/2006/relationships/tags" Target="../tags/tag5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5" Type="http://schemas.openxmlformats.org/officeDocument/2006/relationships/slideLayout" Target="../slideLayouts/slideLayout61.xml"/><Relationship Id="rId23" Type="http://schemas.openxmlformats.org/officeDocument/2006/relationships/image" Target="../media/image4.emf"/><Relationship Id="rId10" Type="http://schemas.openxmlformats.org/officeDocument/2006/relationships/slideLayout" Target="../slideLayouts/slideLayout56.xml"/><Relationship Id="rId19" Type="http://schemas.openxmlformats.org/officeDocument/2006/relationships/tags" Target="../tags/tag4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Relationship Id="rId22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5.xml"/><Relationship Id="rId18" Type="http://schemas.openxmlformats.org/officeDocument/2006/relationships/slideLayout" Target="../slideLayouts/slideLayout80.xml"/><Relationship Id="rId26" Type="http://schemas.openxmlformats.org/officeDocument/2006/relationships/slideLayout" Target="../slideLayouts/slideLayout88.xml"/><Relationship Id="rId39" Type="http://schemas.openxmlformats.org/officeDocument/2006/relationships/slideLayout" Target="../slideLayouts/slideLayout101.xml"/><Relationship Id="rId21" Type="http://schemas.openxmlformats.org/officeDocument/2006/relationships/slideLayout" Target="../slideLayouts/slideLayout83.xml"/><Relationship Id="rId34" Type="http://schemas.openxmlformats.org/officeDocument/2006/relationships/slideLayout" Target="../slideLayouts/slideLayout96.xml"/><Relationship Id="rId42" Type="http://schemas.openxmlformats.org/officeDocument/2006/relationships/slideLayout" Target="../slideLayouts/slideLayout104.xml"/><Relationship Id="rId47" Type="http://schemas.openxmlformats.org/officeDocument/2006/relationships/slideLayout" Target="../slideLayouts/slideLayout109.xml"/><Relationship Id="rId50" Type="http://schemas.openxmlformats.org/officeDocument/2006/relationships/tags" Target="../tags/tag6.xml"/><Relationship Id="rId7" Type="http://schemas.openxmlformats.org/officeDocument/2006/relationships/slideLayout" Target="../slideLayouts/slideLayout69.xml"/><Relationship Id="rId2" Type="http://schemas.openxmlformats.org/officeDocument/2006/relationships/slideLayout" Target="../slideLayouts/slideLayout64.xml"/><Relationship Id="rId16" Type="http://schemas.openxmlformats.org/officeDocument/2006/relationships/slideLayout" Target="../slideLayouts/slideLayout78.xml"/><Relationship Id="rId29" Type="http://schemas.openxmlformats.org/officeDocument/2006/relationships/slideLayout" Target="../slideLayouts/slideLayout91.xml"/><Relationship Id="rId11" Type="http://schemas.openxmlformats.org/officeDocument/2006/relationships/slideLayout" Target="../slideLayouts/slideLayout73.xml"/><Relationship Id="rId24" Type="http://schemas.openxmlformats.org/officeDocument/2006/relationships/slideLayout" Target="../slideLayouts/slideLayout86.xml"/><Relationship Id="rId32" Type="http://schemas.openxmlformats.org/officeDocument/2006/relationships/slideLayout" Target="../slideLayouts/slideLayout94.xml"/><Relationship Id="rId37" Type="http://schemas.openxmlformats.org/officeDocument/2006/relationships/slideLayout" Target="../slideLayouts/slideLayout99.xml"/><Relationship Id="rId40" Type="http://schemas.openxmlformats.org/officeDocument/2006/relationships/slideLayout" Target="../slideLayouts/slideLayout102.xml"/><Relationship Id="rId45" Type="http://schemas.openxmlformats.org/officeDocument/2006/relationships/slideLayout" Target="../slideLayouts/slideLayout107.xml"/><Relationship Id="rId53" Type="http://schemas.openxmlformats.org/officeDocument/2006/relationships/image" Target="../media/image1.emf"/><Relationship Id="rId5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72.xml"/><Relationship Id="rId19" Type="http://schemas.openxmlformats.org/officeDocument/2006/relationships/slideLayout" Target="../slideLayouts/slideLayout81.xml"/><Relationship Id="rId31" Type="http://schemas.openxmlformats.org/officeDocument/2006/relationships/slideLayout" Target="../slideLayouts/slideLayout93.xml"/><Relationship Id="rId44" Type="http://schemas.openxmlformats.org/officeDocument/2006/relationships/slideLayout" Target="../slideLayouts/slideLayout106.xml"/><Relationship Id="rId52" Type="http://schemas.openxmlformats.org/officeDocument/2006/relationships/oleObject" Target="../embeddings/oleObject3.bin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slideLayout" Target="../slideLayouts/slideLayout76.xml"/><Relationship Id="rId22" Type="http://schemas.openxmlformats.org/officeDocument/2006/relationships/slideLayout" Target="../slideLayouts/slideLayout84.xml"/><Relationship Id="rId27" Type="http://schemas.openxmlformats.org/officeDocument/2006/relationships/slideLayout" Target="../slideLayouts/slideLayout89.xml"/><Relationship Id="rId30" Type="http://schemas.openxmlformats.org/officeDocument/2006/relationships/slideLayout" Target="../slideLayouts/slideLayout92.xml"/><Relationship Id="rId35" Type="http://schemas.openxmlformats.org/officeDocument/2006/relationships/slideLayout" Target="../slideLayouts/slideLayout97.xml"/><Relationship Id="rId43" Type="http://schemas.openxmlformats.org/officeDocument/2006/relationships/slideLayout" Target="../slideLayouts/slideLayout105.xml"/><Relationship Id="rId48" Type="http://schemas.openxmlformats.org/officeDocument/2006/relationships/theme" Target="../theme/theme3.xml"/><Relationship Id="rId8" Type="http://schemas.openxmlformats.org/officeDocument/2006/relationships/slideLayout" Target="../slideLayouts/slideLayout70.xml"/><Relationship Id="rId51" Type="http://schemas.openxmlformats.org/officeDocument/2006/relationships/tags" Target="../tags/tag7.xml"/><Relationship Id="rId3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4.xml"/><Relationship Id="rId17" Type="http://schemas.openxmlformats.org/officeDocument/2006/relationships/slideLayout" Target="../slideLayouts/slideLayout79.xml"/><Relationship Id="rId25" Type="http://schemas.openxmlformats.org/officeDocument/2006/relationships/slideLayout" Target="../slideLayouts/slideLayout87.xml"/><Relationship Id="rId33" Type="http://schemas.openxmlformats.org/officeDocument/2006/relationships/slideLayout" Target="../slideLayouts/slideLayout95.xml"/><Relationship Id="rId38" Type="http://schemas.openxmlformats.org/officeDocument/2006/relationships/slideLayout" Target="../slideLayouts/slideLayout100.xml"/><Relationship Id="rId46" Type="http://schemas.openxmlformats.org/officeDocument/2006/relationships/slideLayout" Target="../slideLayouts/slideLayout108.xml"/><Relationship Id="rId20" Type="http://schemas.openxmlformats.org/officeDocument/2006/relationships/slideLayout" Target="../slideLayouts/slideLayout82.xml"/><Relationship Id="rId41" Type="http://schemas.openxmlformats.org/officeDocument/2006/relationships/slideLayout" Target="../slideLayouts/slideLayout103.xml"/><Relationship Id="rId54" Type="http://schemas.openxmlformats.org/officeDocument/2006/relationships/image" Target="../media/image2.emf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5" Type="http://schemas.openxmlformats.org/officeDocument/2006/relationships/slideLayout" Target="../slideLayouts/slideLayout77.xml"/><Relationship Id="rId23" Type="http://schemas.openxmlformats.org/officeDocument/2006/relationships/slideLayout" Target="../slideLayouts/slideLayout85.xml"/><Relationship Id="rId28" Type="http://schemas.openxmlformats.org/officeDocument/2006/relationships/slideLayout" Target="../slideLayouts/slideLayout90.xml"/><Relationship Id="rId36" Type="http://schemas.openxmlformats.org/officeDocument/2006/relationships/slideLayout" Target="../slideLayouts/slideLayout98.xml"/><Relationship Id="rId49" Type="http://schemas.openxmlformats.org/officeDocument/2006/relationships/vmlDrawing" Target="../drawings/vmlDrawing3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7.xml"/><Relationship Id="rId13" Type="http://schemas.openxmlformats.org/officeDocument/2006/relationships/slideLayout" Target="../slideLayouts/slideLayout122.xml"/><Relationship Id="rId18" Type="http://schemas.openxmlformats.org/officeDocument/2006/relationships/tags" Target="../tags/tag8.xml"/><Relationship Id="rId3" Type="http://schemas.openxmlformats.org/officeDocument/2006/relationships/slideLayout" Target="../slideLayouts/slideLayout112.xml"/><Relationship Id="rId21" Type="http://schemas.openxmlformats.org/officeDocument/2006/relationships/image" Target="../media/image16.emf"/><Relationship Id="rId7" Type="http://schemas.openxmlformats.org/officeDocument/2006/relationships/slideLayout" Target="../slideLayouts/slideLayout116.xml"/><Relationship Id="rId12" Type="http://schemas.openxmlformats.org/officeDocument/2006/relationships/slideLayout" Target="../slideLayouts/slideLayout121.xml"/><Relationship Id="rId17" Type="http://schemas.openxmlformats.org/officeDocument/2006/relationships/vmlDrawing" Target="../drawings/vmlDrawing4.vml"/><Relationship Id="rId2" Type="http://schemas.openxmlformats.org/officeDocument/2006/relationships/slideLayout" Target="../slideLayouts/slideLayout111.xml"/><Relationship Id="rId16" Type="http://schemas.openxmlformats.org/officeDocument/2006/relationships/theme" Target="../theme/theme4.xml"/><Relationship Id="rId20" Type="http://schemas.openxmlformats.org/officeDocument/2006/relationships/oleObject" Target="../embeddings/oleObject4.bin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1" Type="http://schemas.openxmlformats.org/officeDocument/2006/relationships/slideLayout" Target="../slideLayouts/slideLayout120.xml"/><Relationship Id="rId5" Type="http://schemas.openxmlformats.org/officeDocument/2006/relationships/slideLayout" Target="../slideLayouts/slideLayout114.xml"/><Relationship Id="rId15" Type="http://schemas.openxmlformats.org/officeDocument/2006/relationships/slideLayout" Target="../slideLayouts/slideLayout124.xml"/><Relationship Id="rId23" Type="http://schemas.openxmlformats.org/officeDocument/2006/relationships/image" Target="../media/image17.png"/><Relationship Id="rId10" Type="http://schemas.openxmlformats.org/officeDocument/2006/relationships/slideLayout" Target="../slideLayouts/slideLayout119.xml"/><Relationship Id="rId19" Type="http://schemas.openxmlformats.org/officeDocument/2006/relationships/tags" Target="../tags/tag9.xml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Relationship Id="rId14" Type="http://schemas.openxmlformats.org/officeDocument/2006/relationships/slideLayout" Target="../slideLayouts/slideLayout123.xml"/><Relationship Id="rId22" Type="http://schemas.openxmlformats.org/officeDocument/2006/relationships/image" Target="../media/image4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6022ACC-6B74-46BD-95BB-DF10DEA4AD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9"/>
            </p:custDataLst>
            <p:extLst>
              <p:ext uri="{D42A27DB-BD31-4B8C-83A1-F6EECF244321}">
                <p14:modId xmlns:p14="http://schemas.microsoft.com/office/powerpoint/2010/main" val="2292411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" name="think-cell Slide" r:id="rId51" imgW="592" imgH="591" progId="TCLayout.ActiveDocument.1">
                  <p:embed/>
                </p:oleObj>
              </mc:Choice>
              <mc:Fallback>
                <p:oleObj name="think-cell Slide" r:id="rId51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6022ACC-6B74-46BD-95BB-DF10DEA4AD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BD00232C-6401-44C3-AA49-C7085BAB741B}"/>
              </a:ext>
            </a:extLst>
          </p:cNvPr>
          <p:cNvSpPr/>
          <p:nvPr userDrawn="1">
            <p:custDataLst>
              <p:tags r:id="rId5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a-DK" sz="30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Grå bund"/>
          <p:cNvSpPr>
            <a:spLocks/>
          </p:cNvSpPr>
          <p:nvPr/>
        </p:nvSpPr>
        <p:spPr bwMode="auto">
          <a:xfrm>
            <a:off x="8112224" y="6129301"/>
            <a:ext cx="4079776" cy="727666"/>
          </a:xfrm>
          <a:custGeom>
            <a:avLst/>
            <a:gdLst>
              <a:gd name="T0" fmla="*/ 5758 w 5758"/>
              <a:gd name="T1" fmla="*/ 0 h 1021"/>
              <a:gd name="T2" fmla="*/ 5757 w 5758"/>
              <a:gd name="T3" fmla="*/ 0 h 1021"/>
              <a:gd name="T4" fmla="*/ 0 w 5758"/>
              <a:gd name="T5" fmla="*/ 1019 h 1021"/>
              <a:gd name="T6" fmla="*/ 5758 w 5758"/>
              <a:gd name="T7" fmla="*/ 1021 h 1021"/>
              <a:gd name="T8" fmla="*/ 5758 w 5758"/>
              <a:gd name="T9" fmla="*/ 0 h 10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58" h="1021">
                <a:moveTo>
                  <a:pt x="5758" y="0"/>
                </a:moveTo>
                <a:lnTo>
                  <a:pt x="5757" y="0"/>
                </a:lnTo>
                <a:lnTo>
                  <a:pt x="0" y="1019"/>
                </a:lnTo>
                <a:lnTo>
                  <a:pt x="5758" y="1021"/>
                </a:lnTo>
                <a:lnTo>
                  <a:pt x="5758" y="0"/>
                </a:lnTo>
                <a:close/>
              </a:path>
            </a:pathLst>
          </a:custGeom>
          <a:solidFill>
            <a:srgbClr val="F5F5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sz="1800"/>
          </a:p>
        </p:txBody>
      </p:sp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72003" y="1285404"/>
            <a:ext cx="8781560" cy="9554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dirty="0"/>
              <a:t>Klik for at redigere i master</a:t>
            </a:r>
            <a:endParaRPr lang="da-DK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84212" y="2562503"/>
            <a:ext cx="8769351" cy="32429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dirty="0"/>
              <a:t>Klik for at redigere i master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  <a:p>
            <a:pPr lvl="5"/>
            <a:r>
              <a:rPr lang="da-DK" dirty="0"/>
              <a:t>Sjette</a:t>
            </a:r>
            <a:endParaRPr lang="da-DK"/>
          </a:p>
          <a:p>
            <a:pPr lvl="6"/>
            <a:r>
              <a:rPr lang="da-DK" dirty="0"/>
              <a:t>Syvende</a:t>
            </a:r>
            <a:endParaRPr lang="da-DK"/>
          </a:p>
          <a:p>
            <a:pPr lvl="7"/>
            <a:r>
              <a:rPr lang="da-DK" dirty="0"/>
              <a:t>Ottende</a:t>
            </a:r>
            <a:endParaRPr lang="da-DK"/>
          </a:p>
          <a:p>
            <a:pPr lvl="8"/>
            <a:r>
              <a:rPr lang="da-DK" dirty="0"/>
              <a:t>Niende</a:t>
            </a:r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1509925" y="361496"/>
            <a:ext cx="336000" cy="17830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700" b="0">
                <a:solidFill>
                  <a:schemeClr val="accent5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Date_DateCustomA"/>
          <p:cNvSpPr>
            <a:spLocks noGrp="1"/>
          </p:cNvSpPr>
          <p:nvPr>
            <p:ph type="dt" sz="half" idx="2"/>
          </p:nvPr>
        </p:nvSpPr>
        <p:spPr>
          <a:xfrm>
            <a:off x="10480674" y="361496"/>
            <a:ext cx="1024001" cy="17830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00">
                <a:solidFill>
                  <a:schemeClr val="accent5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pic>
        <p:nvPicPr>
          <p:cNvPr id="10" name="Logo"/>
          <p:cNvPicPr>
            <a:picLocks noChangeAspect="1"/>
          </p:cNvPicPr>
          <p:nvPr/>
        </p:nvPicPr>
        <p:blipFill>
          <a:blip r:embed="rId5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749" y="346665"/>
            <a:ext cx="1404000" cy="256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2506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689" r:id="rId2"/>
    <p:sldLayoutId id="2147483720" r:id="rId3"/>
    <p:sldLayoutId id="2147483721" r:id="rId4"/>
    <p:sldLayoutId id="2147483675" r:id="rId5"/>
    <p:sldLayoutId id="2147483722" r:id="rId6"/>
    <p:sldLayoutId id="2147483723" r:id="rId7"/>
    <p:sldLayoutId id="2147483724" r:id="rId8"/>
    <p:sldLayoutId id="2147483676" r:id="rId9"/>
    <p:sldLayoutId id="2147483725" r:id="rId10"/>
    <p:sldLayoutId id="2147483726" r:id="rId11"/>
    <p:sldLayoutId id="2147483727" r:id="rId12"/>
    <p:sldLayoutId id="2147483673" r:id="rId13"/>
    <p:sldLayoutId id="2147483668" r:id="rId14"/>
    <p:sldLayoutId id="2147483667" r:id="rId15"/>
    <p:sldLayoutId id="2147483734" r:id="rId16"/>
    <p:sldLayoutId id="2147483735" r:id="rId17"/>
    <p:sldLayoutId id="2147483736" r:id="rId18"/>
    <p:sldLayoutId id="2147483684" r:id="rId19"/>
    <p:sldLayoutId id="2147483738" r:id="rId20"/>
    <p:sldLayoutId id="2147483739" r:id="rId21"/>
    <p:sldLayoutId id="2147483740" r:id="rId22"/>
    <p:sldLayoutId id="2147483752" r:id="rId23"/>
    <p:sldLayoutId id="2147483753" r:id="rId24"/>
    <p:sldLayoutId id="2147483754" r:id="rId25"/>
    <p:sldLayoutId id="2147483755" r:id="rId26"/>
    <p:sldLayoutId id="2147483677" r:id="rId27"/>
    <p:sldLayoutId id="2147483728" r:id="rId28"/>
    <p:sldLayoutId id="2147483729" r:id="rId29"/>
    <p:sldLayoutId id="2147483730" r:id="rId30"/>
    <p:sldLayoutId id="2147483678" r:id="rId31"/>
    <p:sldLayoutId id="2147483679" r:id="rId32"/>
    <p:sldLayoutId id="2147483680" r:id="rId33"/>
    <p:sldLayoutId id="2147483681" r:id="rId34"/>
    <p:sldLayoutId id="2147483682" r:id="rId35"/>
    <p:sldLayoutId id="2147483731" r:id="rId36"/>
    <p:sldLayoutId id="2147483732" r:id="rId37"/>
    <p:sldLayoutId id="2147483733" r:id="rId38"/>
    <p:sldLayoutId id="2147483748" r:id="rId39"/>
    <p:sldLayoutId id="2147483749" r:id="rId40"/>
    <p:sldLayoutId id="2147483750" r:id="rId41"/>
    <p:sldLayoutId id="2147483751" r:id="rId42"/>
    <p:sldLayoutId id="2147483666" r:id="rId43"/>
    <p:sldLayoutId id="2147483663" r:id="rId44"/>
    <p:sldLayoutId id="2147483756" r:id="rId45"/>
    <p:sldLayoutId id="2147483776" r:id="rId46"/>
  </p:sldLayoutIdLst>
  <p:hf hdr="0" ftr="0"/>
  <p:txStyles>
    <p:titleStyle>
      <a:lvl1pPr algn="l" defTabSz="914400" rtl="0" eaLnBrk="1" latinLnBrk="0" hangingPunct="1">
        <a:lnSpc>
          <a:spcPct val="91000"/>
        </a:lnSpc>
        <a:spcBef>
          <a:spcPct val="0"/>
        </a:spcBef>
        <a:buNone/>
        <a:defRPr sz="3000" b="1" kern="1200">
          <a:solidFill>
            <a:srgbClr val="002F67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​"/>
        <a:defRPr sz="1700" kern="1200">
          <a:solidFill>
            <a:schemeClr val="tx2"/>
          </a:solidFill>
          <a:latin typeface="+mn-lt"/>
          <a:ea typeface="+mn-ea"/>
          <a:cs typeface="+mn-cs"/>
        </a:defRPr>
      </a:lvl1pPr>
      <a:lvl2pPr marL="144000" indent="-144000" algn="l" defTabSz="914400" rtl="0" eaLnBrk="1" latinLnBrk="0" hangingPunct="1">
        <a:lnSpc>
          <a:spcPct val="100000"/>
        </a:lnSpc>
        <a:spcBef>
          <a:spcPts val="600"/>
        </a:spcBef>
        <a:buFont typeface="Verdana" panose="020B0604030504040204" pitchFamily="34" charset="0"/>
        <a:buChar char="·"/>
        <a:defRPr sz="1700" kern="1200">
          <a:solidFill>
            <a:schemeClr val="tx2"/>
          </a:solidFill>
          <a:latin typeface="+mn-lt"/>
          <a:ea typeface="+mn-ea"/>
          <a:cs typeface="+mn-cs"/>
        </a:defRPr>
      </a:lvl2pPr>
      <a:lvl3pPr marL="288000" indent="-144000" algn="l" defTabSz="914400" rtl="0" eaLnBrk="1" latinLnBrk="0" hangingPunct="1">
        <a:lnSpc>
          <a:spcPct val="100000"/>
        </a:lnSpc>
        <a:spcBef>
          <a:spcPts val="600"/>
        </a:spcBef>
        <a:buFont typeface="Verdana" panose="020B0604030504040204" pitchFamily="34" charset="0"/>
        <a:buChar char="·"/>
        <a:defRPr sz="1700" kern="1200">
          <a:solidFill>
            <a:schemeClr val="tx2"/>
          </a:solidFill>
          <a:latin typeface="+mn-lt"/>
          <a:ea typeface="+mn-ea"/>
          <a:cs typeface="+mn-cs"/>
        </a:defRPr>
      </a:lvl3pPr>
      <a:lvl4pPr marL="432000" indent="-144000" algn="l" defTabSz="914400" rtl="0" eaLnBrk="1" latinLnBrk="0" hangingPunct="1">
        <a:lnSpc>
          <a:spcPct val="100000"/>
        </a:lnSpc>
        <a:spcBef>
          <a:spcPts val="600"/>
        </a:spcBef>
        <a:buFont typeface="Verdana" panose="020B0604030504040204" pitchFamily="34" charset="0"/>
        <a:buChar char="·"/>
        <a:defRPr sz="1500" kern="1200">
          <a:solidFill>
            <a:schemeClr val="tx2"/>
          </a:solidFill>
          <a:latin typeface="+mn-lt"/>
          <a:ea typeface="+mn-ea"/>
          <a:cs typeface="+mn-cs"/>
        </a:defRPr>
      </a:lvl4pPr>
      <a:lvl5pPr marL="576000" indent="-144000" algn="l" defTabSz="914400" rtl="0" eaLnBrk="1" latinLnBrk="0" hangingPunct="1">
        <a:lnSpc>
          <a:spcPct val="100000"/>
        </a:lnSpc>
        <a:spcBef>
          <a:spcPts val="600"/>
        </a:spcBef>
        <a:buFont typeface="Verdana" panose="020B0604030504040204" pitchFamily="34" charset="0"/>
        <a:buChar char="·"/>
        <a:defRPr sz="1500" kern="1200">
          <a:solidFill>
            <a:schemeClr val="tx2"/>
          </a:solidFill>
          <a:latin typeface="+mn-lt"/>
          <a:ea typeface="+mn-ea"/>
          <a:cs typeface="+mn-cs"/>
        </a:defRPr>
      </a:lvl5pPr>
      <a:lvl6pPr marL="576000" indent="-144000" algn="l" defTabSz="914400" rtl="0" eaLnBrk="1" latinLnBrk="0" hangingPunct="1">
        <a:lnSpc>
          <a:spcPct val="100000"/>
        </a:lnSpc>
        <a:spcBef>
          <a:spcPts val="600"/>
        </a:spcBef>
        <a:buFont typeface="Verdana" panose="020B0604030504040204" pitchFamily="34" charset="0"/>
        <a:buChar char="·"/>
        <a:defRPr sz="1500" kern="1200">
          <a:solidFill>
            <a:schemeClr val="tx2"/>
          </a:solidFill>
          <a:latin typeface="+mn-lt"/>
          <a:ea typeface="+mn-ea"/>
          <a:cs typeface="+mn-cs"/>
        </a:defRPr>
      </a:lvl6pPr>
      <a:lvl7pPr marL="576000" indent="-144000" algn="l" defTabSz="914400" rtl="0" eaLnBrk="1" latinLnBrk="0" hangingPunct="1">
        <a:lnSpc>
          <a:spcPct val="100000"/>
        </a:lnSpc>
        <a:spcBef>
          <a:spcPts val="600"/>
        </a:spcBef>
        <a:buFont typeface="Verdana" panose="020B0604030504040204" pitchFamily="34" charset="0"/>
        <a:buChar char="·"/>
        <a:defRPr sz="1500" kern="1200">
          <a:solidFill>
            <a:schemeClr val="tx2"/>
          </a:solidFill>
          <a:latin typeface="+mn-lt"/>
          <a:ea typeface="+mn-ea"/>
          <a:cs typeface="+mn-cs"/>
        </a:defRPr>
      </a:lvl7pPr>
      <a:lvl8pPr marL="576000" indent="-144000" algn="l" defTabSz="914400" rtl="0" eaLnBrk="1" latinLnBrk="0" hangingPunct="1">
        <a:lnSpc>
          <a:spcPct val="100000"/>
        </a:lnSpc>
        <a:spcBef>
          <a:spcPts val="600"/>
        </a:spcBef>
        <a:buFont typeface="Verdana" panose="020B0604030504040204" pitchFamily="34" charset="0"/>
        <a:buChar char="·"/>
        <a:defRPr sz="1500" kern="1200">
          <a:solidFill>
            <a:schemeClr val="tx2"/>
          </a:solidFill>
          <a:latin typeface="+mn-lt"/>
          <a:ea typeface="+mn-ea"/>
          <a:cs typeface="+mn-cs"/>
        </a:defRPr>
      </a:lvl8pPr>
      <a:lvl9pPr marL="576000" indent="-144000" algn="l" defTabSz="914400" rtl="0" eaLnBrk="1" latinLnBrk="0" hangingPunct="1">
        <a:lnSpc>
          <a:spcPct val="100000"/>
        </a:lnSpc>
        <a:spcBef>
          <a:spcPts val="600"/>
        </a:spcBef>
        <a:buFont typeface="Verdana" panose="020B0604030504040204" pitchFamily="34" charset="0"/>
        <a:buChar char="·"/>
        <a:defRPr sz="15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lvl1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​"/>
        <a:defRPr sz="1100" kern="1200">
          <a:solidFill>
            <a:schemeClr val="tx2"/>
          </a:solidFill>
          <a:latin typeface="+mn-lt"/>
          <a:ea typeface="+mn-ea"/>
          <a:cs typeface="+mn-cs"/>
        </a:defRPr>
      </a:lvl1pPr>
      <a:lvl2pPr marL="108000" indent="-108000" algn="l" defTabSz="914400" rtl="0" eaLnBrk="1" latinLnBrk="0" hangingPunct="1">
        <a:lnSpc>
          <a:spcPct val="110000"/>
        </a:lnSpc>
        <a:spcBef>
          <a:spcPts val="0"/>
        </a:spcBef>
        <a:buFont typeface="Verdana" panose="020B0604030504040204" pitchFamily="34" charset="0"/>
        <a:buChar char="·"/>
        <a:defRPr sz="1100" kern="1200">
          <a:solidFill>
            <a:schemeClr val="tx2"/>
          </a:solidFill>
          <a:latin typeface="+mn-lt"/>
          <a:ea typeface="+mn-ea"/>
          <a:cs typeface="+mn-cs"/>
        </a:defRPr>
      </a:lvl2pPr>
      <a:lvl3pPr marL="216000" indent="-108000" algn="l" defTabSz="914400" rtl="0" eaLnBrk="1" latinLnBrk="0" hangingPunct="1">
        <a:lnSpc>
          <a:spcPct val="110000"/>
        </a:lnSpc>
        <a:spcBef>
          <a:spcPts val="0"/>
        </a:spcBef>
        <a:buFont typeface="Verdana" panose="020B0604030504040204" pitchFamily="34" charset="0"/>
        <a:buChar char="·"/>
        <a:defRPr sz="1100" kern="1200">
          <a:solidFill>
            <a:schemeClr val="tx2"/>
          </a:solidFill>
          <a:latin typeface="+mn-lt"/>
          <a:ea typeface="+mn-ea"/>
          <a:cs typeface="+mn-cs"/>
        </a:defRPr>
      </a:lvl3pPr>
      <a:lvl4pPr marL="324000" indent="-108000" algn="l" defTabSz="914400" rtl="0" eaLnBrk="1" latinLnBrk="0" hangingPunct="1">
        <a:lnSpc>
          <a:spcPct val="110000"/>
        </a:lnSpc>
        <a:spcBef>
          <a:spcPts val="0"/>
        </a:spcBef>
        <a:buFont typeface="Verdana" panose="020B0604030504040204" pitchFamily="34" charset="0"/>
        <a:buChar char="·"/>
        <a:defRPr sz="1100" kern="1200">
          <a:solidFill>
            <a:schemeClr val="tx2"/>
          </a:solidFill>
          <a:latin typeface="+mn-lt"/>
          <a:ea typeface="+mn-ea"/>
          <a:cs typeface="+mn-cs"/>
        </a:defRPr>
      </a:lvl4pPr>
      <a:lvl5pPr marL="432000" indent="-108000" algn="l" defTabSz="914400" rtl="0" eaLnBrk="1" latinLnBrk="0" hangingPunct="1">
        <a:lnSpc>
          <a:spcPct val="110000"/>
        </a:lnSpc>
        <a:spcBef>
          <a:spcPts val="0"/>
        </a:spcBef>
        <a:buFont typeface="Verdana" panose="020B0604030504040204" pitchFamily="34" charset="0"/>
        <a:buChar char="·"/>
        <a:defRPr sz="1100" kern="1200">
          <a:solidFill>
            <a:schemeClr val="tx2"/>
          </a:solidFill>
          <a:latin typeface="+mn-lt"/>
          <a:ea typeface="+mn-ea"/>
          <a:cs typeface="+mn-cs"/>
        </a:defRPr>
      </a:lvl5pPr>
      <a:lvl6pPr marL="432000" indent="-108000" algn="l" defTabSz="914400" rtl="0" eaLnBrk="1" latinLnBrk="0" hangingPunct="1">
        <a:lnSpc>
          <a:spcPct val="110000"/>
        </a:lnSpc>
        <a:spcBef>
          <a:spcPts val="0"/>
        </a:spcBef>
        <a:buFont typeface="Verdana" panose="020B0604030504040204" pitchFamily="34" charset="0"/>
        <a:buChar char="·"/>
        <a:defRPr sz="1100" kern="1200">
          <a:solidFill>
            <a:schemeClr val="tx2"/>
          </a:solidFill>
          <a:latin typeface="+mn-lt"/>
          <a:ea typeface="+mn-ea"/>
          <a:cs typeface="+mn-cs"/>
        </a:defRPr>
      </a:lvl6pPr>
      <a:lvl7pPr marL="432000" indent="-108000" algn="l" defTabSz="914400" rtl="0" eaLnBrk="1" latinLnBrk="0" hangingPunct="1">
        <a:lnSpc>
          <a:spcPct val="110000"/>
        </a:lnSpc>
        <a:spcBef>
          <a:spcPts val="0"/>
        </a:spcBef>
        <a:buFont typeface="Verdana" panose="020B0604030504040204" pitchFamily="34" charset="0"/>
        <a:buChar char="·"/>
        <a:defRPr sz="1100" kern="1200">
          <a:solidFill>
            <a:schemeClr val="tx2"/>
          </a:solidFill>
          <a:latin typeface="+mn-lt"/>
          <a:ea typeface="+mn-ea"/>
          <a:cs typeface="+mn-cs"/>
        </a:defRPr>
      </a:lvl7pPr>
      <a:lvl8pPr marL="432000" indent="-108000" algn="l" defTabSz="914400" rtl="0" eaLnBrk="1" latinLnBrk="0" hangingPunct="1">
        <a:lnSpc>
          <a:spcPct val="110000"/>
        </a:lnSpc>
        <a:spcBef>
          <a:spcPts val="0"/>
        </a:spcBef>
        <a:buFont typeface="Verdana" panose="020B0604030504040204" pitchFamily="34" charset="0"/>
        <a:buChar char="·"/>
        <a:defRPr sz="1100" kern="1200">
          <a:solidFill>
            <a:schemeClr val="tx2"/>
          </a:solidFill>
          <a:latin typeface="+mn-lt"/>
          <a:ea typeface="+mn-ea"/>
          <a:cs typeface="+mn-cs"/>
        </a:defRPr>
      </a:lvl8pPr>
      <a:lvl9pPr marL="432000" indent="-108000" algn="l" defTabSz="914400" rtl="0" eaLnBrk="1" latinLnBrk="0" hangingPunct="1">
        <a:lnSpc>
          <a:spcPct val="110000"/>
        </a:lnSpc>
        <a:spcBef>
          <a:spcPts val="0"/>
        </a:spcBef>
        <a:buFont typeface="Verdana" panose="020B0604030504040204" pitchFamily="34" charset="0"/>
        <a:buChar char="·"/>
        <a:defRPr sz="1100" kern="1200">
          <a:solidFill>
            <a:schemeClr val="tx2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213" userDrawn="1">
          <p15:clr>
            <a:srgbClr val="000000"/>
          </p15:clr>
        </p15:guide>
        <p15:guide id="4" pos="431" userDrawn="1">
          <p15:clr>
            <a:srgbClr val="000000"/>
          </p15:clr>
        </p15:guide>
        <p15:guide id="5" pos="7247" userDrawn="1">
          <p15:clr>
            <a:srgbClr val="000000"/>
          </p15:clr>
        </p15:guide>
        <p15:guide id="6" orient="horz" pos="845" userDrawn="1">
          <p15:clr>
            <a:srgbClr val="000000"/>
          </p15:clr>
        </p15:guide>
        <p15:guide id="7" orient="horz" pos="1616" userDrawn="1">
          <p15:clr>
            <a:srgbClr val="000000"/>
          </p15:clr>
        </p15:guide>
        <p15:guide id="8" orient="horz" pos="3657" userDrawn="1">
          <p15:clr>
            <a:srgbClr val="000000"/>
          </p15:clr>
        </p15:guide>
        <p15:guide id="9" pos="4054" userDrawn="1">
          <p15:clr>
            <a:srgbClr val="000000"/>
          </p15:clr>
        </p15:guide>
        <p15:guide id="10" pos="6602" userDrawn="1">
          <p15:clr>
            <a:srgbClr val="000000"/>
          </p15:clr>
        </p15:guide>
        <p15:guide id="11" pos="7462" userDrawn="1">
          <p15:clr>
            <a:srgbClr val="000000"/>
          </p15:clr>
        </p15:guide>
        <p15:guide id="12" pos="3624" userDrawn="1">
          <p15:clr>
            <a:srgbClr val="000000"/>
          </p15:clr>
        </p15:guide>
        <p15:guide id="13" orient="horz" pos="323" userDrawn="1">
          <p15:clr>
            <a:srgbClr val="000000"/>
          </p15:clr>
        </p15:guide>
        <p15:guide id="14" pos="5955" userDrawn="1">
          <p15:clr>
            <a:srgbClr val="00000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88A0ADC8-B65F-4ACC-87A9-44D9DEF082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40201315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3" name="think-cell Slide" r:id="rId21" imgW="592" imgH="591" progId="TCLayout.ActiveDocument.1">
                  <p:embed/>
                </p:oleObj>
              </mc:Choice>
              <mc:Fallback>
                <p:oleObj name="think-cell Slide" r:id="rId21" imgW="592" imgH="591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88A0ADC8-B65F-4ACC-87A9-44D9DEF082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02F2AD47-023E-4519-AE63-95143E5A58AA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14000"/>
              </a:lnSpc>
            </a:pPr>
            <a:endParaRPr lang="da-DK" sz="3000" b="1" i="0" baseline="0" noProof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5630" y="1324212"/>
            <a:ext cx="10828984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3999" y="2553539"/>
            <a:ext cx="10822201" cy="33027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 dirty="0"/>
              <a:t>Edit Master text styles</a:t>
            </a:r>
            <a:endParaRPr lang="da-DK"/>
          </a:p>
          <a:p>
            <a:pPr lvl="1"/>
            <a:r>
              <a:rPr lang="da-DK" noProof="0" dirty="0"/>
              <a:t>Second level</a:t>
            </a:r>
            <a:endParaRPr lang="da-DK"/>
          </a:p>
          <a:p>
            <a:pPr lvl="2"/>
            <a:r>
              <a:rPr lang="da-DK" noProof="0" dirty="0"/>
              <a:t>Third level</a:t>
            </a:r>
            <a:endParaRPr lang="da-DK"/>
          </a:p>
          <a:p>
            <a:pPr lvl="3"/>
            <a:r>
              <a:rPr lang="da-DK" noProof="0" dirty="0"/>
              <a:t>Fourth level</a:t>
            </a:r>
            <a:endParaRPr lang="da-DK"/>
          </a:p>
          <a:p>
            <a:pPr lvl="4"/>
            <a:r>
              <a:rPr lang="da-DK" noProof="0" dirty="0"/>
              <a:t>Fifth level</a:t>
            </a:r>
            <a:endParaRPr lang="da-DK"/>
          </a:p>
          <a:p>
            <a:pPr lvl="5"/>
            <a:r>
              <a:rPr lang="da-DK" noProof="0" dirty="0"/>
              <a:t>6</a:t>
            </a:r>
            <a:endParaRPr lang="da-DK"/>
          </a:p>
          <a:p>
            <a:pPr lvl="6"/>
            <a:r>
              <a:rPr lang="da-DK" noProof="0" dirty="0"/>
              <a:t>7</a:t>
            </a:r>
            <a:endParaRPr lang="da-DK"/>
          </a:p>
          <a:p>
            <a:pPr lvl="7"/>
            <a:r>
              <a:rPr lang="da-DK" noProof="0" dirty="0"/>
              <a:t>8</a:t>
            </a:r>
            <a:endParaRPr lang="da-DK"/>
          </a:p>
          <a:p>
            <a:pPr lvl="8"/>
            <a:r>
              <a:rPr lang="da-DK" noProof="0" dirty="0"/>
              <a:t>9</a:t>
            </a:r>
            <a:endParaRPr lang="da-DK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2"/>
          </p:nvPr>
        </p:nvSpPr>
        <p:spPr>
          <a:xfrm>
            <a:off x="10479088" y="403550"/>
            <a:ext cx="1025525" cy="14651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6437313" y="403550"/>
            <a:ext cx="4041774" cy="14651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04613" y="403550"/>
            <a:ext cx="342899" cy="14651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Grøn top"/>
          <p:cNvSpPr/>
          <p:nvPr userDrawn="1"/>
        </p:nvSpPr>
        <p:spPr>
          <a:xfrm>
            <a:off x="0" y="0"/>
            <a:ext cx="12189600" cy="43561"/>
          </a:xfrm>
          <a:prstGeom prst="rect">
            <a:avLst/>
          </a:prstGeom>
          <a:solidFill>
            <a:srgbClr val="009E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25603296-FDB8-48FA-814C-42AD75A67DB8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4000" y="403550"/>
            <a:ext cx="3090740" cy="1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7073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71" r:id="rId11"/>
    <p:sldLayoutId id="2147483772" r:id="rId12"/>
    <p:sldLayoutId id="2147483773" r:id="rId13"/>
    <p:sldLayoutId id="2147483774" r:id="rId14"/>
    <p:sldLayoutId id="2147483775" r:id="rId15"/>
    <p:sldLayoutId id="2147483843" r:id="rId16"/>
  </p:sldLayoutIdLst>
  <p:hf hdr="0" ftr="0"/>
  <p:txStyles>
    <p:titleStyle>
      <a:lvl1pPr algn="l" defTabSz="914400" rtl="0" eaLnBrk="1" latinLnBrk="0" hangingPunct="1">
        <a:lnSpc>
          <a:spcPct val="91000"/>
        </a:lnSpc>
        <a:spcBef>
          <a:spcPct val="0"/>
        </a:spcBef>
        <a:buNone/>
        <a:defRPr sz="30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5000"/>
        </a:lnSpc>
        <a:spcBef>
          <a:spcPts val="0"/>
        </a:spcBef>
        <a:buFont typeface="Arial" panose="020B0604020202020204" pitchFamily="34" charset="0"/>
        <a:buChar char="​"/>
        <a:defRPr sz="1700" kern="1200">
          <a:solidFill>
            <a:schemeClr val="tx2"/>
          </a:solidFill>
          <a:latin typeface="+mn-lt"/>
          <a:ea typeface="+mn-ea"/>
          <a:cs typeface="+mn-cs"/>
        </a:defRPr>
      </a:lvl1pPr>
      <a:lvl2pPr marL="144000" indent="-144000" algn="l" defTabSz="914400" rtl="0" eaLnBrk="1" latinLnBrk="0" hangingPunct="1">
        <a:lnSpc>
          <a:spcPct val="115000"/>
        </a:lnSpc>
        <a:spcBef>
          <a:spcPts val="0"/>
        </a:spcBef>
        <a:buFont typeface="Verdana" panose="020B0604030504040204" pitchFamily="34" charset="0"/>
        <a:buChar char="·"/>
        <a:defRPr sz="1700" kern="1200">
          <a:solidFill>
            <a:schemeClr val="tx2"/>
          </a:solidFill>
          <a:latin typeface="+mn-lt"/>
          <a:ea typeface="+mn-ea"/>
          <a:cs typeface="+mn-cs"/>
        </a:defRPr>
      </a:lvl2pPr>
      <a:lvl3pPr marL="288000" indent="-144000" algn="l" defTabSz="914400" rtl="0" eaLnBrk="1" latinLnBrk="0" hangingPunct="1">
        <a:lnSpc>
          <a:spcPct val="115000"/>
        </a:lnSpc>
        <a:spcBef>
          <a:spcPts val="0"/>
        </a:spcBef>
        <a:buFont typeface="Verdana" panose="020B0604030504040204" pitchFamily="34" charset="0"/>
        <a:buChar char="·"/>
        <a:defRPr sz="1700" kern="1200">
          <a:solidFill>
            <a:schemeClr val="tx2"/>
          </a:solidFill>
          <a:latin typeface="+mn-lt"/>
          <a:ea typeface="+mn-ea"/>
          <a:cs typeface="+mn-cs"/>
        </a:defRPr>
      </a:lvl3pPr>
      <a:lvl4pPr marL="432000" indent="-144000" algn="l" defTabSz="914400" rtl="0" eaLnBrk="1" latinLnBrk="0" hangingPunct="1">
        <a:lnSpc>
          <a:spcPct val="115000"/>
        </a:lnSpc>
        <a:spcBef>
          <a:spcPts val="0"/>
        </a:spcBef>
        <a:buFont typeface="Verdana" panose="020B0604030504040204" pitchFamily="34" charset="0"/>
        <a:buChar char="·"/>
        <a:defRPr sz="1700" kern="1200">
          <a:solidFill>
            <a:schemeClr val="tx2"/>
          </a:solidFill>
          <a:latin typeface="+mn-lt"/>
          <a:ea typeface="+mn-ea"/>
          <a:cs typeface="+mn-cs"/>
        </a:defRPr>
      </a:lvl4pPr>
      <a:lvl5pPr marL="576000" indent="-144000" algn="l" defTabSz="914400" rtl="0" eaLnBrk="1" latinLnBrk="0" hangingPunct="1">
        <a:lnSpc>
          <a:spcPct val="115000"/>
        </a:lnSpc>
        <a:spcBef>
          <a:spcPts val="0"/>
        </a:spcBef>
        <a:buFont typeface="Verdana" panose="020B0604030504040204" pitchFamily="34" charset="0"/>
        <a:buChar char="·"/>
        <a:defRPr sz="1700" kern="1200">
          <a:solidFill>
            <a:schemeClr val="tx2"/>
          </a:solidFill>
          <a:latin typeface="+mn-lt"/>
          <a:ea typeface="+mn-ea"/>
          <a:cs typeface="+mn-cs"/>
        </a:defRPr>
      </a:lvl5pPr>
      <a:lvl6pPr marL="576000" indent="-144000" algn="l" defTabSz="914400" rtl="0" eaLnBrk="1" latinLnBrk="0" hangingPunct="1">
        <a:lnSpc>
          <a:spcPct val="115000"/>
        </a:lnSpc>
        <a:spcBef>
          <a:spcPts val="0"/>
        </a:spcBef>
        <a:buFont typeface="Verdana" panose="020B0604030504040204" pitchFamily="34" charset="0"/>
        <a:buChar char="·"/>
        <a:defRPr sz="1700" kern="1200">
          <a:solidFill>
            <a:schemeClr val="tx2"/>
          </a:solidFill>
          <a:latin typeface="+mn-lt"/>
          <a:ea typeface="+mn-ea"/>
          <a:cs typeface="+mn-cs"/>
        </a:defRPr>
      </a:lvl6pPr>
      <a:lvl7pPr marL="576000" indent="-144000" algn="l" defTabSz="914400" rtl="0" eaLnBrk="1" latinLnBrk="0" hangingPunct="1">
        <a:lnSpc>
          <a:spcPct val="115000"/>
        </a:lnSpc>
        <a:spcBef>
          <a:spcPts val="0"/>
        </a:spcBef>
        <a:buFont typeface="Verdana" panose="020B0604030504040204" pitchFamily="34" charset="0"/>
        <a:buChar char="·"/>
        <a:defRPr sz="170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576000" indent="-144000" algn="l" defTabSz="914400" rtl="0" eaLnBrk="1" latinLnBrk="0" hangingPunct="1">
        <a:lnSpc>
          <a:spcPct val="115000"/>
        </a:lnSpc>
        <a:spcBef>
          <a:spcPts val="0"/>
        </a:spcBef>
        <a:buFont typeface="Verdana" panose="020B0604030504040204" pitchFamily="34" charset="0"/>
        <a:buChar char="·"/>
        <a:defRPr sz="1700" kern="1200">
          <a:solidFill>
            <a:schemeClr val="tx2"/>
          </a:solidFill>
          <a:latin typeface="+mn-lt"/>
          <a:ea typeface="+mn-ea"/>
          <a:cs typeface="+mn-cs"/>
        </a:defRPr>
      </a:lvl8pPr>
      <a:lvl9pPr marL="576000" indent="-144000" algn="l" defTabSz="914400" rtl="0" eaLnBrk="1" latinLnBrk="0" hangingPunct="1">
        <a:lnSpc>
          <a:spcPct val="115000"/>
        </a:lnSpc>
        <a:spcBef>
          <a:spcPts val="0"/>
        </a:spcBef>
        <a:buFont typeface="Verdana" panose="020B0604030504040204" pitchFamily="34" charset="0"/>
        <a:buChar char="·"/>
        <a:defRPr sz="17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lvl1pPr marL="0" indent="0" algn="l" defTabSz="914400" rtl="0" eaLnBrk="1" latinLnBrk="0" hangingPunct="1">
        <a:lnSpc>
          <a:spcPct val="115000"/>
        </a:lnSpc>
        <a:spcBef>
          <a:spcPts val="0"/>
        </a:spcBef>
        <a:buFont typeface="Arial" panose="020B0604020202020204" pitchFamily="34" charset="0"/>
        <a:buChar char="​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08000" indent="-108000" algn="l" defTabSz="914400" rtl="0" eaLnBrk="1" latinLnBrk="0" hangingPunct="1">
        <a:lnSpc>
          <a:spcPct val="115000"/>
        </a:lnSpc>
        <a:spcBef>
          <a:spcPts val="0"/>
        </a:spcBef>
        <a:buFont typeface="Verdana" panose="020B0604030504040204" pitchFamily="34" charset="0"/>
        <a:buChar char="·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24000" indent="-108000" algn="l" defTabSz="914400" rtl="0" eaLnBrk="1" latinLnBrk="0" hangingPunct="1">
        <a:lnSpc>
          <a:spcPct val="115000"/>
        </a:lnSpc>
        <a:spcBef>
          <a:spcPts val="0"/>
        </a:spcBef>
        <a:buFont typeface="Verdana" panose="020B0604030504040204" pitchFamily="34" charset="0"/>
        <a:buChar char="·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08000" algn="l" defTabSz="914400" rtl="0" eaLnBrk="1" latinLnBrk="0" hangingPunct="1">
        <a:lnSpc>
          <a:spcPct val="115000"/>
        </a:lnSpc>
        <a:spcBef>
          <a:spcPts val="0"/>
        </a:spcBef>
        <a:buFont typeface="Verdana" panose="020B0604030504040204" pitchFamily="34" charset="0"/>
        <a:buChar char="·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56000" indent="-108000" algn="l" defTabSz="914400" rtl="0" eaLnBrk="1" latinLnBrk="0" hangingPunct="1">
        <a:lnSpc>
          <a:spcPct val="115000"/>
        </a:lnSpc>
        <a:spcBef>
          <a:spcPts val="0"/>
        </a:spcBef>
        <a:buFont typeface="Verdana" panose="020B0604030504040204" pitchFamily="34" charset="0"/>
        <a:buChar char="·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756000" indent="-108000" algn="l" defTabSz="914400" rtl="0" eaLnBrk="1" latinLnBrk="0" hangingPunct="1">
        <a:lnSpc>
          <a:spcPct val="115000"/>
        </a:lnSpc>
        <a:spcBef>
          <a:spcPts val="0"/>
        </a:spcBef>
        <a:buFont typeface="Verdana" panose="020B0604030504040204" pitchFamily="34" charset="0"/>
        <a:buChar char="·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756000" indent="-108000" algn="l" defTabSz="914400" rtl="0" eaLnBrk="1" latinLnBrk="0" hangingPunct="1">
        <a:lnSpc>
          <a:spcPct val="115000"/>
        </a:lnSpc>
        <a:spcBef>
          <a:spcPts val="0"/>
        </a:spcBef>
        <a:buFont typeface="Verdana" panose="020B0604030504040204" pitchFamily="34" charset="0"/>
        <a:buChar char="·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756000" indent="-108000" algn="l" defTabSz="914400" rtl="0" eaLnBrk="1" latinLnBrk="0" hangingPunct="1">
        <a:lnSpc>
          <a:spcPct val="115000"/>
        </a:lnSpc>
        <a:spcBef>
          <a:spcPts val="0"/>
        </a:spcBef>
        <a:buFont typeface="Verdana" panose="020B0604030504040204" pitchFamily="34" charset="0"/>
        <a:buChar char="·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756000" indent="-108000" algn="l" defTabSz="914400" rtl="0" eaLnBrk="1" latinLnBrk="0" hangingPunct="1">
        <a:lnSpc>
          <a:spcPct val="115000"/>
        </a:lnSpc>
        <a:spcBef>
          <a:spcPts val="0"/>
        </a:spcBef>
        <a:buFont typeface="Verdana" panose="020B0604030504040204" pitchFamily="34" charset="0"/>
        <a:buChar char="·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30">
          <p15:clr>
            <a:srgbClr val="000000"/>
          </p15:clr>
        </p15:guide>
        <p15:guide id="2" pos="7247">
          <p15:clr>
            <a:srgbClr val="000000"/>
          </p15:clr>
        </p15:guide>
        <p15:guide id="3" pos="7463">
          <p15:clr>
            <a:srgbClr val="000000"/>
          </p15:clr>
        </p15:guide>
        <p15:guide id="4" pos="3625">
          <p15:clr>
            <a:srgbClr val="000000"/>
          </p15:clr>
        </p15:guide>
        <p15:guide id="5" pos="4055">
          <p15:clr>
            <a:srgbClr val="000000"/>
          </p15:clr>
        </p15:guide>
        <p15:guide id="6" pos="6601">
          <p15:clr>
            <a:srgbClr val="000000"/>
          </p15:clr>
        </p15:guide>
        <p15:guide id="7" orient="horz" pos="256">
          <p15:clr>
            <a:srgbClr val="000000"/>
          </p15:clr>
        </p15:guide>
        <p15:guide id="8" orient="horz" pos="902">
          <p15:clr>
            <a:srgbClr val="000000"/>
          </p15:clr>
        </p15:guide>
        <p15:guide id="9" orient="horz" pos="1638">
          <p15:clr>
            <a:srgbClr val="000000"/>
          </p15:clr>
        </p15:guide>
        <p15:guide id="10" orient="horz" pos="3689">
          <p15:clr>
            <a:srgbClr val="000000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7498802-AC77-4B99-92D0-348ABF1311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2190062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7" name="think-cell Slide" r:id="rId52" imgW="592" imgH="591" progId="TCLayout.ActiveDocument.1">
                  <p:embed/>
                </p:oleObj>
              </mc:Choice>
              <mc:Fallback>
                <p:oleObj name="think-cell Slide" r:id="rId52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7498802-AC77-4B99-92D0-348ABF1311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3FFC39CC-98AE-4507-BAEF-93A4417C8F55}"/>
              </a:ext>
            </a:extLst>
          </p:cNvPr>
          <p:cNvSpPr/>
          <p:nvPr userDrawn="1">
            <p:custDataLst>
              <p:tags r:id="rId5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a-DK" sz="30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Grå bund"/>
          <p:cNvSpPr>
            <a:spLocks/>
          </p:cNvSpPr>
          <p:nvPr userDrawn="1"/>
        </p:nvSpPr>
        <p:spPr bwMode="auto">
          <a:xfrm>
            <a:off x="8112224" y="6129301"/>
            <a:ext cx="4079776" cy="727666"/>
          </a:xfrm>
          <a:custGeom>
            <a:avLst/>
            <a:gdLst>
              <a:gd name="T0" fmla="*/ 5758 w 5758"/>
              <a:gd name="T1" fmla="*/ 0 h 1021"/>
              <a:gd name="T2" fmla="*/ 5757 w 5758"/>
              <a:gd name="T3" fmla="*/ 0 h 1021"/>
              <a:gd name="T4" fmla="*/ 0 w 5758"/>
              <a:gd name="T5" fmla="*/ 1019 h 1021"/>
              <a:gd name="T6" fmla="*/ 5758 w 5758"/>
              <a:gd name="T7" fmla="*/ 1021 h 1021"/>
              <a:gd name="T8" fmla="*/ 5758 w 5758"/>
              <a:gd name="T9" fmla="*/ 0 h 10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58" h="1021">
                <a:moveTo>
                  <a:pt x="5758" y="0"/>
                </a:moveTo>
                <a:lnTo>
                  <a:pt x="5757" y="0"/>
                </a:lnTo>
                <a:lnTo>
                  <a:pt x="0" y="1019"/>
                </a:lnTo>
                <a:lnTo>
                  <a:pt x="5758" y="1021"/>
                </a:lnTo>
                <a:lnTo>
                  <a:pt x="5758" y="0"/>
                </a:lnTo>
                <a:close/>
              </a:path>
            </a:pathLst>
          </a:custGeom>
          <a:solidFill>
            <a:srgbClr val="F5F5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sz="1800"/>
          </a:p>
        </p:txBody>
      </p:sp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72003" y="1285404"/>
            <a:ext cx="8781560" cy="9554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dirty="0"/>
              <a:t>Klik for at redigere i master</a:t>
            </a:r>
            <a:endParaRPr lang="da-DK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84212" y="2562503"/>
            <a:ext cx="8769351" cy="32429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dirty="0"/>
              <a:t>Klik for at redigere i master</a:t>
            </a:r>
            <a:endParaRPr lang="da-DK"/>
          </a:p>
          <a:p>
            <a:pPr lvl="1"/>
            <a:r>
              <a:rPr lang="da-DK" dirty="0"/>
              <a:t>Andet niveau</a:t>
            </a:r>
            <a:endParaRPr lang="da-DK"/>
          </a:p>
          <a:p>
            <a:pPr lvl="2"/>
            <a:r>
              <a:rPr lang="da-DK" dirty="0"/>
              <a:t>Tredje niveau</a:t>
            </a:r>
            <a:endParaRPr lang="da-DK"/>
          </a:p>
          <a:p>
            <a:pPr lvl="3"/>
            <a:r>
              <a:rPr lang="da-DK" dirty="0"/>
              <a:t>Fjerde niveau</a:t>
            </a:r>
            <a:endParaRPr lang="da-DK"/>
          </a:p>
          <a:p>
            <a:pPr lvl="4"/>
            <a:r>
              <a:rPr lang="da-DK" dirty="0"/>
              <a:t>Femte niveau</a:t>
            </a:r>
            <a:endParaRPr lang="da-DK"/>
          </a:p>
          <a:p>
            <a:pPr lvl="5"/>
            <a:r>
              <a:rPr lang="da-DK" dirty="0"/>
              <a:t>Sjette</a:t>
            </a:r>
            <a:endParaRPr lang="da-DK"/>
          </a:p>
          <a:p>
            <a:pPr lvl="6"/>
            <a:r>
              <a:rPr lang="da-DK" dirty="0"/>
              <a:t>Syvende</a:t>
            </a:r>
            <a:endParaRPr lang="da-DK"/>
          </a:p>
          <a:p>
            <a:pPr lvl="7"/>
            <a:r>
              <a:rPr lang="da-DK" dirty="0"/>
              <a:t>Ottende</a:t>
            </a:r>
            <a:endParaRPr lang="da-DK"/>
          </a:p>
          <a:p>
            <a:pPr lvl="8"/>
            <a:r>
              <a:rPr lang="da-DK" dirty="0"/>
              <a:t>Niende</a:t>
            </a:r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1509925" y="361496"/>
            <a:ext cx="336000" cy="17830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700" b="0">
                <a:solidFill>
                  <a:schemeClr val="accent5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Date_DateCustomA"/>
          <p:cNvSpPr>
            <a:spLocks noGrp="1"/>
          </p:cNvSpPr>
          <p:nvPr>
            <p:ph type="dt" sz="half" idx="2"/>
          </p:nvPr>
        </p:nvSpPr>
        <p:spPr>
          <a:xfrm>
            <a:off x="10480674" y="361496"/>
            <a:ext cx="1024001" cy="17830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00">
                <a:solidFill>
                  <a:schemeClr val="accent5"/>
                </a:solidFill>
              </a:defRPr>
            </a:lvl1pPr>
          </a:lstStyle>
          <a:p>
            <a:r>
              <a:rPr lang="da-DK"/>
              <a:t>29. august 2019</a:t>
            </a:r>
            <a:endParaRPr lang="da-DK" dirty="0"/>
          </a:p>
        </p:txBody>
      </p:sp>
      <p:pic>
        <p:nvPicPr>
          <p:cNvPr id="10" name="Logo"/>
          <p:cNvPicPr>
            <a:picLocks noChangeAspect="1"/>
          </p:cNvPicPr>
          <p:nvPr userDrawn="1"/>
        </p:nvPicPr>
        <p:blipFill>
          <a:blip r:embed="rId5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749" y="346665"/>
            <a:ext cx="1404000" cy="256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97279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  <p:sldLayoutId id="2147483783" r:id="rId6"/>
    <p:sldLayoutId id="2147483784" r:id="rId7"/>
    <p:sldLayoutId id="2147483785" r:id="rId8"/>
    <p:sldLayoutId id="2147483786" r:id="rId9"/>
    <p:sldLayoutId id="2147483787" r:id="rId10"/>
    <p:sldLayoutId id="2147483788" r:id="rId11"/>
    <p:sldLayoutId id="2147483789" r:id="rId12"/>
    <p:sldLayoutId id="2147483790" r:id="rId13"/>
    <p:sldLayoutId id="2147483791" r:id="rId14"/>
    <p:sldLayoutId id="2147483792" r:id="rId15"/>
    <p:sldLayoutId id="2147483793" r:id="rId16"/>
    <p:sldLayoutId id="2147483794" r:id="rId17"/>
    <p:sldLayoutId id="2147483795" r:id="rId18"/>
    <p:sldLayoutId id="2147483796" r:id="rId19"/>
    <p:sldLayoutId id="2147483797" r:id="rId20"/>
    <p:sldLayoutId id="2147483798" r:id="rId21"/>
    <p:sldLayoutId id="2147483799" r:id="rId22"/>
    <p:sldLayoutId id="2147483800" r:id="rId23"/>
    <p:sldLayoutId id="2147483801" r:id="rId24"/>
    <p:sldLayoutId id="2147483802" r:id="rId25"/>
    <p:sldLayoutId id="2147483803" r:id="rId26"/>
    <p:sldLayoutId id="2147483804" r:id="rId27"/>
    <p:sldLayoutId id="2147483805" r:id="rId28"/>
    <p:sldLayoutId id="2147483806" r:id="rId29"/>
    <p:sldLayoutId id="2147483807" r:id="rId30"/>
    <p:sldLayoutId id="2147483808" r:id="rId31"/>
    <p:sldLayoutId id="2147483809" r:id="rId32"/>
    <p:sldLayoutId id="2147483810" r:id="rId33"/>
    <p:sldLayoutId id="2147483811" r:id="rId34"/>
    <p:sldLayoutId id="2147483812" r:id="rId35"/>
    <p:sldLayoutId id="2147483813" r:id="rId36"/>
    <p:sldLayoutId id="2147483814" r:id="rId37"/>
    <p:sldLayoutId id="2147483815" r:id="rId38"/>
    <p:sldLayoutId id="2147483816" r:id="rId39"/>
    <p:sldLayoutId id="2147483817" r:id="rId40"/>
    <p:sldLayoutId id="2147483818" r:id="rId41"/>
    <p:sldLayoutId id="2147483819" r:id="rId42"/>
    <p:sldLayoutId id="2147483820" r:id="rId43"/>
    <p:sldLayoutId id="2147483821" r:id="rId44"/>
    <p:sldLayoutId id="2147483822" r:id="rId45"/>
    <p:sldLayoutId id="2147483823" r:id="rId46"/>
    <p:sldLayoutId id="2147483824" r:id="rId47"/>
  </p:sldLayoutIdLst>
  <p:hf hdr="0" ftr="0"/>
  <p:txStyles>
    <p:titleStyle>
      <a:lvl1pPr algn="l" defTabSz="914400" rtl="0" eaLnBrk="1" latinLnBrk="0" hangingPunct="1">
        <a:lnSpc>
          <a:spcPct val="91000"/>
        </a:lnSpc>
        <a:spcBef>
          <a:spcPct val="0"/>
        </a:spcBef>
        <a:buNone/>
        <a:defRPr sz="3000" b="1" kern="1200">
          <a:solidFill>
            <a:srgbClr val="002F67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​"/>
        <a:defRPr sz="1700" kern="1200">
          <a:solidFill>
            <a:schemeClr val="tx2"/>
          </a:solidFill>
          <a:latin typeface="+mn-lt"/>
          <a:ea typeface="+mn-ea"/>
          <a:cs typeface="+mn-cs"/>
        </a:defRPr>
      </a:lvl1pPr>
      <a:lvl2pPr marL="144000" indent="-144000" algn="l" defTabSz="914400" rtl="0" eaLnBrk="1" latinLnBrk="0" hangingPunct="1">
        <a:lnSpc>
          <a:spcPct val="100000"/>
        </a:lnSpc>
        <a:spcBef>
          <a:spcPts val="600"/>
        </a:spcBef>
        <a:buFont typeface="Verdana" panose="020B0604030504040204" pitchFamily="34" charset="0"/>
        <a:buChar char="·"/>
        <a:defRPr sz="1700" kern="1200">
          <a:solidFill>
            <a:schemeClr val="tx2"/>
          </a:solidFill>
          <a:latin typeface="+mn-lt"/>
          <a:ea typeface="+mn-ea"/>
          <a:cs typeface="+mn-cs"/>
        </a:defRPr>
      </a:lvl2pPr>
      <a:lvl3pPr marL="288000" indent="-144000" algn="l" defTabSz="914400" rtl="0" eaLnBrk="1" latinLnBrk="0" hangingPunct="1">
        <a:lnSpc>
          <a:spcPct val="100000"/>
        </a:lnSpc>
        <a:spcBef>
          <a:spcPts val="600"/>
        </a:spcBef>
        <a:buFont typeface="Verdana" panose="020B0604030504040204" pitchFamily="34" charset="0"/>
        <a:buChar char="·"/>
        <a:defRPr sz="1700" kern="1200">
          <a:solidFill>
            <a:schemeClr val="tx2"/>
          </a:solidFill>
          <a:latin typeface="+mn-lt"/>
          <a:ea typeface="+mn-ea"/>
          <a:cs typeface="+mn-cs"/>
        </a:defRPr>
      </a:lvl3pPr>
      <a:lvl4pPr marL="432000" indent="-144000" algn="l" defTabSz="914400" rtl="0" eaLnBrk="1" latinLnBrk="0" hangingPunct="1">
        <a:lnSpc>
          <a:spcPct val="100000"/>
        </a:lnSpc>
        <a:spcBef>
          <a:spcPts val="600"/>
        </a:spcBef>
        <a:buFont typeface="Verdana" panose="020B0604030504040204" pitchFamily="34" charset="0"/>
        <a:buChar char="·"/>
        <a:defRPr sz="1500" kern="1200">
          <a:solidFill>
            <a:schemeClr val="tx2"/>
          </a:solidFill>
          <a:latin typeface="+mn-lt"/>
          <a:ea typeface="+mn-ea"/>
          <a:cs typeface="+mn-cs"/>
        </a:defRPr>
      </a:lvl4pPr>
      <a:lvl5pPr marL="576000" indent="-144000" algn="l" defTabSz="914400" rtl="0" eaLnBrk="1" latinLnBrk="0" hangingPunct="1">
        <a:lnSpc>
          <a:spcPct val="100000"/>
        </a:lnSpc>
        <a:spcBef>
          <a:spcPts val="600"/>
        </a:spcBef>
        <a:buFont typeface="Verdana" panose="020B0604030504040204" pitchFamily="34" charset="0"/>
        <a:buChar char="·"/>
        <a:defRPr sz="1500" kern="1200">
          <a:solidFill>
            <a:schemeClr val="tx2"/>
          </a:solidFill>
          <a:latin typeface="+mn-lt"/>
          <a:ea typeface="+mn-ea"/>
          <a:cs typeface="+mn-cs"/>
        </a:defRPr>
      </a:lvl5pPr>
      <a:lvl6pPr marL="576000" indent="-144000" algn="l" defTabSz="914400" rtl="0" eaLnBrk="1" latinLnBrk="0" hangingPunct="1">
        <a:lnSpc>
          <a:spcPct val="100000"/>
        </a:lnSpc>
        <a:spcBef>
          <a:spcPts val="600"/>
        </a:spcBef>
        <a:buFont typeface="Verdana" panose="020B0604030504040204" pitchFamily="34" charset="0"/>
        <a:buChar char="·"/>
        <a:defRPr sz="1500" kern="1200">
          <a:solidFill>
            <a:schemeClr val="tx2"/>
          </a:solidFill>
          <a:latin typeface="+mn-lt"/>
          <a:ea typeface="+mn-ea"/>
          <a:cs typeface="+mn-cs"/>
        </a:defRPr>
      </a:lvl6pPr>
      <a:lvl7pPr marL="576000" indent="-144000" algn="l" defTabSz="914400" rtl="0" eaLnBrk="1" latinLnBrk="0" hangingPunct="1">
        <a:lnSpc>
          <a:spcPct val="100000"/>
        </a:lnSpc>
        <a:spcBef>
          <a:spcPts val="600"/>
        </a:spcBef>
        <a:buFont typeface="Verdana" panose="020B0604030504040204" pitchFamily="34" charset="0"/>
        <a:buChar char="·"/>
        <a:defRPr sz="1500" kern="1200">
          <a:solidFill>
            <a:schemeClr val="tx2"/>
          </a:solidFill>
          <a:latin typeface="+mn-lt"/>
          <a:ea typeface="+mn-ea"/>
          <a:cs typeface="+mn-cs"/>
        </a:defRPr>
      </a:lvl7pPr>
      <a:lvl8pPr marL="576000" indent="-144000" algn="l" defTabSz="914400" rtl="0" eaLnBrk="1" latinLnBrk="0" hangingPunct="1">
        <a:lnSpc>
          <a:spcPct val="100000"/>
        </a:lnSpc>
        <a:spcBef>
          <a:spcPts val="600"/>
        </a:spcBef>
        <a:buFont typeface="Verdana" panose="020B0604030504040204" pitchFamily="34" charset="0"/>
        <a:buChar char="·"/>
        <a:defRPr sz="1500" kern="1200">
          <a:solidFill>
            <a:schemeClr val="tx2"/>
          </a:solidFill>
          <a:latin typeface="+mn-lt"/>
          <a:ea typeface="+mn-ea"/>
          <a:cs typeface="+mn-cs"/>
        </a:defRPr>
      </a:lvl8pPr>
      <a:lvl9pPr marL="576000" indent="-144000" algn="l" defTabSz="914400" rtl="0" eaLnBrk="1" latinLnBrk="0" hangingPunct="1">
        <a:lnSpc>
          <a:spcPct val="100000"/>
        </a:lnSpc>
        <a:spcBef>
          <a:spcPts val="600"/>
        </a:spcBef>
        <a:buFont typeface="Verdana" panose="020B0604030504040204" pitchFamily="34" charset="0"/>
        <a:buChar char="·"/>
        <a:defRPr sz="15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lvl1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​"/>
        <a:defRPr sz="1100" kern="1200">
          <a:solidFill>
            <a:schemeClr val="tx2"/>
          </a:solidFill>
          <a:latin typeface="+mn-lt"/>
          <a:ea typeface="+mn-ea"/>
          <a:cs typeface="+mn-cs"/>
        </a:defRPr>
      </a:lvl1pPr>
      <a:lvl2pPr marL="108000" indent="-108000" algn="l" defTabSz="914400" rtl="0" eaLnBrk="1" latinLnBrk="0" hangingPunct="1">
        <a:lnSpc>
          <a:spcPct val="110000"/>
        </a:lnSpc>
        <a:spcBef>
          <a:spcPts val="0"/>
        </a:spcBef>
        <a:buFont typeface="Verdana" panose="020B0604030504040204" pitchFamily="34" charset="0"/>
        <a:buChar char="·"/>
        <a:defRPr sz="1100" kern="1200">
          <a:solidFill>
            <a:schemeClr val="tx2"/>
          </a:solidFill>
          <a:latin typeface="+mn-lt"/>
          <a:ea typeface="+mn-ea"/>
          <a:cs typeface="+mn-cs"/>
        </a:defRPr>
      </a:lvl2pPr>
      <a:lvl3pPr marL="216000" indent="-108000" algn="l" defTabSz="914400" rtl="0" eaLnBrk="1" latinLnBrk="0" hangingPunct="1">
        <a:lnSpc>
          <a:spcPct val="110000"/>
        </a:lnSpc>
        <a:spcBef>
          <a:spcPts val="0"/>
        </a:spcBef>
        <a:buFont typeface="Verdana" panose="020B0604030504040204" pitchFamily="34" charset="0"/>
        <a:buChar char="·"/>
        <a:defRPr sz="1100" kern="1200">
          <a:solidFill>
            <a:schemeClr val="tx2"/>
          </a:solidFill>
          <a:latin typeface="+mn-lt"/>
          <a:ea typeface="+mn-ea"/>
          <a:cs typeface="+mn-cs"/>
        </a:defRPr>
      </a:lvl3pPr>
      <a:lvl4pPr marL="324000" indent="-108000" algn="l" defTabSz="914400" rtl="0" eaLnBrk="1" latinLnBrk="0" hangingPunct="1">
        <a:lnSpc>
          <a:spcPct val="110000"/>
        </a:lnSpc>
        <a:spcBef>
          <a:spcPts val="0"/>
        </a:spcBef>
        <a:buFont typeface="Verdana" panose="020B0604030504040204" pitchFamily="34" charset="0"/>
        <a:buChar char="·"/>
        <a:defRPr sz="1100" kern="1200">
          <a:solidFill>
            <a:schemeClr val="tx2"/>
          </a:solidFill>
          <a:latin typeface="+mn-lt"/>
          <a:ea typeface="+mn-ea"/>
          <a:cs typeface="+mn-cs"/>
        </a:defRPr>
      </a:lvl4pPr>
      <a:lvl5pPr marL="432000" indent="-108000" algn="l" defTabSz="914400" rtl="0" eaLnBrk="1" latinLnBrk="0" hangingPunct="1">
        <a:lnSpc>
          <a:spcPct val="110000"/>
        </a:lnSpc>
        <a:spcBef>
          <a:spcPts val="0"/>
        </a:spcBef>
        <a:buFont typeface="Verdana" panose="020B0604030504040204" pitchFamily="34" charset="0"/>
        <a:buChar char="·"/>
        <a:defRPr sz="1100" kern="1200">
          <a:solidFill>
            <a:schemeClr val="tx2"/>
          </a:solidFill>
          <a:latin typeface="+mn-lt"/>
          <a:ea typeface="+mn-ea"/>
          <a:cs typeface="+mn-cs"/>
        </a:defRPr>
      </a:lvl5pPr>
      <a:lvl6pPr marL="432000" indent="-108000" algn="l" defTabSz="914400" rtl="0" eaLnBrk="1" latinLnBrk="0" hangingPunct="1">
        <a:lnSpc>
          <a:spcPct val="110000"/>
        </a:lnSpc>
        <a:spcBef>
          <a:spcPts val="0"/>
        </a:spcBef>
        <a:buFont typeface="Verdana" panose="020B0604030504040204" pitchFamily="34" charset="0"/>
        <a:buChar char="·"/>
        <a:defRPr sz="1100" kern="1200">
          <a:solidFill>
            <a:schemeClr val="tx2"/>
          </a:solidFill>
          <a:latin typeface="+mn-lt"/>
          <a:ea typeface="+mn-ea"/>
          <a:cs typeface="+mn-cs"/>
        </a:defRPr>
      </a:lvl6pPr>
      <a:lvl7pPr marL="432000" indent="-108000" algn="l" defTabSz="914400" rtl="0" eaLnBrk="1" latinLnBrk="0" hangingPunct="1">
        <a:lnSpc>
          <a:spcPct val="110000"/>
        </a:lnSpc>
        <a:spcBef>
          <a:spcPts val="0"/>
        </a:spcBef>
        <a:buFont typeface="Verdana" panose="020B0604030504040204" pitchFamily="34" charset="0"/>
        <a:buChar char="·"/>
        <a:defRPr sz="1100" kern="1200">
          <a:solidFill>
            <a:schemeClr val="tx2"/>
          </a:solidFill>
          <a:latin typeface="+mn-lt"/>
          <a:ea typeface="+mn-ea"/>
          <a:cs typeface="+mn-cs"/>
        </a:defRPr>
      </a:lvl7pPr>
      <a:lvl8pPr marL="432000" indent="-108000" algn="l" defTabSz="914400" rtl="0" eaLnBrk="1" latinLnBrk="0" hangingPunct="1">
        <a:lnSpc>
          <a:spcPct val="110000"/>
        </a:lnSpc>
        <a:spcBef>
          <a:spcPts val="0"/>
        </a:spcBef>
        <a:buFont typeface="Verdana" panose="020B0604030504040204" pitchFamily="34" charset="0"/>
        <a:buChar char="·"/>
        <a:defRPr sz="1100" kern="1200">
          <a:solidFill>
            <a:schemeClr val="tx2"/>
          </a:solidFill>
          <a:latin typeface="+mn-lt"/>
          <a:ea typeface="+mn-ea"/>
          <a:cs typeface="+mn-cs"/>
        </a:defRPr>
      </a:lvl8pPr>
      <a:lvl9pPr marL="432000" indent="-108000" algn="l" defTabSz="914400" rtl="0" eaLnBrk="1" latinLnBrk="0" hangingPunct="1">
        <a:lnSpc>
          <a:spcPct val="110000"/>
        </a:lnSpc>
        <a:spcBef>
          <a:spcPts val="0"/>
        </a:spcBef>
        <a:buFont typeface="Verdana" panose="020B0604030504040204" pitchFamily="34" charset="0"/>
        <a:buChar char="·"/>
        <a:defRPr sz="1100" kern="1200">
          <a:solidFill>
            <a:schemeClr val="tx2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213">
          <p15:clr>
            <a:srgbClr val="000000"/>
          </p15:clr>
        </p15:guide>
        <p15:guide id="4" pos="431">
          <p15:clr>
            <a:srgbClr val="000000"/>
          </p15:clr>
        </p15:guide>
        <p15:guide id="5" pos="7247">
          <p15:clr>
            <a:srgbClr val="000000"/>
          </p15:clr>
        </p15:guide>
        <p15:guide id="6" orient="horz" pos="845">
          <p15:clr>
            <a:srgbClr val="000000"/>
          </p15:clr>
        </p15:guide>
        <p15:guide id="7" orient="horz" pos="1616">
          <p15:clr>
            <a:srgbClr val="000000"/>
          </p15:clr>
        </p15:guide>
        <p15:guide id="8" orient="horz" pos="3657">
          <p15:clr>
            <a:srgbClr val="000000"/>
          </p15:clr>
        </p15:guide>
        <p15:guide id="9" pos="4054">
          <p15:clr>
            <a:srgbClr val="000000"/>
          </p15:clr>
        </p15:guide>
        <p15:guide id="10" pos="6602">
          <p15:clr>
            <a:srgbClr val="000000"/>
          </p15:clr>
        </p15:guide>
        <p15:guide id="11" pos="7462">
          <p15:clr>
            <a:srgbClr val="000000"/>
          </p15:clr>
        </p15:guide>
        <p15:guide id="12" pos="3624">
          <p15:clr>
            <a:srgbClr val="000000"/>
          </p15:clr>
        </p15:guide>
        <p15:guide id="13" orient="horz" pos="323">
          <p15:clr>
            <a:srgbClr val="000000"/>
          </p15:clr>
        </p15:guide>
        <p15:guide id="14" pos="5955">
          <p15:clr>
            <a:srgbClr val="000000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23F6BED-68F6-40C2-9CCB-6ECCE82569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6212643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1" name="think-cell Slide" r:id="rId20" imgW="353" imgH="353" progId="TCLayout.ActiveDocument.1">
                  <p:embed/>
                </p:oleObj>
              </mc:Choice>
              <mc:Fallback>
                <p:oleObj name="think-cell Slide" r:id="rId20" imgW="353" imgH="35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23F6BED-68F6-40C2-9CCB-6ECCE82569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951889E-3BBD-4119-9395-E81362E38167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14000"/>
              </a:lnSpc>
            </a:pPr>
            <a:endParaRPr lang="da-DK" sz="3000" b="1" i="0" baseline="0" noProof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5630" y="1324212"/>
            <a:ext cx="10828984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3999" y="2553539"/>
            <a:ext cx="10822201" cy="33027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 dirty="0"/>
              <a:t>Edit Master text styles</a:t>
            </a:r>
            <a:endParaRPr lang="da-DK" dirty="0"/>
          </a:p>
          <a:p>
            <a:pPr lvl="1"/>
            <a:r>
              <a:rPr lang="da-DK" noProof="0" dirty="0"/>
              <a:t>Second level</a:t>
            </a:r>
            <a:endParaRPr lang="da-DK" dirty="0"/>
          </a:p>
          <a:p>
            <a:pPr lvl="2"/>
            <a:r>
              <a:rPr lang="da-DK" noProof="0" dirty="0"/>
              <a:t>Third level</a:t>
            </a:r>
            <a:endParaRPr lang="da-DK" dirty="0"/>
          </a:p>
          <a:p>
            <a:pPr lvl="3"/>
            <a:r>
              <a:rPr lang="da-DK" noProof="0" dirty="0"/>
              <a:t>Fourth level</a:t>
            </a:r>
            <a:endParaRPr lang="da-DK" dirty="0"/>
          </a:p>
          <a:p>
            <a:pPr lvl="4"/>
            <a:r>
              <a:rPr lang="da-DK" noProof="0" dirty="0"/>
              <a:t>Fifth level</a:t>
            </a:r>
            <a:endParaRPr lang="da-DK" dirty="0"/>
          </a:p>
          <a:p>
            <a:pPr lvl="5"/>
            <a:r>
              <a:rPr lang="da-DK" noProof="0" dirty="0"/>
              <a:t>6</a:t>
            </a:r>
            <a:endParaRPr lang="da-DK" dirty="0"/>
          </a:p>
          <a:p>
            <a:pPr lvl="6"/>
            <a:r>
              <a:rPr lang="da-DK" noProof="0" dirty="0"/>
              <a:t>7</a:t>
            </a:r>
            <a:endParaRPr lang="da-DK" dirty="0"/>
          </a:p>
          <a:p>
            <a:pPr lvl="7"/>
            <a:r>
              <a:rPr lang="da-DK" noProof="0" dirty="0"/>
              <a:t>8</a:t>
            </a:r>
            <a:endParaRPr lang="da-DK" dirty="0"/>
          </a:p>
          <a:p>
            <a:pPr lvl="8"/>
            <a:r>
              <a:rPr lang="da-DK" noProof="0" dirty="0"/>
              <a:t>9</a:t>
            </a:r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2"/>
          </p:nvPr>
        </p:nvSpPr>
        <p:spPr>
          <a:xfrm>
            <a:off x="10479088" y="-713585"/>
            <a:ext cx="1025525" cy="14651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r>
              <a:rPr lang="da-DK"/>
              <a:t>22. januar 2020</a:t>
            </a:r>
            <a:endParaRPr lang="da-DK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6437313" y="-713585"/>
            <a:ext cx="4041774" cy="14651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04613" y="-713585"/>
            <a:ext cx="342899" cy="14651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Grøn top"/>
          <p:cNvSpPr/>
          <p:nvPr userDrawn="1"/>
        </p:nvSpPr>
        <p:spPr>
          <a:xfrm>
            <a:off x="0" y="0"/>
            <a:ext cx="12193200" cy="43561"/>
          </a:xfrm>
          <a:prstGeom prst="rect">
            <a:avLst/>
          </a:prstGeom>
          <a:solidFill>
            <a:srgbClr val="009E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25603296-FDB8-48FA-814C-42AD75A67DB8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000" y="403550"/>
            <a:ext cx="3090740" cy="198000"/>
          </a:xfrm>
          <a:prstGeom prst="rect">
            <a:avLst/>
          </a:prstGeom>
        </p:spPr>
      </p:pic>
      <p:pic>
        <p:nvPicPr>
          <p:cNvPr id="11" name="Billede 10" descr="Et billede, der indeholder værelse, tegning&#10;&#10;Automatisk genereret beskrivelse">
            <a:extLst>
              <a:ext uri="{FF2B5EF4-FFF2-40B4-BE49-F238E27FC236}">
                <a16:creationId xmlns:a16="http://schemas.microsoft.com/office/drawing/2014/main" id="{8029DB48-E394-DC41-867A-227C48D52717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6698" y="360223"/>
            <a:ext cx="1940814" cy="233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3284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9" r:id="rId2"/>
    <p:sldLayoutId id="2147483830" r:id="rId3"/>
    <p:sldLayoutId id="2147483831" r:id="rId4"/>
    <p:sldLayoutId id="2147483832" r:id="rId5"/>
    <p:sldLayoutId id="2147483833" r:id="rId6"/>
    <p:sldLayoutId id="2147483834" r:id="rId7"/>
    <p:sldLayoutId id="2147483835" r:id="rId8"/>
    <p:sldLayoutId id="2147483836" r:id="rId9"/>
    <p:sldLayoutId id="2147483837" r:id="rId10"/>
    <p:sldLayoutId id="2147483838" r:id="rId11"/>
    <p:sldLayoutId id="2147483839" r:id="rId12"/>
    <p:sldLayoutId id="2147483840" r:id="rId13"/>
    <p:sldLayoutId id="2147483841" r:id="rId14"/>
    <p:sldLayoutId id="2147483842" r:id="rId15"/>
  </p:sldLayoutIdLst>
  <p:hf hdr="0" ftr="0"/>
  <p:txStyles>
    <p:titleStyle>
      <a:lvl1pPr algn="l" defTabSz="914400" rtl="0" eaLnBrk="1" latinLnBrk="0" hangingPunct="1">
        <a:lnSpc>
          <a:spcPct val="91000"/>
        </a:lnSpc>
        <a:spcBef>
          <a:spcPct val="0"/>
        </a:spcBef>
        <a:buNone/>
        <a:defRPr sz="30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5000"/>
        </a:lnSpc>
        <a:spcBef>
          <a:spcPts val="0"/>
        </a:spcBef>
        <a:buFont typeface="Arial" panose="020B0604020202020204" pitchFamily="34" charset="0"/>
        <a:buChar char="​"/>
        <a:defRPr sz="1700" kern="1200">
          <a:solidFill>
            <a:schemeClr val="tx2"/>
          </a:solidFill>
          <a:latin typeface="+mn-lt"/>
          <a:ea typeface="+mn-ea"/>
          <a:cs typeface="+mn-cs"/>
        </a:defRPr>
      </a:lvl1pPr>
      <a:lvl2pPr marL="144000" indent="-144000" algn="l" defTabSz="914400" rtl="0" eaLnBrk="1" latinLnBrk="0" hangingPunct="1">
        <a:lnSpc>
          <a:spcPct val="115000"/>
        </a:lnSpc>
        <a:spcBef>
          <a:spcPts val="0"/>
        </a:spcBef>
        <a:buFont typeface="Verdana" panose="020B0604030504040204" pitchFamily="34" charset="0"/>
        <a:buChar char="·"/>
        <a:defRPr sz="1700" kern="1200">
          <a:solidFill>
            <a:schemeClr val="tx2"/>
          </a:solidFill>
          <a:latin typeface="+mn-lt"/>
          <a:ea typeface="+mn-ea"/>
          <a:cs typeface="+mn-cs"/>
        </a:defRPr>
      </a:lvl2pPr>
      <a:lvl3pPr marL="288000" indent="-144000" algn="l" defTabSz="914400" rtl="0" eaLnBrk="1" latinLnBrk="0" hangingPunct="1">
        <a:lnSpc>
          <a:spcPct val="115000"/>
        </a:lnSpc>
        <a:spcBef>
          <a:spcPts val="0"/>
        </a:spcBef>
        <a:buFont typeface="Verdana" panose="020B0604030504040204" pitchFamily="34" charset="0"/>
        <a:buChar char="·"/>
        <a:defRPr sz="1700" kern="1200">
          <a:solidFill>
            <a:schemeClr val="tx2"/>
          </a:solidFill>
          <a:latin typeface="+mn-lt"/>
          <a:ea typeface="+mn-ea"/>
          <a:cs typeface="+mn-cs"/>
        </a:defRPr>
      </a:lvl3pPr>
      <a:lvl4pPr marL="432000" indent="-144000" algn="l" defTabSz="914400" rtl="0" eaLnBrk="1" latinLnBrk="0" hangingPunct="1">
        <a:lnSpc>
          <a:spcPct val="115000"/>
        </a:lnSpc>
        <a:spcBef>
          <a:spcPts val="0"/>
        </a:spcBef>
        <a:buFont typeface="Verdana" panose="020B0604030504040204" pitchFamily="34" charset="0"/>
        <a:buChar char="·"/>
        <a:defRPr sz="1700" kern="1200">
          <a:solidFill>
            <a:schemeClr val="tx2"/>
          </a:solidFill>
          <a:latin typeface="+mn-lt"/>
          <a:ea typeface="+mn-ea"/>
          <a:cs typeface="+mn-cs"/>
        </a:defRPr>
      </a:lvl4pPr>
      <a:lvl5pPr marL="576000" indent="-144000" algn="l" defTabSz="914400" rtl="0" eaLnBrk="1" latinLnBrk="0" hangingPunct="1">
        <a:lnSpc>
          <a:spcPct val="115000"/>
        </a:lnSpc>
        <a:spcBef>
          <a:spcPts val="0"/>
        </a:spcBef>
        <a:buFont typeface="Verdana" panose="020B0604030504040204" pitchFamily="34" charset="0"/>
        <a:buChar char="·"/>
        <a:defRPr sz="1700" kern="1200">
          <a:solidFill>
            <a:schemeClr val="tx2"/>
          </a:solidFill>
          <a:latin typeface="+mn-lt"/>
          <a:ea typeface="+mn-ea"/>
          <a:cs typeface="+mn-cs"/>
        </a:defRPr>
      </a:lvl5pPr>
      <a:lvl6pPr marL="576000" indent="-144000" algn="l" defTabSz="914400" rtl="0" eaLnBrk="1" latinLnBrk="0" hangingPunct="1">
        <a:lnSpc>
          <a:spcPct val="115000"/>
        </a:lnSpc>
        <a:spcBef>
          <a:spcPts val="0"/>
        </a:spcBef>
        <a:buFont typeface="Verdana" panose="020B0604030504040204" pitchFamily="34" charset="0"/>
        <a:buChar char="·"/>
        <a:defRPr sz="1700" kern="1200">
          <a:solidFill>
            <a:schemeClr val="tx2"/>
          </a:solidFill>
          <a:latin typeface="+mn-lt"/>
          <a:ea typeface="+mn-ea"/>
          <a:cs typeface="+mn-cs"/>
        </a:defRPr>
      </a:lvl6pPr>
      <a:lvl7pPr marL="576000" indent="-144000" algn="l" defTabSz="914400" rtl="0" eaLnBrk="1" latinLnBrk="0" hangingPunct="1">
        <a:lnSpc>
          <a:spcPct val="115000"/>
        </a:lnSpc>
        <a:spcBef>
          <a:spcPts val="0"/>
        </a:spcBef>
        <a:buFont typeface="Verdana" panose="020B0604030504040204" pitchFamily="34" charset="0"/>
        <a:buChar char="·"/>
        <a:defRPr sz="170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576000" indent="-144000" algn="l" defTabSz="914400" rtl="0" eaLnBrk="1" latinLnBrk="0" hangingPunct="1">
        <a:lnSpc>
          <a:spcPct val="115000"/>
        </a:lnSpc>
        <a:spcBef>
          <a:spcPts val="0"/>
        </a:spcBef>
        <a:buFont typeface="Verdana" panose="020B0604030504040204" pitchFamily="34" charset="0"/>
        <a:buChar char="·"/>
        <a:defRPr sz="1700" kern="1200">
          <a:solidFill>
            <a:schemeClr val="tx2"/>
          </a:solidFill>
          <a:latin typeface="+mn-lt"/>
          <a:ea typeface="+mn-ea"/>
          <a:cs typeface="+mn-cs"/>
        </a:defRPr>
      </a:lvl8pPr>
      <a:lvl9pPr marL="576000" indent="-144000" algn="l" defTabSz="914400" rtl="0" eaLnBrk="1" latinLnBrk="0" hangingPunct="1">
        <a:lnSpc>
          <a:spcPct val="115000"/>
        </a:lnSpc>
        <a:spcBef>
          <a:spcPts val="0"/>
        </a:spcBef>
        <a:buFont typeface="Verdana" panose="020B0604030504040204" pitchFamily="34" charset="0"/>
        <a:buChar char="·"/>
        <a:defRPr sz="17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lvl1pPr marL="0" indent="0" algn="l" defTabSz="914400" rtl="0" eaLnBrk="1" latinLnBrk="0" hangingPunct="1">
        <a:lnSpc>
          <a:spcPct val="115000"/>
        </a:lnSpc>
        <a:spcBef>
          <a:spcPts val="0"/>
        </a:spcBef>
        <a:buFont typeface="Arial" panose="020B0604020202020204" pitchFamily="34" charset="0"/>
        <a:buChar char="​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08000" indent="-108000" algn="l" defTabSz="914400" rtl="0" eaLnBrk="1" latinLnBrk="0" hangingPunct="1">
        <a:lnSpc>
          <a:spcPct val="115000"/>
        </a:lnSpc>
        <a:spcBef>
          <a:spcPts val="0"/>
        </a:spcBef>
        <a:buFont typeface="Verdana" panose="020B0604030504040204" pitchFamily="34" charset="0"/>
        <a:buChar char="·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24000" indent="-108000" algn="l" defTabSz="914400" rtl="0" eaLnBrk="1" latinLnBrk="0" hangingPunct="1">
        <a:lnSpc>
          <a:spcPct val="115000"/>
        </a:lnSpc>
        <a:spcBef>
          <a:spcPts val="0"/>
        </a:spcBef>
        <a:buFont typeface="Verdana" panose="020B0604030504040204" pitchFamily="34" charset="0"/>
        <a:buChar char="·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08000" algn="l" defTabSz="914400" rtl="0" eaLnBrk="1" latinLnBrk="0" hangingPunct="1">
        <a:lnSpc>
          <a:spcPct val="115000"/>
        </a:lnSpc>
        <a:spcBef>
          <a:spcPts val="0"/>
        </a:spcBef>
        <a:buFont typeface="Verdana" panose="020B0604030504040204" pitchFamily="34" charset="0"/>
        <a:buChar char="·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56000" indent="-108000" algn="l" defTabSz="914400" rtl="0" eaLnBrk="1" latinLnBrk="0" hangingPunct="1">
        <a:lnSpc>
          <a:spcPct val="115000"/>
        </a:lnSpc>
        <a:spcBef>
          <a:spcPts val="0"/>
        </a:spcBef>
        <a:buFont typeface="Verdana" panose="020B0604030504040204" pitchFamily="34" charset="0"/>
        <a:buChar char="·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756000" indent="-108000" algn="l" defTabSz="914400" rtl="0" eaLnBrk="1" latinLnBrk="0" hangingPunct="1">
        <a:lnSpc>
          <a:spcPct val="115000"/>
        </a:lnSpc>
        <a:spcBef>
          <a:spcPts val="0"/>
        </a:spcBef>
        <a:buFont typeface="Verdana" panose="020B0604030504040204" pitchFamily="34" charset="0"/>
        <a:buChar char="·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756000" indent="-108000" algn="l" defTabSz="914400" rtl="0" eaLnBrk="1" latinLnBrk="0" hangingPunct="1">
        <a:lnSpc>
          <a:spcPct val="115000"/>
        </a:lnSpc>
        <a:spcBef>
          <a:spcPts val="0"/>
        </a:spcBef>
        <a:buFont typeface="Verdana" panose="020B0604030504040204" pitchFamily="34" charset="0"/>
        <a:buChar char="·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756000" indent="-108000" algn="l" defTabSz="914400" rtl="0" eaLnBrk="1" latinLnBrk="0" hangingPunct="1">
        <a:lnSpc>
          <a:spcPct val="115000"/>
        </a:lnSpc>
        <a:spcBef>
          <a:spcPts val="0"/>
        </a:spcBef>
        <a:buFont typeface="Verdana" panose="020B0604030504040204" pitchFamily="34" charset="0"/>
        <a:buChar char="·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756000" indent="-108000" algn="l" defTabSz="914400" rtl="0" eaLnBrk="1" latinLnBrk="0" hangingPunct="1">
        <a:lnSpc>
          <a:spcPct val="115000"/>
        </a:lnSpc>
        <a:spcBef>
          <a:spcPts val="0"/>
        </a:spcBef>
        <a:buFont typeface="Verdana" panose="020B0604030504040204" pitchFamily="34" charset="0"/>
        <a:buChar char="·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30">
          <p15:clr>
            <a:srgbClr val="000000"/>
          </p15:clr>
        </p15:guide>
        <p15:guide id="2" pos="7247">
          <p15:clr>
            <a:srgbClr val="000000"/>
          </p15:clr>
        </p15:guide>
        <p15:guide id="3" pos="7463">
          <p15:clr>
            <a:srgbClr val="000000"/>
          </p15:clr>
        </p15:guide>
        <p15:guide id="4" pos="3625">
          <p15:clr>
            <a:srgbClr val="000000"/>
          </p15:clr>
        </p15:guide>
        <p15:guide id="5" pos="4055">
          <p15:clr>
            <a:srgbClr val="000000"/>
          </p15:clr>
        </p15:guide>
        <p15:guide id="6" pos="6601">
          <p15:clr>
            <a:srgbClr val="000000"/>
          </p15:clr>
        </p15:guide>
        <p15:guide id="7" orient="horz" pos="256">
          <p15:clr>
            <a:srgbClr val="000000"/>
          </p15:clr>
        </p15:guide>
        <p15:guide id="8" orient="horz" pos="902">
          <p15:clr>
            <a:srgbClr val="000000"/>
          </p15:clr>
        </p15:guide>
        <p15:guide id="9" orient="horz" pos="1638">
          <p15:clr>
            <a:srgbClr val="000000"/>
          </p15:clr>
        </p15:guide>
        <p15:guide id="10" orient="horz" pos="3689">
          <p15:clr>
            <a:srgbClr val="00000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3" Type="http://schemas.openxmlformats.org/officeDocument/2006/relationships/tags" Target="../tags/tag11.xml"/><Relationship Id="rId7" Type="http://schemas.openxmlformats.org/officeDocument/2006/relationships/oleObject" Target="../embeddings/oleObject5.bin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1.jpe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4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5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40.png"/><Relationship Id="rId7" Type="http://schemas.openxmlformats.org/officeDocument/2006/relationships/image" Target="../media/image44.png"/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59.xml"/><Relationship Id="rId6" Type="http://schemas.openxmlformats.org/officeDocument/2006/relationships/image" Target="../media/image43.png"/><Relationship Id="rId11" Type="http://schemas.openxmlformats.org/officeDocument/2006/relationships/chart" Target="../charts/chart13.xml"/><Relationship Id="rId5" Type="http://schemas.openxmlformats.org/officeDocument/2006/relationships/image" Target="../media/image42.png"/><Relationship Id="rId10" Type="http://schemas.openxmlformats.org/officeDocument/2006/relationships/image" Target="../media/image47.png"/><Relationship Id="rId4" Type="http://schemas.openxmlformats.org/officeDocument/2006/relationships/image" Target="../media/image41.png"/><Relationship Id="rId9" Type="http://schemas.openxmlformats.org/officeDocument/2006/relationships/image" Target="../media/image4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24.emf"/><Relationship Id="rId2" Type="http://schemas.openxmlformats.org/officeDocument/2006/relationships/tags" Target="../tags/tag19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59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3" Type="http://schemas.openxmlformats.org/officeDocument/2006/relationships/tags" Target="../tags/tag22.xml"/><Relationship Id="rId7" Type="http://schemas.openxmlformats.org/officeDocument/2006/relationships/oleObject" Target="../embeddings/oleObject10.bin"/><Relationship Id="rId2" Type="http://schemas.openxmlformats.org/officeDocument/2006/relationships/tags" Target="../tags/tag2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8.jpeg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4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9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6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4.xml"/><Relationship Id="rId1" Type="http://schemas.openxmlformats.org/officeDocument/2006/relationships/tags" Target="../tags/tag12.xml"/><Relationship Id="rId5" Type="http://schemas.openxmlformats.org/officeDocument/2006/relationships/image" Target="../media/image23.JPEG"/><Relationship Id="rId4" Type="http://schemas.openxmlformats.org/officeDocument/2006/relationships/image" Target="../media/image22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14.xml"/><Relationship Id="rId7" Type="http://schemas.openxmlformats.org/officeDocument/2006/relationships/image" Target="../media/image24.emf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5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chart" Target="../charts/chart3.xml"/><Relationship Id="rId3" Type="http://schemas.openxmlformats.org/officeDocument/2006/relationships/tags" Target="../tags/tag16.xml"/><Relationship Id="rId7" Type="http://schemas.openxmlformats.org/officeDocument/2006/relationships/image" Target="../media/image24.emf"/><Relationship Id="rId12" Type="http://schemas.openxmlformats.org/officeDocument/2006/relationships/chart" Target="../charts/chart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28.sv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27.png"/><Relationship Id="rId4" Type="http://schemas.openxmlformats.org/officeDocument/2006/relationships/slideLayout" Target="../slideLayouts/slideLayout59.xml"/><Relationship Id="rId9" Type="http://schemas.openxmlformats.org/officeDocument/2006/relationships/image" Target="../media/image26.svg"/><Relationship Id="rId14" Type="http://schemas.openxmlformats.org/officeDocument/2006/relationships/image" Target="../media/image2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emf"/><Relationship Id="rId13" Type="http://schemas.openxmlformats.org/officeDocument/2006/relationships/chart" Target="../charts/chart5.xml"/><Relationship Id="rId3" Type="http://schemas.openxmlformats.org/officeDocument/2006/relationships/tags" Target="../tags/tag18.xml"/><Relationship Id="rId7" Type="http://schemas.openxmlformats.org/officeDocument/2006/relationships/oleObject" Target="../embeddings/oleObject8.bin"/><Relationship Id="rId12" Type="http://schemas.openxmlformats.org/officeDocument/2006/relationships/image" Target="../media/image28.svg"/><Relationship Id="rId2" Type="http://schemas.openxmlformats.org/officeDocument/2006/relationships/tags" Target="../tags/tag17.xml"/><Relationship Id="rId1" Type="http://schemas.openxmlformats.org/officeDocument/2006/relationships/vmlDrawing" Target="../drawings/vmlDrawing8.vml"/><Relationship Id="rId6" Type="http://schemas.openxmlformats.org/officeDocument/2006/relationships/chart" Target="../charts/chart4.xml"/><Relationship Id="rId11" Type="http://schemas.openxmlformats.org/officeDocument/2006/relationships/image" Target="../media/image27.png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26.svg"/><Relationship Id="rId4" Type="http://schemas.openxmlformats.org/officeDocument/2006/relationships/slideLayout" Target="../slideLayouts/slideLayout59.xml"/><Relationship Id="rId9" Type="http://schemas.openxmlformats.org/officeDocument/2006/relationships/image" Target="../media/image25.png"/><Relationship Id="rId14" Type="http://schemas.openxmlformats.org/officeDocument/2006/relationships/image" Target="../media/image2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9.xml"/><Relationship Id="rId6" Type="http://schemas.openxmlformats.org/officeDocument/2006/relationships/chart" Target="../charts/chart7.xml"/><Relationship Id="rId5" Type="http://schemas.openxmlformats.org/officeDocument/2006/relationships/chart" Target="../charts/chart6.xml"/><Relationship Id="rId4" Type="http://schemas.openxmlformats.org/officeDocument/2006/relationships/image" Target="../media/image26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9.xml"/><Relationship Id="rId6" Type="http://schemas.openxmlformats.org/officeDocument/2006/relationships/chart" Target="../charts/chart9.xml"/><Relationship Id="rId5" Type="http://schemas.openxmlformats.org/officeDocument/2006/relationships/image" Target="../media/image31.svg"/><Relationship Id="rId4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9.xml"/><Relationship Id="rId6" Type="http://schemas.openxmlformats.org/officeDocument/2006/relationships/chart" Target="../charts/chart11.xml"/><Relationship Id="rId5" Type="http://schemas.openxmlformats.org/officeDocument/2006/relationships/chart" Target="../charts/chart10.xml"/><Relationship Id="rId4" Type="http://schemas.openxmlformats.org/officeDocument/2006/relationships/image" Target="../media/image28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3" Type="http://schemas.openxmlformats.org/officeDocument/2006/relationships/image" Target="../media/image32.jpeg"/><Relationship Id="rId7" Type="http://schemas.openxmlformats.org/officeDocument/2006/relationships/image" Target="../media/image36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9.xml"/><Relationship Id="rId6" Type="http://schemas.openxmlformats.org/officeDocument/2006/relationships/image" Target="../media/image35.jpe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 descr="Et billede, der indeholder tekst&#10;&#10;Automatisk genereret beskrivelse">
            <a:extLst>
              <a:ext uri="{FF2B5EF4-FFF2-40B4-BE49-F238E27FC236}">
                <a16:creationId xmlns:a16="http://schemas.microsoft.com/office/drawing/2014/main" id="{6018DF91-8D32-4D72-9B0A-B83804AF984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072" t="38469" r="35412" b="2"/>
          <a:stretch/>
        </p:blipFill>
        <p:spPr>
          <a:xfrm rot="5400000">
            <a:off x="2471298" y="-2647930"/>
            <a:ext cx="7263604" cy="12185901"/>
          </a:xfrm>
          <a:prstGeom prst="rect">
            <a:avLst/>
          </a:prstGeom>
        </p:spPr>
      </p:pic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FBE90DBC-AE2D-4DBA-97EB-4B320FE8004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4"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15" name="Objekt 14" hidden="1">
                        <a:extLst>
                          <a:ext uri="{FF2B5EF4-FFF2-40B4-BE49-F238E27FC236}">
                            <a16:creationId xmlns:a16="http://schemas.microsoft.com/office/drawing/2014/main" id="{FBE90DBC-AE2D-4DBA-97EB-4B320FE800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ktangel 13" hidden="1">
            <a:extLst>
              <a:ext uri="{FF2B5EF4-FFF2-40B4-BE49-F238E27FC236}">
                <a16:creationId xmlns:a16="http://schemas.microsoft.com/office/drawing/2014/main" id="{768D1C3D-67F1-48F3-98ED-0265C194057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14000"/>
              </a:lnSpc>
            </a:pPr>
            <a:endParaRPr lang="da-DK" sz="2400" b="1" noProof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0" y="1169221"/>
            <a:ext cx="12222464" cy="2043755"/>
          </a:xfrm>
        </p:spPr>
        <p:txBody>
          <a:bodyPr vert="horz"/>
          <a:lstStyle/>
          <a:p>
            <a:pPr>
              <a:spcBef>
                <a:spcPts val="1200"/>
              </a:spcBef>
            </a:pPr>
            <a:r>
              <a:rPr lang="da-DK" dirty="0"/>
              <a:t>1. halvår 2022 </a:t>
            </a:r>
            <a:br>
              <a:rPr lang="da-DK" dirty="0"/>
            </a:br>
            <a:br>
              <a:rPr lang="da-DK" sz="1000" dirty="0"/>
            </a:br>
            <a:r>
              <a:rPr lang="da-DK" sz="2400" dirty="0"/>
              <a:t>25. august 2022 </a:t>
            </a:r>
          </a:p>
        </p:txBody>
      </p:sp>
      <p:sp>
        <p:nvSpPr>
          <p:cNvPr id="10" name="Subtitle 9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a-DK" dirty="0"/>
              <a:t> </a:t>
            </a:r>
          </a:p>
        </p:txBody>
      </p:sp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EFBE3635-EF87-459B-B278-3FA8C54ED3D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2626" y="2528900"/>
            <a:ext cx="9796462" cy="305691"/>
          </a:xfrm>
        </p:spPr>
        <p:txBody>
          <a:bodyPr/>
          <a:lstStyle/>
          <a:p>
            <a:r>
              <a:rPr lang="da-DK" dirty="0"/>
              <a:t>Henrik Mielke, CEO </a:t>
            </a:r>
          </a:p>
          <a:p>
            <a:r>
              <a:rPr lang="da-DK" dirty="0"/>
              <a:t>Martin Solberg, CFO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AE8D1BA0-6A9F-4C6B-B56E-EEC17847F02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-7749" y="1177204"/>
            <a:ext cx="12189600" cy="75600"/>
          </a:xfrm>
        </p:spPr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4801186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9D77047-8961-99A7-1BA8-8F23C5CA88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Strategisk vigtige nye ordrer i 3. kvartal 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209B9B36-E47E-05AD-3712-15ECFE901B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10</a:t>
            </a:fld>
            <a:endParaRPr lang="da-DK" dirty="0"/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B1ECFEB9-2B00-F7F9-573A-964738D35C40}"/>
              </a:ext>
            </a:extLst>
          </p:cNvPr>
          <p:cNvSpPr/>
          <p:nvPr/>
        </p:nvSpPr>
        <p:spPr>
          <a:xfrm>
            <a:off x="675630" y="2456892"/>
            <a:ext cx="6956893" cy="10164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33350" indent="-133350">
              <a:lnSpc>
                <a:spcPct val="113000"/>
              </a:lnSpc>
              <a:spcAft>
                <a:spcPts val="600"/>
              </a:spcAft>
              <a:buFont typeface="Symbol" panose="05050102010706020507" pitchFamily="18" charset="2"/>
              <a:buChar char=""/>
            </a:pPr>
            <a:r>
              <a:rPr lang="da-DK" sz="1700" dirty="0">
                <a:solidFill>
                  <a:srgbClr val="58595B"/>
                </a:solidFill>
              </a:rPr>
              <a:t>Ny jernbanebro over Guldborgsund for Banedanmark </a:t>
            </a:r>
          </a:p>
          <a:p>
            <a:pPr marL="133350" indent="-133350">
              <a:lnSpc>
                <a:spcPct val="113000"/>
              </a:lnSpc>
              <a:spcAft>
                <a:spcPts val="600"/>
              </a:spcAft>
              <a:buFont typeface="Symbol" panose="05050102010706020507" pitchFamily="18" charset="2"/>
              <a:buChar char=""/>
            </a:pPr>
            <a:r>
              <a:rPr lang="da-DK" sz="1700" dirty="0">
                <a:solidFill>
                  <a:srgbClr val="58595B"/>
                </a:solidFill>
              </a:rPr>
              <a:t>Projektering til april 2023, udførsel til Q2 2026</a:t>
            </a:r>
          </a:p>
          <a:p>
            <a:pPr marL="133350" indent="-133350">
              <a:lnSpc>
                <a:spcPct val="113000"/>
              </a:lnSpc>
              <a:spcAft>
                <a:spcPts val="600"/>
              </a:spcAft>
              <a:buFont typeface="Symbol" panose="05050102010706020507" pitchFamily="18" charset="2"/>
              <a:buChar char=""/>
            </a:pPr>
            <a:r>
              <a:rPr lang="da-DK" sz="1700" dirty="0">
                <a:solidFill>
                  <a:srgbClr val="58595B"/>
                </a:solidFill>
              </a:rPr>
              <a:t>Totalentreprise til værdi af 509 mio. kr. 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804930C6-FAD9-484D-5840-EB003162CF58}"/>
              </a:ext>
            </a:extLst>
          </p:cNvPr>
          <p:cNvSpPr/>
          <p:nvPr/>
        </p:nvSpPr>
        <p:spPr>
          <a:xfrm>
            <a:off x="687279" y="4452298"/>
            <a:ext cx="6956893" cy="13889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33350" indent="-133350">
              <a:lnSpc>
                <a:spcPct val="113000"/>
              </a:lnSpc>
              <a:spcAft>
                <a:spcPts val="600"/>
              </a:spcAft>
              <a:buFont typeface="Symbol" panose="05050102010706020507" pitchFamily="18" charset="2"/>
              <a:buChar char=""/>
            </a:pPr>
            <a:r>
              <a:rPr lang="da-DK" sz="1700" dirty="0">
                <a:solidFill>
                  <a:srgbClr val="58595B"/>
                </a:solidFill>
              </a:rPr>
              <a:t>Nyt togværksted og baneanlæg i Næstved for DSB </a:t>
            </a:r>
          </a:p>
          <a:p>
            <a:pPr marL="133350" indent="-133350">
              <a:lnSpc>
                <a:spcPct val="113000"/>
              </a:lnSpc>
              <a:spcAft>
                <a:spcPts val="600"/>
              </a:spcAft>
              <a:buFont typeface="Symbol" panose="05050102010706020507" pitchFamily="18" charset="2"/>
              <a:buChar char=""/>
            </a:pPr>
            <a:r>
              <a:rPr lang="da-DK" sz="1700" dirty="0">
                <a:solidFill>
                  <a:srgbClr val="58595B"/>
                </a:solidFill>
              </a:rPr>
              <a:t>Tiltrædes af DSB’s bestyrelse i dag, byggetilladelser afventer </a:t>
            </a:r>
          </a:p>
          <a:p>
            <a:pPr marL="133350" indent="-133350">
              <a:lnSpc>
                <a:spcPct val="113000"/>
              </a:lnSpc>
              <a:spcAft>
                <a:spcPts val="600"/>
              </a:spcAft>
              <a:buFont typeface="Symbol" panose="05050102010706020507" pitchFamily="18" charset="2"/>
              <a:buChar char=""/>
            </a:pPr>
            <a:r>
              <a:rPr lang="da-DK" sz="1700" dirty="0">
                <a:solidFill>
                  <a:srgbClr val="58595B"/>
                </a:solidFill>
              </a:rPr>
              <a:t>Udførelse fra januar 2023, aflevering i sommeren 2025</a:t>
            </a:r>
          </a:p>
          <a:p>
            <a:pPr marL="133350" indent="-133350">
              <a:lnSpc>
                <a:spcPct val="113000"/>
              </a:lnSpc>
              <a:spcAft>
                <a:spcPts val="600"/>
              </a:spcAft>
              <a:buFont typeface="Symbol" panose="05050102010706020507" pitchFamily="18" charset="2"/>
              <a:buChar char=""/>
            </a:pPr>
            <a:r>
              <a:rPr lang="da-DK" sz="1700" dirty="0">
                <a:solidFill>
                  <a:srgbClr val="58595B"/>
                </a:solidFill>
              </a:rPr>
              <a:t>Totalentreprise til værdi af 1,3 mia. kr. 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056099A7-5881-35DF-0330-44516F04B1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12224" y="1993923"/>
            <a:ext cx="3353425" cy="1902917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16C1CC27-CD32-15DC-C784-682125DFFD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06799" y="4185083"/>
            <a:ext cx="3353425" cy="1891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86721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F6D0EBD-C90E-A7AF-609A-A3108523EB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obusthed i udfordrende marked 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4E9CB4C0-447E-F6AB-CB6A-A460D5E1EB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11</a:t>
            </a:fld>
            <a:endParaRPr lang="da-DK" dirty="0"/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30ED402F-1A42-9F97-3AAC-F606F4C56AF1}"/>
              </a:ext>
            </a:extLst>
          </p:cNvPr>
          <p:cNvSpPr/>
          <p:nvPr/>
        </p:nvSpPr>
        <p:spPr>
          <a:xfrm>
            <a:off x="648366" y="2468357"/>
            <a:ext cx="3323555" cy="383630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33350" indent="-133350">
              <a:lnSpc>
                <a:spcPct val="113000"/>
              </a:lnSpc>
              <a:spcAft>
                <a:spcPts val="600"/>
              </a:spcAft>
              <a:buFont typeface="Symbol" panose="05050102010706020507" pitchFamily="18" charset="2"/>
              <a:buChar char=""/>
            </a:pPr>
            <a:r>
              <a:rPr lang="da-DK" sz="1700" dirty="0">
                <a:solidFill>
                  <a:srgbClr val="58595B"/>
                </a:solidFill>
              </a:rPr>
              <a:t>Markedsleder inden for partnerskaber og samarbejder</a:t>
            </a:r>
          </a:p>
          <a:p>
            <a:pPr marL="133350" indent="-133350">
              <a:lnSpc>
                <a:spcPct val="113000"/>
              </a:lnSpc>
              <a:spcAft>
                <a:spcPts val="600"/>
              </a:spcAft>
              <a:buFont typeface="Symbol" panose="05050102010706020507" pitchFamily="18" charset="2"/>
              <a:buChar char=""/>
            </a:pPr>
            <a:r>
              <a:rPr lang="da-DK" sz="1700" dirty="0">
                <a:solidFill>
                  <a:srgbClr val="58595B"/>
                </a:solidFill>
              </a:rPr>
              <a:t>Stor ordrebeholdning med lang tidshorisont</a:t>
            </a:r>
          </a:p>
          <a:p>
            <a:pPr marL="133350" indent="-133350">
              <a:lnSpc>
                <a:spcPct val="113000"/>
              </a:lnSpc>
              <a:spcAft>
                <a:spcPts val="600"/>
              </a:spcAft>
              <a:buFont typeface="Symbol" panose="05050102010706020507" pitchFamily="18" charset="2"/>
              <a:buChar char=""/>
            </a:pPr>
            <a:r>
              <a:rPr lang="da-DK" sz="1700" dirty="0">
                <a:solidFill>
                  <a:srgbClr val="58595B"/>
                </a:solidFill>
              </a:rPr>
              <a:t>Bredt funderede kompetencer i byggeri, renovering, infrastruktur, og den grønne omstilling samt bæredygtighed</a:t>
            </a:r>
            <a:endParaRPr lang="da-DK" sz="1700" dirty="0">
              <a:solidFill>
                <a:srgbClr val="58595B"/>
              </a:solidFill>
              <a:highlight>
                <a:srgbClr val="FFFF00"/>
              </a:highlight>
            </a:endParaRPr>
          </a:p>
          <a:p>
            <a:pPr marL="133350" indent="-133350">
              <a:lnSpc>
                <a:spcPct val="113000"/>
              </a:lnSpc>
              <a:spcAft>
                <a:spcPts val="600"/>
              </a:spcAft>
              <a:buFont typeface="Symbol" panose="05050102010706020507" pitchFamily="18" charset="2"/>
              <a:buChar char=""/>
            </a:pPr>
            <a:r>
              <a:rPr lang="da-DK" sz="1700" dirty="0">
                <a:solidFill>
                  <a:srgbClr val="58595B"/>
                </a:solidFill>
              </a:rPr>
              <a:t>Udbygning inden for stabile områder som skades- og bygningsservice samt teknik</a:t>
            </a:r>
          </a:p>
          <a:p>
            <a:pPr algn="l"/>
            <a:r>
              <a:rPr lang="da-DK" sz="1800" b="0" i="0" u="none" strike="noStrike" baseline="0" dirty="0">
                <a:latin typeface="Graphik-Light"/>
              </a:rPr>
              <a:t> </a:t>
            </a:r>
            <a:endParaRPr lang="da-DK" sz="1700" dirty="0">
              <a:solidFill>
                <a:srgbClr val="58595B"/>
              </a:solidFill>
            </a:endParaRPr>
          </a:p>
        </p:txBody>
      </p:sp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C57AE8BC-BBAF-EC3E-476A-6E25772E866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3248622"/>
              </p:ext>
            </p:extLst>
          </p:nvPr>
        </p:nvGraphicFramePr>
        <p:xfrm>
          <a:off x="7476627" y="2137703"/>
          <a:ext cx="4740053" cy="30194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3" name="Lige forbindelse 12">
            <a:extLst>
              <a:ext uri="{FF2B5EF4-FFF2-40B4-BE49-F238E27FC236}">
                <a16:creationId xmlns:a16="http://schemas.microsoft.com/office/drawing/2014/main" id="{1572D94B-2C4A-29D7-3EE9-AFACBEC259C1}"/>
              </a:ext>
            </a:extLst>
          </p:cNvPr>
          <p:cNvCxnSpPr>
            <a:cxnSpLocks/>
          </p:cNvCxnSpPr>
          <p:nvPr/>
        </p:nvCxnSpPr>
        <p:spPr>
          <a:xfrm>
            <a:off x="4583832" y="2529100"/>
            <a:ext cx="0" cy="2196000"/>
          </a:xfrm>
          <a:prstGeom prst="line">
            <a:avLst/>
          </a:prstGeom>
          <a:ln w="28575">
            <a:solidFill>
              <a:schemeClr val="tx2"/>
            </a:solidFill>
            <a:miter lim="800000"/>
            <a:tailEnd type="none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Lige forbindelse 13">
            <a:extLst>
              <a:ext uri="{FF2B5EF4-FFF2-40B4-BE49-F238E27FC236}">
                <a16:creationId xmlns:a16="http://schemas.microsoft.com/office/drawing/2014/main" id="{99AE55CA-5087-ED3E-1F7C-0B47EA136B01}"/>
              </a:ext>
            </a:extLst>
          </p:cNvPr>
          <p:cNvCxnSpPr>
            <a:cxnSpLocks/>
          </p:cNvCxnSpPr>
          <p:nvPr/>
        </p:nvCxnSpPr>
        <p:spPr>
          <a:xfrm>
            <a:off x="7932204" y="2529100"/>
            <a:ext cx="3883" cy="2196000"/>
          </a:xfrm>
          <a:prstGeom prst="line">
            <a:avLst/>
          </a:prstGeom>
          <a:ln w="28575">
            <a:solidFill>
              <a:schemeClr val="tx2"/>
            </a:solidFill>
            <a:miter lim="800000"/>
            <a:tailEnd type="none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Billede 17">
            <a:extLst>
              <a:ext uri="{FF2B5EF4-FFF2-40B4-BE49-F238E27FC236}">
                <a16:creationId xmlns:a16="http://schemas.microsoft.com/office/drawing/2014/main" id="{47B5B1AD-B118-9AB7-CEA8-E0222A8DC1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03812" y="5606255"/>
            <a:ext cx="927094" cy="343025"/>
          </a:xfrm>
          <a:prstGeom prst="rect">
            <a:avLst/>
          </a:prstGeom>
        </p:spPr>
      </p:pic>
      <p:pic>
        <p:nvPicPr>
          <p:cNvPr id="20" name="Billede 19">
            <a:extLst>
              <a:ext uri="{FF2B5EF4-FFF2-40B4-BE49-F238E27FC236}">
                <a16:creationId xmlns:a16="http://schemas.microsoft.com/office/drawing/2014/main" id="{316DBF93-95A5-C206-EBF4-D97A568351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40216" y="5421278"/>
            <a:ext cx="649618" cy="672018"/>
          </a:xfrm>
          <a:prstGeom prst="rect">
            <a:avLst/>
          </a:prstGeom>
        </p:spPr>
      </p:pic>
      <p:pic>
        <p:nvPicPr>
          <p:cNvPr id="21" name="Billede 20">
            <a:extLst>
              <a:ext uri="{FF2B5EF4-FFF2-40B4-BE49-F238E27FC236}">
                <a16:creationId xmlns:a16="http://schemas.microsoft.com/office/drawing/2014/main" id="{3DCDA3F1-9558-8014-5665-00FE820EA9D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51884" y="6161729"/>
            <a:ext cx="1426709" cy="428013"/>
          </a:xfrm>
          <a:prstGeom prst="rect">
            <a:avLst/>
          </a:prstGeom>
        </p:spPr>
      </p:pic>
      <p:pic>
        <p:nvPicPr>
          <p:cNvPr id="23" name="Billede 22">
            <a:extLst>
              <a:ext uri="{FF2B5EF4-FFF2-40B4-BE49-F238E27FC236}">
                <a16:creationId xmlns:a16="http://schemas.microsoft.com/office/drawing/2014/main" id="{D84B4526-4F5D-E7CC-1B74-E8EBB0FE5F9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23992" y="5402491"/>
            <a:ext cx="1366668" cy="546667"/>
          </a:xfrm>
          <a:prstGeom prst="rect">
            <a:avLst/>
          </a:prstGeom>
        </p:spPr>
      </p:pic>
      <p:pic>
        <p:nvPicPr>
          <p:cNvPr id="25" name="Billede 24">
            <a:extLst>
              <a:ext uri="{FF2B5EF4-FFF2-40B4-BE49-F238E27FC236}">
                <a16:creationId xmlns:a16="http://schemas.microsoft.com/office/drawing/2014/main" id="{D0CA0F4D-C5D6-FD6C-6763-D7B403C4201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52084" y="6311489"/>
            <a:ext cx="1777804" cy="171355"/>
          </a:xfrm>
          <a:prstGeom prst="rect">
            <a:avLst/>
          </a:prstGeom>
        </p:spPr>
      </p:pic>
      <p:pic>
        <p:nvPicPr>
          <p:cNvPr id="26" name="Billede 25">
            <a:extLst>
              <a:ext uri="{FF2B5EF4-FFF2-40B4-BE49-F238E27FC236}">
                <a16:creationId xmlns:a16="http://schemas.microsoft.com/office/drawing/2014/main" id="{E3B4CD67-6783-EBF8-18CF-8C0614BF78F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973132" y="5970683"/>
            <a:ext cx="615256" cy="550355"/>
          </a:xfrm>
          <a:prstGeom prst="rect">
            <a:avLst/>
          </a:prstGeom>
        </p:spPr>
      </p:pic>
      <p:pic>
        <p:nvPicPr>
          <p:cNvPr id="27" name="Billede 26">
            <a:extLst>
              <a:ext uri="{FF2B5EF4-FFF2-40B4-BE49-F238E27FC236}">
                <a16:creationId xmlns:a16="http://schemas.microsoft.com/office/drawing/2014/main" id="{278BE18E-E842-2D98-ABA9-37FC6FA443A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844420" y="5592355"/>
            <a:ext cx="623576" cy="908543"/>
          </a:xfrm>
          <a:prstGeom prst="rect">
            <a:avLst/>
          </a:prstGeom>
        </p:spPr>
      </p:pic>
      <p:pic>
        <p:nvPicPr>
          <p:cNvPr id="28" name="Billede 27">
            <a:extLst>
              <a:ext uri="{FF2B5EF4-FFF2-40B4-BE49-F238E27FC236}">
                <a16:creationId xmlns:a16="http://schemas.microsoft.com/office/drawing/2014/main" id="{B2B6F6CB-E782-F3AD-1945-BE80C5763D4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552384" y="5608415"/>
            <a:ext cx="1008112" cy="375303"/>
          </a:xfrm>
          <a:prstGeom prst="rect">
            <a:avLst/>
          </a:prstGeom>
        </p:spPr>
      </p:pic>
      <p:sp>
        <p:nvSpPr>
          <p:cNvPr id="31" name="Rektangel 30">
            <a:extLst>
              <a:ext uri="{FF2B5EF4-FFF2-40B4-BE49-F238E27FC236}">
                <a16:creationId xmlns:a16="http://schemas.microsoft.com/office/drawing/2014/main" id="{29C326E9-2BA9-3927-DE91-BED1E2E8E9E4}"/>
              </a:ext>
            </a:extLst>
          </p:cNvPr>
          <p:cNvSpPr/>
          <p:nvPr/>
        </p:nvSpPr>
        <p:spPr>
          <a:xfrm>
            <a:off x="6010822" y="4869160"/>
            <a:ext cx="5017726" cy="22345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>
              <a:lnSpc>
                <a:spcPct val="113000"/>
              </a:lnSpc>
              <a:spcAft>
                <a:spcPts val="600"/>
              </a:spcAft>
            </a:pPr>
            <a:r>
              <a:rPr lang="da-DK" sz="1400" dirty="0">
                <a:solidFill>
                  <a:srgbClr val="58595B"/>
                </a:solidFill>
              </a:rPr>
              <a:t>Andele fra strategiske partnerskaber og samarbejder</a:t>
            </a:r>
          </a:p>
        </p:txBody>
      </p:sp>
      <p:sp>
        <p:nvSpPr>
          <p:cNvPr id="3" name="Venstre klammeparentes 2">
            <a:extLst>
              <a:ext uri="{FF2B5EF4-FFF2-40B4-BE49-F238E27FC236}">
                <a16:creationId xmlns:a16="http://schemas.microsoft.com/office/drawing/2014/main" id="{6C3C5290-A596-6744-74CB-8F0678E7DCA7}"/>
              </a:ext>
            </a:extLst>
          </p:cNvPr>
          <p:cNvSpPr/>
          <p:nvPr/>
        </p:nvSpPr>
        <p:spPr>
          <a:xfrm rot="5400000">
            <a:off x="7741415" y="1745689"/>
            <a:ext cx="388977" cy="7064184"/>
          </a:xfrm>
          <a:prstGeom prst="leftBrac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 dirty="0"/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AF63A0D9-F811-CC06-993F-0E167B9FDB3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11911825"/>
              </p:ext>
            </p:extLst>
          </p:nvPr>
        </p:nvGraphicFramePr>
        <p:xfrm>
          <a:off x="3720095" y="2132427"/>
          <a:ext cx="4740053" cy="30194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17527619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1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3000" b="1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Opdatering af forventninger til 2022 </a:t>
            </a:r>
            <a:endParaRPr lang="da-DK" dirty="0">
              <a:solidFill>
                <a:srgbClr val="FF0000"/>
              </a:solidFill>
            </a:endParaRPr>
          </a:p>
        </p:txBody>
      </p:sp>
      <p:sp>
        <p:nvSpPr>
          <p:cNvPr id="47" name="Tekstboks 46"/>
          <p:cNvSpPr txBox="1"/>
          <p:nvPr/>
        </p:nvSpPr>
        <p:spPr>
          <a:xfrm>
            <a:off x="4115780" y="2231830"/>
            <a:ext cx="3708412" cy="2250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indent="0" algn="ctr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400" b="1" dirty="0">
                <a:solidFill>
                  <a:srgbClr val="58595B"/>
                </a:solidFill>
                <a:latin typeface="Arial"/>
              </a:rPr>
              <a:t>Tidligere forventninger</a:t>
            </a:r>
          </a:p>
        </p:txBody>
      </p:sp>
      <p:sp>
        <p:nvSpPr>
          <p:cNvPr id="64" name="Tekstboks 35">
            <a:extLst>
              <a:ext uri="{FF2B5EF4-FFF2-40B4-BE49-F238E27FC236}">
                <a16:creationId xmlns:a16="http://schemas.microsoft.com/office/drawing/2014/main" id="{AC77F1DD-7892-46B9-8EA2-F562ABA58625}"/>
              </a:ext>
            </a:extLst>
          </p:cNvPr>
          <p:cNvSpPr txBox="1"/>
          <p:nvPr/>
        </p:nvSpPr>
        <p:spPr>
          <a:xfrm>
            <a:off x="4567826" y="2996108"/>
            <a:ext cx="1132130" cy="59535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5600" b="0" i="0" u="none" strike="noStrike" kern="1200" cap="none" spc="0" normalizeH="0" baseline="0" noProof="0" dirty="0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8,0-8,2</a:t>
            </a:r>
          </a:p>
        </p:txBody>
      </p:sp>
      <p:sp>
        <p:nvSpPr>
          <p:cNvPr id="65" name="Tekstboks 27">
            <a:extLst>
              <a:ext uri="{FF2B5EF4-FFF2-40B4-BE49-F238E27FC236}">
                <a16:creationId xmlns:a16="http://schemas.microsoft.com/office/drawing/2014/main" id="{B8755CEC-3022-40EE-A936-72D3789B0C5D}"/>
              </a:ext>
            </a:extLst>
          </p:cNvPr>
          <p:cNvSpPr txBox="1"/>
          <p:nvPr/>
        </p:nvSpPr>
        <p:spPr>
          <a:xfrm>
            <a:off x="7247491" y="3383114"/>
            <a:ext cx="792725" cy="2250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a. kr.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AFB0241-4D58-4EB5-8675-F9CFD55F9A0A}"/>
              </a:ext>
            </a:extLst>
          </p:cNvPr>
          <p:cNvSpPr/>
          <p:nvPr/>
        </p:nvSpPr>
        <p:spPr>
          <a:xfrm>
            <a:off x="675630" y="5292888"/>
            <a:ext cx="11325680" cy="10164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33200" indent="-133200">
              <a:lnSpc>
                <a:spcPct val="113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a-DK" sz="1700" dirty="0">
                <a:solidFill>
                  <a:srgbClr val="58595B"/>
                </a:solidFill>
              </a:rPr>
              <a:t>18% vækst i omsætningen og en vækst i indtjeningen på 20%-34% i forhold til 2021</a:t>
            </a:r>
          </a:p>
          <a:p>
            <a:pPr marL="133200" indent="-133200">
              <a:lnSpc>
                <a:spcPct val="113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a-DK" sz="1700" dirty="0">
                <a:solidFill>
                  <a:srgbClr val="58595B"/>
                </a:solidFill>
              </a:rPr>
              <a:t>Større aktivitet og bedre kapacitetsudnyttelse</a:t>
            </a:r>
          </a:p>
          <a:p>
            <a:pPr marL="133200" indent="-133200">
              <a:lnSpc>
                <a:spcPct val="113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da-DK" sz="1700" dirty="0">
                <a:solidFill>
                  <a:srgbClr val="58595B"/>
                </a:solidFill>
              </a:rPr>
              <a:t>Utilfredsstillende resultater i Scandi Byg og MT Højgaard International samt negativ effekt af prisstigninger</a:t>
            </a:r>
          </a:p>
        </p:txBody>
      </p:sp>
      <p:cxnSp>
        <p:nvCxnSpPr>
          <p:cNvPr id="20" name="Lige forbindelse 19">
            <a:extLst>
              <a:ext uri="{FF2B5EF4-FFF2-40B4-BE49-F238E27FC236}">
                <a16:creationId xmlns:a16="http://schemas.microsoft.com/office/drawing/2014/main" id="{8AF9C039-BF2D-46BF-9BEA-A4C0D4552A56}"/>
              </a:ext>
            </a:extLst>
          </p:cNvPr>
          <p:cNvCxnSpPr>
            <a:cxnSpLocks/>
          </p:cNvCxnSpPr>
          <p:nvPr/>
        </p:nvCxnSpPr>
        <p:spPr>
          <a:xfrm>
            <a:off x="7968208" y="2588048"/>
            <a:ext cx="0" cy="2448000"/>
          </a:xfrm>
          <a:prstGeom prst="line">
            <a:avLst/>
          </a:prstGeom>
          <a:ln w="28575">
            <a:solidFill>
              <a:schemeClr val="tx2"/>
            </a:solidFill>
            <a:miter lim="800000"/>
            <a:tailEnd type="none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kstboks 35">
            <a:extLst>
              <a:ext uri="{FF2B5EF4-FFF2-40B4-BE49-F238E27FC236}">
                <a16:creationId xmlns:a16="http://schemas.microsoft.com/office/drawing/2014/main" id="{2ACD4E10-9C1C-4C32-8572-F80C2864098F}"/>
              </a:ext>
            </a:extLst>
          </p:cNvPr>
          <p:cNvSpPr txBox="1"/>
          <p:nvPr/>
        </p:nvSpPr>
        <p:spPr>
          <a:xfrm>
            <a:off x="6030540" y="3803702"/>
            <a:ext cx="1165578" cy="63256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5600" b="0" i="0" u="none" strike="noStrike" kern="1200" cap="none" spc="0" normalizeH="0" baseline="0" noProof="0" dirty="0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250-275</a:t>
            </a:r>
          </a:p>
        </p:txBody>
      </p:sp>
      <p:sp>
        <p:nvSpPr>
          <p:cNvPr id="25" name="Tekstboks 27">
            <a:extLst>
              <a:ext uri="{FF2B5EF4-FFF2-40B4-BE49-F238E27FC236}">
                <a16:creationId xmlns:a16="http://schemas.microsoft.com/office/drawing/2014/main" id="{8F089D9C-03F7-4F89-8855-14271CCC8BE2}"/>
              </a:ext>
            </a:extLst>
          </p:cNvPr>
          <p:cNvSpPr txBox="1"/>
          <p:nvPr/>
        </p:nvSpPr>
        <p:spPr>
          <a:xfrm>
            <a:off x="7224071" y="4175202"/>
            <a:ext cx="816145" cy="2250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o. kr.</a:t>
            </a:r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E0A5CDB1-9991-4362-B18C-8CCA352427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4613" y="403550"/>
            <a:ext cx="342899" cy="146519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da-DK" smtClean="0"/>
              <a:pPr>
                <a:spcAft>
                  <a:spcPts val="600"/>
                </a:spcAft>
              </a:pPr>
              <a:t>12</a:t>
            </a:fld>
            <a:endParaRPr lang="da-DK" dirty="0"/>
          </a:p>
        </p:txBody>
      </p:sp>
      <p:sp>
        <p:nvSpPr>
          <p:cNvPr id="19" name="Rektangel 18">
            <a:extLst>
              <a:ext uri="{FF2B5EF4-FFF2-40B4-BE49-F238E27FC236}">
                <a16:creationId xmlns:a16="http://schemas.microsoft.com/office/drawing/2014/main" id="{1726D3F0-B2B3-466C-8C8C-3ACE744B938C}"/>
              </a:ext>
            </a:extLst>
          </p:cNvPr>
          <p:cNvSpPr/>
          <p:nvPr/>
        </p:nvSpPr>
        <p:spPr>
          <a:xfrm>
            <a:off x="695353" y="6489340"/>
            <a:ext cx="11152159" cy="1595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kumimoji="0" lang="en-US" sz="1000" b="0" i="1" u="none" strike="noStrike" kern="1200" cap="none" spc="0" normalizeH="0" baseline="0" noProof="0" dirty="0" err="1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ftsresultat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r </a:t>
            </a:r>
            <a:r>
              <a:rPr kumimoji="0" lang="en-US" sz="1000" b="0" i="1" u="none" strike="noStrike" kern="1200" cap="none" spc="0" normalizeH="0" baseline="0" noProof="0" dirty="0" err="1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givet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000" b="0" i="1" u="none" strike="noStrike" kern="1200" cap="none" spc="0" normalizeH="0" baseline="0" noProof="0" dirty="0" err="1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ør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000" b="0" i="1" u="none" strike="noStrike" kern="1200" cap="none" spc="0" normalizeH="0" baseline="0" noProof="0" dirty="0" err="1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ærlige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oster og </a:t>
            </a:r>
            <a:r>
              <a:rPr kumimoji="0" lang="en-US" sz="1000" b="0" i="1" u="none" strike="noStrike" kern="1200" cap="none" spc="0" normalizeH="0" baseline="0" noProof="0" dirty="0" err="1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ærlige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000" b="0" i="1" u="none" strike="noStrike" kern="1200" cap="none" spc="0" normalizeH="0" baseline="0" noProof="0" dirty="0" err="1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fskrivninger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PPA-</a:t>
            </a:r>
            <a:r>
              <a:rPr kumimoji="0" lang="en-US" sz="1000" b="0" i="1" u="none" strike="noStrike" kern="1200" cap="none" spc="0" normalizeH="0" baseline="0" noProof="0" dirty="0" err="1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fskrivninger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. </a:t>
            </a:r>
            <a:endParaRPr lang="da-DK" sz="1000" dirty="0"/>
          </a:p>
        </p:txBody>
      </p:sp>
      <p:sp>
        <p:nvSpPr>
          <p:cNvPr id="26" name="Tekstboks 46">
            <a:extLst>
              <a:ext uri="{FF2B5EF4-FFF2-40B4-BE49-F238E27FC236}">
                <a16:creationId xmlns:a16="http://schemas.microsoft.com/office/drawing/2014/main" id="{E5A2EADA-2A79-4721-94A3-49880FCA7D4D}"/>
              </a:ext>
            </a:extLst>
          </p:cNvPr>
          <p:cNvSpPr txBox="1"/>
          <p:nvPr/>
        </p:nvSpPr>
        <p:spPr>
          <a:xfrm>
            <a:off x="8157753" y="2231830"/>
            <a:ext cx="3833775" cy="2250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  <a:defRPr/>
            </a:pPr>
            <a:r>
              <a:rPr lang="da-DK" sz="1400" b="1" dirty="0">
                <a:solidFill>
                  <a:srgbClr val="58595B"/>
                </a:solidFill>
                <a:latin typeface="Arial"/>
              </a:rPr>
              <a:t>Opdaterede forventninger</a:t>
            </a:r>
          </a:p>
        </p:txBody>
      </p:sp>
      <p:sp>
        <p:nvSpPr>
          <p:cNvPr id="27" name="Tekstboks 46">
            <a:extLst>
              <a:ext uri="{FF2B5EF4-FFF2-40B4-BE49-F238E27FC236}">
                <a16:creationId xmlns:a16="http://schemas.microsoft.com/office/drawing/2014/main" id="{ECF5FF96-0FCD-411B-BE71-2E317A5E1935}"/>
              </a:ext>
            </a:extLst>
          </p:cNvPr>
          <p:cNvSpPr txBox="1"/>
          <p:nvPr/>
        </p:nvSpPr>
        <p:spPr>
          <a:xfrm>
            <a:off x="263352" y="3347110"/>
            <a:ext cx="1080120" cy="2250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msætning</a:t>
            </a:r>
          </a:p>
        </p:txBody>
      </p:sp>
      <p:sp>
        <p:nvSpPr>
          <p:cNvPr id="28" name="Tekstboks 46">
            <a:extLst>
              <a:ext uri="{FF2B5EF4-FFF2-40B4-BE49-F238E27FC236}">
                <a16:creationId xmlns:a16="http://schemas.microsoft.com/office/drawing/2014/main" id="{D949B9D6-EFB4-4B44-99E7-67D35278CA85}"/>
              </a:ext>
            </a:extLst>
          </p:cNvPr>
          <p:cNvSpPr txBox="1"/>
          <p:nvPr/>
        </p:nvSpPr>
        <p:spPr>
          <a:xfrm>
            <a:off x="263352" y="4194609"/>
            <a:ext cx="1165578" cy="2250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ftsresultat</a:t>
            </a:r>
          </a:p>
        </p:txBody>
      </p:sp>
      <p:sp>
        <p:nvSpPr>
          <p:cNvPr id="32" name="Tekstboks 35">
            <a:extLst>
              <a:ext uri="{FF2B5EF4-FFF2-40B4-BE49-F238E27FC236}">
                <a16:creationId xmlns:a16="http://schemas.microsoft.com/office/drawing/2014/main" id="{2359E84D-02C5-4590-BE1A-DAD5BB115731}"/>
              </a:ext>
            </a:extLst>
          </p:cNvPr>
          <p:cNvSpPr txBox="1"/>
          <p:nvPr/>
        </p:nvSpPr>
        <p:spPr>
          <a:xfrm>
            <a:off x="8157753" y="3803702"/>
            <a:ext cx="1165578" cy="63256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5600" b="0" i="0" u="none" strike="noStrike" kern="1200" cap="none" spc="0" normalizeH="0" baseline="0" noProof="0" dirty="0">
                <a:ln>
                  <a:noFill/>
                </a:ln>
                <a:solidFill>
                  <a:srgbClr val="009E8E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215-240</a:t>
            </a:r>
          </a:p>
        </p:txBody>
      </p:sp>
      <p:sp>
        <p:nvSpPr>
          <p:cNvPr id="33" name="Tekstboks 27">
            <a:extLst>
              <a:ext uri="{FF2B5EF4-FFF2-40B4-BE49-F238E27FC236}">
                <a16:creationId xmlns:a16="http://schemas.microsoft.com/office/drawing/2014/main" id="{A795CC50-EEC1-4390-8D30-29E25CF3166A}"/>
              </a:ext>
            </a:extLst>
          </p:cNvPr>
          <p:cNvSpPr txBox="1"/>
          <p:nvPr/>
        </p:nvSpPr>
        <p:spPr>
          <a:xfrm>
            <a:off x="11364531" y="4175202"/>
            <a:ext cx="816145" cy="2250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009E8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o. kr.</a:t>
            </a:r>
          </a:p>
        </p:txBody>
      </p:sp>
      <p:sp>
        <p:nvSpPr>
          <p:cNvPr id="38" name="Tekstboks 27">
            <a:extLst>
              <a:ext uri="{FF2B5EF4-FFF2-40B4-BE49-F238E27FC236}">
                <a16:creationId xmlns:a16="http://schemas.microsoft.com/office/drawing/2014/main" id="{170467D7-7F30-47EA-875B-07669C05242A}"/>
              </a:ext>
            </a:extLst>
          </p:cNvPr>
          <p:cNvSpPr txBox="1"/>
          <p:nvPr/>
        </p:nvSpPr>
        <p:spPr>
          <a:xfrm>
            <a:off x="11315077" y="3383114"/>
            <a:ext cx="816145" cy="2250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009E8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a. kr.</a:t>
            </a:r>
          </a:p>
        </p:txBody>
      </p:sp>
      <p:sp>
        <p:nvSpPr>
          <p:cNvPr id="31" name="Tekstboks 35">
            <a:extLst>
              <a:ext uri="{FF2B5EF4-FFF2-40B4-BE49-F238E27FC236}">
                <a16:creationId xmlns:a16="http://schemas.microsoft.com/office/drawing/2014/main" id="{77FFC2FC-BD83-494A-9FB9-65C9FA9FF78B}"/>
              </a:ext>
            </a:extLst>
          </p:cNvPr>
          <p:cNvSpPr txBox="1"/>
          <p:nvPr/>
        </p:nvSpPr>
        <p:spPr>
          <a:xfrm>
            <a:off x="9480376" y="3012820"/>
            <a:ext cx="1692188" cy="59535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5600" b="0" i="0" u="none" strike="noStrike" kern="1200" cap="none" spc="0" normalizeH="0" baseline="0" noProof="0" dirty="0">
                <a:ln>
                  <a:noFill/>
                </a:ln>
                <a:solidFill>
                  <a:srgbClr val="009E8E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~8,5</a:t>
            </a:r>
          </a:p>
        </p:txBody>
      </p:sp>
      <p:cxnSp>
        <p:nvCxnSpPr>
          <p:cNvPr id="23" name="Lige forbindelse 22">
            <a:extLst>
              <a:ext uri="{FF2B5EF4-FFF2-40B4-BE49-F238E27FC236}">
                <a16:creationId xmlns:a16="http://schemas.microsoft.com/office/drawing/2014/main" id="{120123FF-F79B-4CE2-B074-208B50AF46F4}"/>
              </a:ext>
            </a:extLst>
          </p:cNvPr>
          <p:cNvCxnSpPr>
            <a:cxnSpLocks/>
          </p:cNvCxnSpPr>
          <p:nvPr/>
        </p:nvCxnSpPr>
        <p:spPr>
          <a:xfrm>
            <a:off x="3899756" y="2568779"/>
            <a:ext cx="0" cy="2448000"/>
          </a:xfrm>
          <a:prstGeom prst="line">
            <a:avLst/>
          </a:prstGeom>
          <a:ln w="28575">
            <a:solidFill>
              <a:schemeClr val="tx2"/>
            </a:solidFill>
            <a:miter lim="800000"/>
            <a:tailEnd type="none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kstboks 35">
            <a:extLst>
              <a:ext uri="{FF2B5EF4-FFF2-40B4-BE49-F238E27FC236}">
                <a16:creationId xmlns:a16="http://schemas.microsoft.com/office/drawing/2014/main" id="{D83ECB6E-A175-4FC9-8C2F-93D68D9130D1}"/>
              </a:ext>
            </a:extLst>
          </p:cNvPr>
          <p:cNvSpPr txBox="1"/>
          <p:nvPr/>
        </p:nvSpPr>
        <p:spPr>
          <a:xfrm>
            <a:off x="1831522" y="2996952"/>
            <a:ext cx="1132130" cy="59535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5600" dirty="0">
                <a:latin typeface="Arial Black" panose="020B0A04020102020204" pitchFamily="34" charset="0"/>
              </a:rPr>
              <a:t>7</a:t>
            </a:r>
            <a:r>
              <a:rPr kumimoji="0" lang="da-DK" sz="5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,2</a:t>
            </a:r>
          </a:p>
        </p:txBody>
      </p:sp>
      <p:sp>
        <p:nvSpPr>
          <p:cNvPr id="34" name="Tekstboks 27">
            <a:extLst>
              <a:ext uri="{FF2B5EF4-FFF2-40B4-BE49-F238E27FC236}">
                <a16:creationId xmlns:a16="http://schemas.microsoft.com/office/drawing/2014/main" id="{8EC9E419-DE5D-42CC-9B93-CBAC8C4640B9}"/>
              </a:ext>
            </a:extLst>
          </p:cNvPr>
          <p:cNvSpPr txBox="1"/>
          <p:nvPr/>
        </p:nvSpPr>
        <p:spPr>
          <a:xfrm>
            <a:off x="3143672" y="3387833"/>
            <a:ext cx="792725" cy="2250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mia. kr.</a:t>
            </a:r>
          </a:p>
        </p:txBody>
      </p:sp>
      <p:sp>
        <p:nvSpPr>
          <p:cNvPr id="35" name="Tekstboks 35">
            <a:extLst>
              <a:ext uri="{FF2B5EF4-FFF2-40B4-BE49-F238E27FC236}">
                <a16:creationId xmlns:a16="http://schemas.microsoft.com/office/drawing/2014/main" id="{6EFF9D47-CEE1-4E2C-8FCB-4522EA3567C7}"/>
              </a:ext>
            </a:extLst>
          </p:cNvPr>
          <p:cNvSpPr txBox="1"/>
          <p:nvPr/>
        </p:nvSpPr>
        <p:spPr>
          <a:xfrm>
            <a:off x="1961456" y="3809610"/>
            <a:ext cx="1165578" cy="63256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5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179</a:t>
            </a:r>
          </a:p>
        </p:txBody>
      </p:sp>
      <p:sp>
        <p:nvSpPr>
          <p:cNvPr id="36" name="Tekstboks 27">
            <a:extLst>
              <a:ext uri="{FF2B5EF4-FFF2-40B4-BE49-F238E27FC236}">
                <a16:creationId xmlns:a16="http://schemas.microsoft.com/office/drawing/2014/main" id="{836820F8-2C83-4970-BA44-A8527483FC13}"/>
              </a:ext>
            </a:extLst>
          </p:cNvPr>
          <p:cNvSpPr txBox="1"/>
          <p:nvPr/>
        </p:nvSpPr>
        <p:spPr>
          <a:xfrm>
            <a:off x="3156256" y="4176046"/>
            <a:ext cx="816145" cy="2250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mio. kr.</a:t>
            </a:r>
          </a:p>
        </p:txBody>
      </p:sp>
      <p:sp>
        <p:nvSpPr>
          <p:cNvPr id="37" name="Tekstboks 46">
            <a:extLst>
              <a:ext uri="{FF2B5EF4-FFF2-40B4-BE49-F238E27FC236}">
                <a16:creationId xmlns:a16="http://schemas.microsoft.com/office/drawing/2014/main" id="{F7735FD2-C6DF-4012-B027-5BDD4CD76191}"/>
              </a:ext>
            </a:extLst>
          </p:cNvPr>
          <p:cNvSpPr txBox="1"/>
          <p:nvPr/>
        </p:nvSpPr>
        <p:spPr>
          <a:xfrm>
            <a:off x="1595500" y="2231698"/>
            <a:ext cx="2160240" cy="2250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lvl="0" indent="0" algn="ctr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400" b="1" dirty="0">
                <a:solidFill>
                  <a:srgbClr val="58595B"/>
                </a:solidFill>
                <a:latin typeface="Arial"/>
              </a:rPr>
              <a:t>2021</a:t>
            </a:r>
          </a:p>
        </p:txBody>
      </p:sp>
    </p:spTree>
    <p:extLst>
      <p:ext uri="{BB962C8B-B14F-4D97-AF65-F5344CB8AC3E}">
        <p14:creationId xmlns:p14="http://schemas.microsoft.com/office/powerpoint/2010/main" val="2943230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ladsholder til billede 21">
            <a:extLst>
              <a:ext uri="{FF2B5EF4-FFF2-40B4-BE49-F238E27FC236}">
                <a16:creationId xmlns:a16="http://schemas.microsoft.com/office/drawing/2014/main" id="{403A11F7-48C0-4804-858E-CA9A03B5F9C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825" b="14825"/>
          <a:stretch>
            <a:fillRect/>
          </a:stretch>
        </p:blipFill>
        <p:spPr/>
      </p:pic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DA5FDE6A-4800-4C2D-B40D-072A8171501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6993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5"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DA5FDE6A-4800-4C2D-B40D-072A817150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ktangel 10" hidden="1">
            <a:extLst>
              <a:ext uri="{FF2B5EF4-FFF2-40B4-BE49-F238E27FC236}">
                <a16:creationId xmlns:a16="http://schemas.microsoft.com/office/drawing/2014/main" id="{B0A6FF2A-6C98-4DC6-BD00-186897D83C6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14000"/>
              </a:lnSpc>
            </a:pPr>
            <a:endParaRPr lang="da-DK" sz="4100" b="1" noProof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-13862" y="5311707"/>
            <a:ext cx="12204441" cy="1448351"/>
          </a:xfrm>
        </p:spPr>
        <p:txBody>
          <a:bodyPr vert="horz"/>
          <a:lstStyle/>
          <a:p>
            <a:pPr>
              <a:spcBef>
                <a:spcPts val="1200"/>
              </a:spcBef>
            </a:pPr>
            <a:r>
              <a:rPr lang="da-DK" dirty="0"/>
              <a:t>Spørgsmål og svar</a:t>
            </a:r>
            <a:br>
              <a:rPr lang="da-DK" sz="1000" dirty="0"/>
            </a:br>
            <a:endParaRPr lang="da-DK" sz="2400" dirty="0"/>
          </a:p>
        </p:txBody>
      </p:sp>
      <p:sp>
        <p:nvSpPr>
          <p:cNvPr id="10" name="Subtitle 9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a-DK"/>
              <a:t> </a:t>
            </a:r>
            <a:endParaRPr lang="da-DK" dirty="0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AE8D1BA0-6A9F-4C6B-B56E-EEC17847F02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709748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04857B1-A95E-41BF-8CF4-1DEBBF7FBC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9" name="think-cell Slide" r:id="rId5" imgW="359" imgH="360" progId="TCLayout.ActiveDocument.1">
                  <p:embed/>
                </p:oleObj>
              </mc:Choice>
              <mc:Fallback>
                <p:oleObj name="think-cell Slide" r:id="rId5" imgW="359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04857B1-A95E-41BF-8CF4-1DEBBF7FBC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>
            <a:extLst>
              <a:ext uri="{FF2B5EF4-FFF2-40B4-BE49-F238E27FC236}">
                <a16:creationId xmlns:a16="http://schemas.microsoft.com/office/drawing/2014/main" id="{746128B0-67D1-4EB3-A996-40D21B6FE8E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a-DK" sz="4000" noProof="0" err="1"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38A7105-37B5-4AB6-B50E-5AFB8BF69837}"/>
              </a:ext>
            </a:extLst>
          </p:cNvPr>
          <p:cNvSpPr/>
          <p:nvPr/>
        </p:nvSpPr>
        <p:spPr>
          <a:xfrm>
            <a:off x="8916988" y="44624"/>
            <a:ext cx="3275012" cy="68133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noProof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65785A9-793E-4F46-BFA9-BFCC3A9D54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031" y="1295921"/>
            <a:ext cx="7769225" cy="1196975"/>
          </a:xfrm>
        </p:spPr>
        <p:txBody>
          <a:bodyPr/>
          <a:lstStyle/>
          <a:p>
            <a:r>
              <a:rPr lang="da-DK" dirty="0">
                <a:solidFill>
                  <a:schemeClr val="accent2"/>
                </a:solidFill>
              </a:rPr>
              <a:t>Hoved- og nøgletal</a:t>
            </a:r>
            <a:endParaRPr lang="da-DK" b="0" dirty="0">
              <a:solidFill>
                <a:schemeClr val="accent2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D9AD1B-AB54-5C4A-96C0-B4F9C2D7EE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da-DK" smtClean="0"/>
              <a:pPr/>
              <a:t>14</a:t>
            </a:fld>
            <a:endParaRPr lang="da-DK"/>
          </a:p>
        </p:txBody>
      </p:sp>
      <p:graphicFrame>
        <p:nvGraphicFramePr>
          <p:cNvPr id="15" name="Table 11">
            <a:extLst>
              <a:ext uri="{FF2B5EF4-FFF2-40B4-BE49-F238E27FC236}">
                <a16:creationId xmlns:a16="http://schemas.microsoft.com/office/drawing/2014/main" id="{6E113CC9-2FB1-8047-92FC-5E0D958AE24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8462335"/>
              </p:ext>
            </p:extLst>
          </p:nvPr>
        </p:nvGraphicFramePr>
        <p:xfrm>
          <a:off x="646532" y="5138389"/>
          <a:ext cx="7753723" cy="1098923"/>
        </p:xfrm>
        <a:graphic>
          <a:graphicData uri="http://schemas.openxmlformats.org/drawingml/2006/table">
            <a:tbl>
              <a:tblPr bandCol="1">
                <a:tableStyleId>{7DF18680-E054-41AD-8BC1-D1AEF772440D}</a:tableStyleId>
              </a:tblPr>
              <a:tblGrid>
                <a:gridCol w="4521380">
                  <a:extLst>
                    <a:ext uri="{9D8B030D-6E8A-4147-A177-3AD203B41FA5}">
                      <a16:colId xmlns:a16="http://schemas.microsoft.com/office/drawing/2014/main" val="2362714525"/>
                    </a:ext>
                  </a:extLst>
                </a:gridCol>
                <a:gridCol w="1664480">
                  <a:extLst>
                    <a:ext uri="{9D8B030D-6E8A-4147-A177-3AD203B41FA5}">
                      <a16:colId xmlns:a16="http://schemas.microsoft.com/office/drawing/2014/main" val="245228053"/>
                    </a:ext>
                  </a:extLst>
                </a:gridCol>
                <a:gridCol w="1567863">
                  <a:extLst>
                    <a:ext uri="{9D8B030D-6E8A-4147-A177-3AD203B41FA5}">
                      <a16:colId xmlns:a16="http://schemas.microsoft.com/office/drawing/2014/main" val="2937145222"/>
                    </a:ext>
                  </a:extLst>
                </a:gridCol>
              </a:tblGrid>
              <a:tr h="288923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engestrømsopgørelse </a:t>
                      </a:r>
                    </a:p>
                  </a:txBody>
                  <a:tcPr marL="76960" marR="76960" marT="0" marB="0" anchor="ctr"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a-DK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a:txBody>
                  <a:tcPr marL="76960" marR="76960" marT="0" marB="0" anchor="ctr"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a-DK" sz="15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Segoe UI"/>
                        <a:ea typeface="+mn-ea"/>
                        <a:cs typeface="+mn-cs"/>
                      </a:endParaRPr>
                    </a:p>
                  </a:txBody>
                  <a:tcPr marL="76960" marR="76960" marT="0" marB="0" anchor="ctr"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4823625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engestrøm fra driften</a:t>
                      </a:r>
                    </a:p>
                  </a:txBody>
                  <a:tcPr marL="76960" marR="7696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113</a:t>
                      </a:r>
                    </a:p>
                  </a:txBody>
                  <a:tcPr marL="76960" marR="7696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E7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6</a:t>
                      </a:r>
                    </a:p>
                  </a:txBody>
                  <a:tcPr marL="76960" marR="7696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895196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engestrøm til investeringer, netto</a:t>
                      </a:r>
                    </a:p>
                  </a:txBody>
                  <a:tcPr marL="76960" marR="7696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21</a:t>
                      </a:r>
                    </a:p>
                  </a:txBody>
                  <a:tcPr marL="76960" marR="7696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E7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69</a:t>
                      </a:r>
                    </a:p>
                  </a:txBody>
                  <a:tcPr marL="76960" marR="7696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5810263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engestrømme fra finansiering  </a:t>
                      </a:r>
                    </a:p>
                  </a:txBody>
                  <a:tcPr marL="76960" marR="7696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5</a:t>
                      </a:r>
                    </a:p>
                  </a:txBody>
                  <a:tcPr marL="76960" marR="7696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E7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79</a:t>
                      </a:r>
                    </a:p>
                  </a:txBody>
                  <a:tcPr marL="76960" marR="7696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5945614"/>
                  </a:ext>
                </a:extLst>
              </a:tr>
            </a:tbl>
          </a:graphicData>
        </a:graphic>
      </p:graphicFrame>
      <p:sp>
        <p:nvSpPr>
          <p:cNvPr id="17" name="Rektangel 27">
            <a:extLst>
              <a:ext uri="{FF2B5EF4-FFF2-40B4-BE49-F238E27FC236}">
                <a16:creationId xmlns:a16="http://schemas.microsoft.com/office/drawing/2014/main" id="{4466C36C-9C7D-FE41-A41C-DA1B30F7C64F}"/>
              </a:ext>
            </a:extLst>
          </p:cNvPr>
          <p:cNvSpPr/>
          <p:nvPr/>
        </p:nvSpPr>
        <p:spPr>
          <a:xfrm>
            <a:off x="5308419" y="2153306"/>
            <a:ext cx="533238" cy="1977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9" name="Rektangel 31">
            <a:extLst>
              <a:ext uri="{FF2B5EF4-FFF2-40B4-BE49-F238E27FC236}">
                <a16:creationId xmlns:a16="http://schemas.microsoft.com/office/drawing/2014/main" id="{207EC438-2959-E74D-A34F-AA30F1E32B1E}"/>
              </a:ext>
            </a:extLst>
          </p:cNvPr>
          <p:cNvSpPr/>
          <p:nvPr/>
        </p:nvSpPr>
        <p:spPr>
          <a:xfrm>
            <a:off x="4227967" y="2115287"/>
            <a:ext cx="586562" cy="1977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schemeClr val="tx1"/>
              </a:solidFill>
            </a:endParaRPr>
          </a:p>
        </p:txBody>
      </p:sp>
      <p:graphicFrame>
        <p:nvGraphicFramePr>
          <p:cNvPr id="20" name="Table 11">
            <a:extLst>
              <a:ext uri="{FF2B5EF4-FFF2-40B4-BE49-F238E27FC236}">
                <a16:creationId xmlns:a16="http://schemas.microsoft.com/office/drawing/2014/main" id="{803C1646-403C-6B49-AEEE-8E6B629288A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08395697"/>
              </p:ext>
            </p:extLst>
          </p:nvPr>
        </p:nvGraphicFramePr>
        <p:xfrm>
          <a:off x="646532" y="2036093"/>
          <a:ext cx="7753723" cy="2725055"/>
        </p:xfrm>
        <a:graphic>
          <a:graphicData uri="http://schemas.openxmlformats.org/drawingml/2006/table">
            <a:tbl>
              <a:tblPr bandCol="1">
                <a:tableStyleId>{7DF18680-E054-41AD-8BC1-D1AEF772440D}</a:tableStyleId>
              </a:tblPr>
              <a:tblGrid>
                <a:gridCol w="4500841">
                  <a:extLst>
                    <a:ext uri="{9D8B030D-6E8A-4147-A177-3AD203B41FA5}">
                      <a16:colId xmlns:a16="http://schemas.microsoft.com/office/drawing/2014/main" val="2362714525"/>
                    </a:ext>
                  </a:extLst>
                </a:gridCol>
                <a:gridCol w="1675056">
                  <a:extLst>
                    <a:ext uri="{9D8B030D-6E8A-4147-A177-3AD203B41FA5}">
                      <a16:colId xmlns:a16="http://schemas.microsoft.com/office/drawing/2014/main" val="3713261334"/>
                    </a:ext>
                  </a:extLst>
                </a:gridCol>
                <a:gridCol w="1577826">
                  <a:extLst>
                    <a:ext uri="{9D8B030D-6E8A-4147-A177-3AD203B41FA5}">
                      <a16:colId xmlns:a16="http://schemas.microsoft.com/office/drawing/2014/main" val="651737527"/>
                    </a:ext>
                  </a:extLst>
                </a:gridCol>
              </a:tblGrid>
              <a:tr h="295055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sultater (mio. kr.)</a:t>
                      </a:r>
                    </a:p>
                  </a:txBody>
                  <a:tcPr marL="76957" marR="76957" marT="0" marB="0" anchor="ctr"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  H1 2022</a:t>
                      </a:r>
                    </a:p>
                  </a:txBody>
                  <a:tcPr marL="76957" marR="76957" marT="0" marB="0" anchor="ctr"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1 2021</a:t>
                      </a:r>
                    </a:p>
                  </a:txBody>
                  <a:tcPr marL="76957" marR="76957" marT="0" marB="0" anchor="ctr"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4823625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msætning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4.102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E7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.213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8951967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ruttoresultat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90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E7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20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6065203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riftsresultat*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2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E7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3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6281296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ærlige poster og særlige afskrivninger 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15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E7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15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6894805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imær drift (EBIT)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77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E7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9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5828501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inansielle poster, netto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33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E7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15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5945614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sultat af fortsættende aktiviteter før skat  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44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E7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61096122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sultat af ophørte aktiviteter efter skat  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E7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3741666"/>
                  </a:ext>
                </a:extLst>
              </a:tr>
              <a:tr h="27000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eriodens resultat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4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E7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595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9866576"/>
                  </a:ext>
                </a:extLst>
              </a:tr>
            </a:tbl>
          </a:graphicData>
        </a:graphic>
      </p:graphicFrame>
      <p:sp>
        <p:nvSpPr>
          <p:cNvPr id="34" name="TextBox 33">
            <a:extLst>
              <a:ext uri="{FF2B5EF4-FFF2-40B4-BE49-F238E27FC236}">
                <a16:creationId xmlns:a16="http://schemas.microsoft.com/office/drawing/2014/main" id="{1D205F2A-ED87-6E47-A8C2-623F7452B0EE}"/>
              </a:ext>
            </a:extLst>
          </p:cNvPr>
          <p:cNvSpPr txBox="1"/>
          <p:nvPr/>
        </p:nvSpPr>
        <p:spPr>
          <a:xfrm>
            <a:off x="9097962" y="5517232"/>
            <a:ext cx="3514762" cy="8002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2400" b="1" dirty="0">
                <a:solidFill>
                  <a:srgbClr val="009E8E"/>
                </a:solidFill>
                <a:cs typeface="Segoe UI" panose="020B0502040204020203" pitchFamily="34" charset="0"/>
              </a:rPr>
              <a:t>2,2%</a:t>
            </a:r>
            <a:br>
              <a:rPr lang="da-DK" sz="2800" b="1" dirty="0">
                <a:solidFill>
                  <a:srgbClr val="009E8E"/>
                </a:solidFill>
                <a:cs typeface="Segoe UI" panose="020B0502040204020203" pitchFamily="34" charset="0"/>
              </a:rPr>
            </a:br>
            <a:r>
              <a:rPr lang="da-DK" sz="1400" b="1" dirty="0">
                <a:solidFill>
                  <a:srgbClr val="8B8A8B"/>
                </a:solidFill>
                <a:cs typeface="Segoe UI" panose="020B0502040204020203" pitchFamily="34" charset="0"/>
              </a:rPr>
              <a:t>overskudsgrad  </a:t>
            </a:r>
          </a:p>
          <a:p>
            <a:r>
              <a:rPr lang="da-DK" sz="1400" dirty="0">
                <a:solidFill>
                  <a:srgbClr val="8B8A8B"/>
                </a:solidFill>
                <a:cs typeface="Segoe UI" panose="020B0502040204020203" pitchFamily="34" charset="0"/>
              </a:rPr>
              <a:t>(2021: 1,0%)</a:t>
            </a:r>
            <a:endParaRPr lang="da-DK" sz="1100" dirty="0">
              <a:solidFill>
                <a:srgbClr val="1D1D1B"/>
              </a:solidFill>
              <a:cs typeface="Segoe UI" panose="020B0502040204020203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0665C96-DE5D-9A43-AD88-E7BF760358E1}"/>
              </a:ext>
            </a:extLst>
          </p:cNvPr>
          <p:cNvSpPr txBox="1"/>
          <p:nvPr/>
        </p:nvSpPr>
        <p:spPr>
          <a:xfrm>
            <a:off x="9097962" y="3248980"/>
            <a:ext cx="3064701" cy="8156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2400" b="1" dirty="0">
                <a:solidFill>
                  <a:srgbClr val="0DB0A5"/>
                </a:solidFill>
                <a:latin typeface="+mj-lt"/>
              </a:rPr>
              <a:t>91 mio. kr.</a:t>
            </a:r>
            <a:br>
              <a:rPr lang="da-DK" sz="2500" b="1" dirty="0">
                <a:solidFill>
                  <a:srgbClr val="009E8E"/>
                </a:solidFill>
                <a:latin typeface="+mj-lt"/>
              </a:rPr>
            </a:br>
            <a:r>
              <a:rPr lang="da-DK" sz="1400" b="1" dirty="0">
                <a:solidFill>
                  <a:srgbClr val="8B8A8B"/>
                </a:solidFill>
                <a:latin typeface="+mj-lt"/>
              </a:rPr>
              <a:t>salgs- og tilbudsomkostninger  </a:t>
            </a:r>
            <a:br>
              <a:rPr lang="da-DK" sz="2500" b="1" dirty="0">
                <a:solidFill>
                  <a:srgbClr val="F35D5B"/>
                </a:solidFill>
                <a:latin typeface="+mj-lt"/>
              </a:rPr>
            </a:br>
            <a:r>
              <a:rPr lang="da-DK" sz="1400" dirty="0">
                <a:solidFill>
                  <a:srgbClr val="8B8A8B"/>
                </a:solidFill>
                <a:latin typeface="+mj-lt"/>
                <a:cs typeface="Segoe UI" panose="020B0502040204020203" pitchFamily="34" charset="0"/>
              </a:rPr>
              <a:t>(2021: 81 mio. kr.)</a:t>
            </a:r>
            <a:endParaRPr lang="da-DK" sz="1100" dirty="0">
              <a:solidFill>
                <a:srgbClr val="8B8A8B"/>
              </a:solidFill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A56F6EC-D3BD-A843-9A93-3FB2E8ABAE1C}"/>
              </a:ext>
            </a:extLst>
          </p:cNvPr>
          <p:cNvSpPr txBox="1"/>
          <p:nvPr/>
        </p:nvSpPr>
        <p:spPr>
          <a:xfrm>
            <a:off x="9097962" y="4351426"/>
            <a:ext cx="3610770" cy="8002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2400" b="1" dirty="0">
                <a:solidFill>
                  <a:srgbClr val="0DB0A5"/>
                </a:solidFill>
                <a:latin typeface="+mj-lt"/>
                <a:cs typeface="Segoe UI" panose="020B0502040204020203" pitchFamily="34" charset="0"/>
              </a:rPr>
              <a:t>2,9%</a:t>
            </a:r>
            <a:br>
              <a:rPr lang="da-DK" sz="1400" b="1" dirty="0">
                <a:solidFill>
                  <a:srgbClr val="009E8E"/>
                </a:solidFill>
                <a:latin typeface="+mj-lt"/>
                <a:cs typeface="Segoe UI" panose="020B0502040204020203" pitchFamily="34" charset="0"/>
              </a:rPr>
            </a:br>
            <a:r>
              <a:rPr lang="da-DK" sz="1400" b="1" dirty="0">
                <a:solidFill>
                  <a:srgbClr val="8B8A8B"/>
                </a:solidFill>
                <a:latin typeface="+mj-lt"/>
                <a:cs typeface="Segoe UI" panose="020B0502040204020203" pitchFamily="34" charset="0"/>
              </a:rPr>
              <a:t>Adm. omkostningsprocent  </a:t>
            </a:r>
            <a:br>
              <a:rPr lang="da-DK" sz="1400" b="1" dirty="0">
                <a:solidFill>
                  <a:srgbClr val="8B8A8B"/>
                </a:solidFill>
                <a:latin typeface="+mj-lt"/>
                <a:cs typeface="Segoe UI" panose="020B0502040204020203" pitchFamily="34" charset="0"/>
              </a:rPr>
            </a:br>
            <a:r>
              <a:rPr lang="da-DK" sz="1400" dirty="0">
                <a:solidFill>
                  <a:srgbClr val="8B8A8B"/>
                </a:solidFill>
                <a:latin typeface="+mj-lt"/>
                <a:cs typeface="Segoe UI" panose="020B0502040204020203" pitchFamily="34" charset="0"/>
              </a:rPr>
              <a:t>(2021: 3,6%)</a:t>
            </a:r>
          </a:p>
        </p:txBody>
      </p:sp>
      <p:sp>
        <p:nvSpPr>
          <p:cNvPr id="32" name="TextBox 33">
            <a:extLst>
              <a:ext uri="{FF2B5EF4-FFF2-40B4-BE49-F238E27FC236}">
                <a16:creationId xmlns:a16="http://schemas.microsoft.com/office/drawing/2014/main" id="{1AE232C9-21EB-44BC-A5C8-4B90EA47404A}"/>
              </a:ext>
            </a:extLst>
          </p:cNvPr>
          <p:cNvSpPr txBox="1"/>
          <p:nvPr/>
        </p:nvSpPr>
        <p:spPr>
          <a:xfrm>
            <a:off x="9084896" y="2204864"/>
            <a:ext cx="2267687" cy="8002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2400" b="1" dirty="0">
                <a:solidFill>
                  <a:srgbClr val="0DB0A5"/>
                </a:solidFill>
                <a:cs typeface="Segoe UI" panose="020B0502040204020203" pitchFamily="34" charset="0"/>
              </a:rPr>
              <a:t>7,1%</a:t>
            </a:r>
            <a:br>
              <a:rPr lang="da-DK" sz="2800" b="1" dirty="0">
                <a:solidFill>
                  <a:srgbClr val="0DB0A5"/>
                </a:solidFill>
                <a:cs typeface="Segoe UI" panose="020B0502040204020203" pitchFamily="34" charset="0"/>
              </a:rPr>
            </a:br>
            <a:r>
              <a:rPr lang="da-DK" sz="1400" b="1" dirty="0">
                <a:solidFill>
                  <a:srgbClr val="8B8A8B"/>
                </a:solidFill>
                <a:cs typeface="Segoe UI" panose="020B0502040204020203" pitchFamily="34" charset="0"/>
              </a:rPr>
              <a:t>bruttomargin  </a:t>
            </a:r>
            <a:br>
              <a:rPr lang="da-DK" sz="1400" b="1" dirty="0">
                <a:solidFill>
                  <a:srgbClr val="8B8A8B"/>
                </a:solidFill>
                <a:cs typeface="Segoe UI" panose="020B0502040204020203" pitchFamily="34" charset="0"/>
              </a:rPr>
            </a:br>
            <a:r>
              <a:rPr lang="da-DK" sz="1400" dirty="0">
                <a:solidFill>
                  <a:srgbClr val="8B8A8B"/>
                </a:solidFill>
                <a:cs typeface="Segoe UI" panose="020B0502040204020203" pitchFamily="34" charset="0"/>
              </a:rPr>
              <a:t>(2021: 6,8%)</a:t>
            </a:r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BDC03DDB-FB7B-4C97-BA11-D9A69EDD7DBC}"/>
              </a:ext>
            </a:extLst>
          </p:cNvPr>
          <p:cNvSpPr/>
          <p:nvPr/>
        </p:nvSpPr>
        <p:spPr>
          <a:xfrm>
            <a:off x="695353" y="6437757"/>
            <a:ext cx="10518501" cy="1595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ftsresultat og </a:t>
            </a:r>
            <a:r>
              <a:rPr kumimoji="0" lang="en-US" sz="1000" b="0" i="1" u="none" strike="noStrike" kern="1200" cap="none" spc="0" normalizeH="0" baseline="0" noProof="0" dirty="0" err="1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verskudsgrad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r </a:t>
            </a:r>
            <a:r>
              <a:rPr kumimoji="0" lang="en-US" sz="1000" b="0" i="1" u="none" strike="noStrike" kern="1200" cap="none" spc="0" normalizeH="0" baseline="0" noProof="0" dirty="0" err="1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givet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000" b="0" i="1" u="none" strike="noStrike" kern="1200" cap="none" spc="0" normalizeH="0" baseline="0" noProof="0" dirty="0" err="1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ør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000" b="0" i="1" u="none" strike="noStrike" kern="1200" cap="none" spc="0" normalizeH="0" baseline="0" noProof="0" dirty="0" err="1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ærlige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oster og </a:t>
            </a:r>
            <a:r>
              <a:rPr kumimoji="0" lang="en-US" sz="1000" b="0" i="1" u="none" strike="noStrike" kern="1200" cap="none" spc="0" normalizeH="0" baseline="0" noProof="0" dirty="0" err="1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ærlige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000" b="0" i="1" u="none" strike="noStrike" kern="1200" cap="none" spc="0" normalizeH="0" baseline="0" noProof="0" dirty="0" err="1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fskrivninger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PPA-</a:t>
            </a:r>
            <a:r>
              <a:rPr kumimoji="0" lang="en-US" sz="1000" b="0" i="1" u="none" strike="noStrike" kern="1200" cap="none" spc="0" normalizeH="0" baseline="0" noProof="0" dirty="0" err="1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fskrivninger</a:t>
            </a:r>
            <a:r>
              <a:rPr kumimoji="0" lang="en-US" sz="1000" b="0" i="1" u="none" strike="noStrike" kern="1200" cap="none" spc="0" normalizeH="0" baseline="0" noProof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 </a:t>
            </a:r>
            <a:endParaRPr lang="da-DK" sz="1000" dirty="0">
              <a:solidFill>
                <a:srgbClr val="58595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50625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el 7">
            <a:extLst>
              <a:ext uri="{FF2B5EF4-FFF2-40B4-BE49-F238E27FC236}">
                <a16:creationId xmlns:a16="http://schemas.microsoft.com/office/drawing/2014/main" id="{7FC523AB-AA09-47DC-B349-A050110A42F5}"/>
              </a:ext>
            </a:extLst>
          </p:cNvPr>
          <p:cNvSpPr txBox="1">
            <a:spLocks/>
          </p:cNvSpPr>
          <p:nvPr/>
        </p:nvSpPr>
        <p:spPr>
          <a:xfrm>
            <a:off x="675630" y="1324212"/>
            <a:ext cx="10828984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1000"/>
              </a:lnSpc>
              <a:spcBef>
                <a:spcPct val="0"/>
              </a:spcBef>
              <a:buNone/>
              <a:defRPr sz="30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1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dirty="0">
                <a:solidFill>
                  <a:srgbClr val="373334"/>
                </a:solidFill>
                <a:latin typeface="Arial"/>
              </a:rPr>
              <a:t>Planlagte salg af ikke-kerneaktiviteter er fuldført </a:t>
            </a:r>
            <a:endParaRPr kumimoji="0" lang="da-DK" sz="3000" b="1" i="0" u="none" strike="noStrike" kern="1200" cap="none" spc="0" normalizeH="0" baseline="0" dirty="0">
              <a:ln>
                <a:noFill/>
              </a:ln>
              <a:solidFill>
                <a:srgbClr val="373334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208" name="Pladsholder til indhold 9">
            <a:extLst>
              <a:ext uri="{FF2B5EF4-FFF2-40B4-BE49-F238E27FC236}">
                <a16:creationId xmlns:a16="http://schemas.microsoft.com/office/drawing/2014/main" id="{6AF00135-03A1-42E3-B529-331E8A0ED966}"/>
              </a:ext>
            </a:extLst>
          </p:cNvPr>
          <p:cNvSpPr txBox="1">
            <a:spLocks/>
          </p:cNvSpPr>
          <p:nvPr/>
        </p:nvSpPr>
        <p:spPr>
          <a:xfrm>
            <a:off x="893331" y="2888840"/>
            <a:ext cx="2311483" cy="132441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Aft>
                <a:spcPts val="600"/>
              </a:spcAft>
              <a:buNone/>
            </a:pPr>
            <a:r>
              <a:rPr lang="da-DK" sz="1400" dirty="0">
                <a:solidFill>
                  <a:srgbClr val="009E8E"/>
                </a:solidFill>
              </a:rPr>
              <a:t>Marts 2020</a:t>
            </a:r>
            <a:r>
              <a:rPr lang="da-DK" sz="1400" b="1" dirty="0"/>
              <a:t> </a:t>
            </a:r>
          </a:p>
          <a:p>
            <a:pPr marL="0" lvl="1" indent="0">
              <a:spcAft>
                <a:spcPts val="600"/>
              </a:spcAft>
              <a:buNone/>
            </a:pPr>
            <a:r>
              <a:rPr lang="da-DK" dirty="0"/>
              <a:t>Salg af </a:t>
            </a:r>
            <a:r>
              <a:rPr lang="da-DK" dirty="0" err="1"/>
              <a:t>Lindpro</a:t>
            </a:r>
            <a:endParaRPr lang="da-DK" dirty="0"/>
          </a:p>
        </p:txBody>
      </p:sp>
      <p:sp>
        <p:nvSpPr>
          <p:cNvPr id="71" name="Slide Number Placeholder 5">
            <a:extLst>
              <a:ext uri="{FF2B5EF4-FFF2-40B4-BE49-F238E27FC236}">
                <a16:creationId xmlns:a16="http://schemas.microsoft.com/office/drawing/2014/main" id="{923357E5-ADFC-4BA8-984D-49CC0750B7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4613" y="403550"/>
            <a:ext cx="342899" cy="146519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da-DK" smtClean="0"/>
              <a:pPr>
                <a:spcAft>
                  <a:spcPts val="600"/>
                </a:spcAft>
              </a:pPr>
              <a:t>15</a:t>
            </a:fld>
            <a:endParaRPr lang="da-DK"/>
          </a:p>
        </p:txBody>
      </p:sp>
      <p:sp>
        <p:nvSpPr>
          <p:cNvPr id="74" name="Pladsholder til indhold 9">
            <a:extLst>
              <a:ext uri="{FF2B5EF4-FFF2-40B4-BE49-F238E27FC236}">
                <a16:creationId xmlns:a16="http://schemas.microsoft.com/office/drawing/2014/main" id="{A1682E84-0126-4AF0-B10F-CD95D7306996}"/>
              </a:ext>
            </a:extLst>
          </p:cNvPr>
          <p:cNvSpPr txBox="1">
            <a:spLocks/>
          </p:cNvSpPr>
          <p:nvPr/>
        </p:nvSpPr>
        <p:spPr>
          <a:xfrm>
            <a:off x="687387" y="1988840"/>
            <a:ext cx="10997246" cy="43761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Aft>
                <a:spcPts val="600"/>
              </a:spcAft>
              <a:buNone/>
            </a:pPr>
            <a:r>
              <a:rPr lang="da-DK" dirty="0" err="1"/>
              <a:t>Nytilkøbte</a:t>
            </a:r>
            <a:r>
              <a:rPr lang="da-DK" dirty="0"/>
              <a:t> virksomheder bidrager alle positivt </a:t>
            </a:r>
          </a:p>
        </p:txBody>
      </p:sp>
      <p:grpSp>
        <p:nvGrpSpPr>
          <p:cNvPr id="6" name="Gruppe 5">
            <a:extLst>
              <a:ext uri="{FF2B5EF4-FFF2-40B4-BE49-F238E27FC236}">
                <a16:creationId xmlns:a16="http://schemas.microsoft.com/office/drawing/2014/main" id="{E18F328D-08C7-49C3-AFEA-88121E5061AD}"/>
              </a:ext>
            </a:extLst>
          </p:cNvPr>
          <p:cNvGrpSpPr/>
          <p:nvPr/>
        </p:nvGrpSpPr>
        <p:grpSpPr>
          <a:xfrm>
            <a:off x="731404" y="4227323"/>
            <a:ext cx="10520081" cy="268803"/>
            <a:chOff x="-8501" y="6056474"/>
            <a:chExt cx="10308200" cy="407357"/>
          </a:xfrm>
        </p:grpSpPr>
        <p:sp>
          <p:nvSpPr>
            <p:cNvPr id="3" name="Pil: pentagon 2">
              <a:extLst>
                <a:ext uri="{FF2B5EF4-FFF2-40B4-BE49-F238E27FC236}">
                  <a16:creationId xmlns:a16="http://schemas.microsoft.com/office/drawing/2014/main" id="{C4D0FAE9-9404-4129-A0BA-F5F0F63EFB23}"/>
                </a:ext>
              </a:extLst>
            </p:cNvPr>
            <p:cNvSpPr/>
            <p:nvPr/>
          </p:nvSpPr>
          <p:spPr>
            <a:xfrm>
              <a:off x="2954290" y="6056474"/>
              <a:ext cx="7345409" cy="407357"/>
            </a:xfrm>
            <a:prstGeom prst="homePlate">
              <a:avLst/>
            </a:prstGeom>
            <a:solidFill>
              <a:srgbClr val="009E8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4000"/>
                </a:lnSpc>
              </a:pPr>
              <a:r>
                <a:rPr lang="da-DK" sz="1700" noProof="0" dirty="0"/>
                <a:t>2021</a:t>
              </a:r>
            </a:p>
          </p:txBody>
        </p:sp>
        <p:sp>
          <p:nvSpPr>
            <p:cNvPr id="5" name="Rektangel 4">
              <a:extLst>
                <a:ext uri="{FF2B5EF4-FFF2-40B4-BE49-F238E27FC236}">
                  <a16:creationId xmlns:a16="http://schemas.microsoft.com/office/drawing/2014/main" id="{8BA21919-5362-4406-9AB0-CD8D15A0CDCC}"/>
                </a:ext>
              </a:extLst>
            </p:cNvPr>
            <p:cNvSpPr/>
            <p:nvPr/>
          </p:nvSpPr>
          <p:spPr>
            <a:xfrm>
              <a:off x="-8501" y="6056474"/>
              <a:ext cx="2962791" cy="407019"/>
            </a:xfrm>
            <a:prstGeom prst="rect">
              <a:avLst/>
            </a:prstGeom>
            <a:solidFill>
              <a:srgbClr val="E6F5F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4000"/>
                </a:lnSpc>
              </a:pPr>
              <a:r>
                <a:rPr lang="da-DK" sz="1700" noProof="0" dirty="0">
                  <a:solidFill>
                    <a:srgbClr val="009E8E"/>
                  </a:solidFill>
                </a:rPr>
                <a:t>2020</a:t>
              </a:r>
            </a:p>
          </p:txBody>
        </p:sp>
      </p:grpSp>
      <p:sp>
        <p:nvSpPr>
          <p:cNvPr id="110" name="Pladsholder til indhold 9">
            <a:extLst>
              <a:ext uri="{FF2B5EF4-FFF2-40B4-BE49-F238E27FC236}">
                <a16:creationId xmlns:a16="http://schemas.microsoft.com/office/drawing/2014/main" id="{01D9826D-F22E-4B15-8E2D-CA70AFB86AD1}"/>
              </a:ext>
            </a:extLst>
          </p:cNvPr>
          <p:cNvSpPr txBox="1">
            <a:spLocks/>
          </p:cNvSpPr>
          <p:nvPr/>
        </p:nvSpPr>
        <p:spPr>
          <a:xfrm>
            <a:off x="1595500" y="5113153"/>
            <a:ext cx="1609314" cy="156949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Aft>
                <a:spcPts val="600"/>
              </a:spcAft>
              <a:buNone/>
            </a:pPr>
            <a:r>
              <a:rPr lang="da-DK" sz="1400" dirty="0">
                <a:solidFill>
                  <a:srgbClr val="009E8E"/>
                </a:solidFill>
              </a:rPr>
              <a:t>Juli 2020</a:t>
            </a:r>
            <a:r>
              <a:rPr lang="da-DK" sz="1400" b="1" dirty="0"/>
              <a:t> </a:t>
            </a:r>
          </a:p>
          <a:p>
            <a:pPr marL="0" lvl="1" indent="0">
              <a:spcAft>
                <a:spcPts val="600"/>
              </a:spcAft>
              <a:buNone/>
            </a:pPr>
            <a:r>
              <a:rPr lang="da-DK" dirty="0"/>
              <a:t>Køb af MATU</a:t>
            </a:r>
            <a:br>
              <a:rPr lang="da-DK" dirty="0"/>
            </a:br>
            <a:endParaRPr lang="da-DK" dirty="0"/>
          </a:p>
        </p:txBody>
      </p:sp>
      <p:sp>
        <p:nvSpPr>
          <p:cNvPr id="111" name="Pladsholder til indhold 9">
            <a:extLst>
              <a:ext uri="{FF2B5EF4-FFF2-40B4-BE49-F238E27FC236}">
                <a16:creationId xmlns:a16="http://schemas.microsoft.com/office/drawing/2014/main" id="{9998FFF6-8DB6-4694-B055-2049DBE9A39C}"/>
              </a:ext>
            </a:extLst>
          </p:cNvPr>
          <p:cNvSpPr txBox="1">
            <a:spLocks/>
          </p:cNvSpPr>
          <p:nvPr/>
        </p:nvSpPr>
        <p:spPr>
          <a:xfrm>
            <a:off x="2998730" y="2888616"/>
            <a:ext cx="2321424" cy="131779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Aft>
                <a:spcPts val="600"/>
              </a:spcAft>
              <a:buNone/>
            </a:pPr>
            <a:r>
              <a:rPr lang="en-GB" sz="1400" dirty="0" err="1">
                <a:solidFill>
                  <a:srgbClr val="009E8E"/>
                </a:solidFill>
              </a:rPr>
              <a:t>Oktober</a:t>
            </a:r>
            <a:r>
              <a:rPr lang="en-GB" sz="1400" dirty="0">
                <a:solidFill>
                  <a:srgbClr val="009E8E"/>
                </a:solidFill>
              </a:rPr>
              <a:t> 2020</a:t>
            </a:r>
            <a:r>
              <a:rPr lang="en-GB" sz="1400" b="1" dirty="0"/>
              <a:t> </a:t>
            </a:r>
          </a:p>
          <a:p>
            <a:pPr marL="0" lvl="1" indent="0">
              <a:spcAft>
                <a:spcPts val="600"/>
              </a:spcAft>
              <a:buNone/>
            </a:pPr>
            <a:r>
              <a:rPr lang="en-GB" dirty="0" err="1"/>
              <a:t>Salg</a:t>
            </a:r>
            <a:r>
              <a:rPr lang="en-GB" dirty="0"/>
              <a:t> Ajos </a:t>
            </a:r>
            <a:r>
              <a:rPr lang="en-GB" dirty="0" err="1"/>
              <a:t>hejs</a:t>
            </a:r>
            <a:br>
              <a:rPr lang="en-GB" dirty="0"/>
            </a:br>
            <a:endParaRPr lang="en-GB" dirty="0"/>
          </a:p>
        </p:txBody>
      </p:sp>
      <p:sp>
        <p:nvSpPr>
          <p:cNvPr id="116" name="Pladsholder til indhold 9">
            <a:extLst>
              <a:ext uri="{FF2B5EF4-FFF2-40B4-BE49-F238E27FC236}">
                <a16:creationId xmlns:a16="http://schemas.microsoft.com/office/drawing/2014/main" id="{B8E998BF-1E99-4254-A2A5-D3CECD294311}"/>
              </a:ext>
            </a:extLst>
          </p:cNvPr>
          <p:cNvSpPr txBox="1">
            <a:spLocks/>
          </p:cNvSpPr>
          <p:nvPr/>
        </p:nvSpPr>
        <p:spPr>
          <a:xfrm>
            <a:off x="3685339" y="5088861"/>
            <a:ext cx="5290981" cy="156949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Aft>
                <a:spcPts val="600"/>
              </a:spcAft>
              <a:buNone/>
            </a:pPr>
            <a:r>
              <a:rPr lang="da-DK" sz="1400" dirty="0">
                <a:solidFill>
                  <a:srgbClr val="009E8E"/>
                </a:solidFill>
              </a:rPr>
              <a:t>Januar 2021</a:t>
            </a:r>
            <a:endParaRPr lang="da-DK" sz="1400" b="1" dirty="0"/>
          </a:p>
          <a:p>
            <a:pPr marL="0" lvl="1" indent="0">
              <a:spcAft>
                <a:spcPts val="600"/>
              </a:spcAft>
              <a:buNone/>
            </a:pPr>
            <a:r>
              <a:rPr lang="da-DK" dirty="0"/>
              <a:t>Køb af RTS </a:t>
            </a:r>
          </a:p>
          <a:p>
            <a:pPr marL="0" lvl="1" indent="0">
              <a:spcAft>
                <a:spcPts val="600"/>
              </a:spcAft>
              <a:buNone/>
            </a:pPr>
            <a:endParaRPr lang="da-DK" dirty="0"/>
          </a:p>
          <a:p>
            <a:pPr marL="0" lvl="1" indent="0">
              <a:spcAft>
                <a:spcPts val="600"/>
              </a:spcAft>
              <a:buNone/>
            </a:pPr>
            <a:endParaRPr lang="da-DK" dirty="0"/>
          </a:p>
          <a:p>
            <a:pPr marL="0" lvl="1" indent="0">
              <a:spcAft>
                <a:spcPts val="600"/>
              </a:spcAft>
              <a:buNone/>
            </a:pPr>
            <a:endParaRPr lang="da-DK" dirty="0"/>
          </a:p>
          <a:p>
            <a:pPr marL="0" lvl="1" indent="0">
              <a:spcAft>
                <a:spcPts val="600"/>
              </a:spcAft>
              <a:buNone/>
            </a:pPr>
            <a:endParaRPr lang="da-DK" dirty="0"/>
          </a:p>
          <a:p>
            <a:pPr marL="0" lvl="1" indent="0">
              <a:spcAft>
                <a:spcPts val="600"/>
              </a:spcAft>
              <a:buNone/>
            </a:pPr>
            <a:endParaRPr lang="da-DK" dirty="0"/>
          </a:p>
          <a:p>
            <a:pPr marL="0" lvl="1" indent="0">
              <a:spcAft>
                <a:spcPts val="600"/>
              </a:spcAft>
              <a:buNone/>
            </a:pPr>
            <a:endParaRPr lang="da-DK" dirty="0"/>
          </a:p>
          <a:p>
            <a:pPr marL="0" lvl="1" indent="0">
              <a:spcAft>
                <a:spcPts val="600"/>
              </a:spcAft>
              <a:buNone/>
            </a:pPr>
            <a:endParaRPr lang="da-DK" dirty="0"/>
          </a:p>
          <a:p>
            <a:pPr marL="0" lvl="1" indent="0">
              <a:spcAft>
                <a:spcPts val="600"/>
              </a:spcAft>
              <a:buNone/>
            </a:pPr>
            <a:endParaRPr lang="da-DK" dirty="0"/>
          </a:p>
          <a:p>
            <a:pPr marL="0" lvl="1" indent="0">
              <a:spcAft>
                <a:spcPts val="600"/>
              </a:spcAft>
              <a:buNone/>
            </a:pPr>
            <a:endParaRPr lang="da-DK" dirty="0"/>
          </a:p>
          <a:p>
            <a:pPr marL="0" lvl="1" indent="0">
              <a:spcAft>
                <a:spcPts val="600"/>
              </a:spcAft>
              <a:buNone/>
            </a:pPr>
            <a:endParaRPr lang="da-DK" dirty="0"/>
          </a:p>
          <a:p>
            <a:pPr marL="0" lvl="1" indent="0">
              <a:spcAft>
                <a:spcPts val="600"/>
              </a:spcAft>
              <a:buNone/>
            </a:pPr>
            <a:endParaRPr lang="da-DK" dirty="0"/>
          </a:p>
          <a:p>
            <a:pPr marL="0" lvl="1" indent="0">
              <a:spcAft>
                <a:spcPts val="600"/>
              </a:spcAft>
              <a:buNone/>
            </a:pPr>
            <a:endParaRPr lang="da-DK" dirty="0"/>
          </a:p>
          <a:p>
            <a:pPr marL="0" lvl="1" indent="0">
              <a:spcAft>
                <a:spcPts val="600"/>
              </a:spcAft>
              <a:buNone/>
            </a:pPr>
            <a:endParaRPr lang="da-DK" dirty="0"/>
          </a:p>
          <a:p>
            <a:pPr marL="0" lvl="1" indent="0">
              <a:spcAft>
                <a:spcPts val="600"/>
              </a:spcAft>
              <a:buNone/>
            </a:pPr>
            <a:br>
              <a:rPr lang="da-DK" dirty="0"/>
            </a:br>
            <a:endParaRPr lang="da-DK" dirty="0"/>
          </a:p>
        </p:txBody>
      </p:sp>
      <p:sp>
        <p:nvSpPr>
          <p:cNvPr id="132" name="Pladsholder til indhold 9">
            <a:extLst>
              <a:ext uri="{FF2B5EF4-FFF2-40B4-BE49-F238E27FC236}">
                <a16:creationId xmlns:a16="http://schemas.microsoft.com/office/drawing/2014/main" id="{854A0825-2EC2-4AFF-BF8A-E9D098192212}"/>
              </a:ext>
            </a:extLst>
          </p:cNvPr>
          <p:cNvSpPr txBox="1">
            <a:spLocks/>
          </p:cNvSpPr>
          <p:nvPr/>
        </p:nvSpPr>
        <p:spPr>
          <a:xfrm>
            <a:off x="4619836" y="2888615"/>
            <a:ext cx="2446148" cy="132849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Aft>
                <a:spcPts val="600"/>
              </a:spcAft>
              <a:buNone/>
            </a:pPr>
            <a:r>
              <a:rPr lang="da-DK" sz="1400" dirty="0">
                <a:solidFill>
                  <a:srgbClr val="009E8E"/>
                </a:solidFill>
              </a:rPr>
              <a:t>Marts 2021</a:t>
            </a:r>
            <a:endParaRPr lang="da-DK" sz="1400" b="1" dirty="0"/>
          </a:p>
          <a:p>
            <a:pPr marL="0" lvl="1" indent="0">
              <a:spcAft>
                <a:spcPts val="600"/>
              </a:spcAft>
              <a:buNone/>
            </a:pPr>
            <a:r>
              <a:rPr lang="en-GB" dirty="0" err="1"/>
              <a:t>Køb</a:t>
            </a:r>
            <a:r>
              <a:rPr lang="en-GB" dirty="0"/>
              <a:t> </a:t>
            </a:r>
            <a:r>
              <a:rPr lang="en-GB" dirty="0" err="1"/>
              <a:t>af</a:t>
            </a:r>
            <a:r>
              <a:rPr lang="en-GB" dirty="0"/>
              <a:t> </a:t>
            </a:r>
            <a:r>
              <a:rPr lang="en-GB" dirty="0" err="1"/>
              <a:t>Raunstrup</a:t>
            </a:r>
            <a:br>
              <a:rPr lang="en-GB" dirty="0"/>
            </a:br>
            <a:endParaRPr lang="en-GB" dirty="0"/>
          </a:p>
        </p:txBody>
      </p:sp>
      <p:sp>
        <p:nvSpPr>
          <p:cNvPr id="134" name="Pladsholder til indhold 9">
            <a:extLst>
              <a:ext uri="{FF2B5EF4-FFF2-40B4-BE49-F238E27FC236}">
                <a16:creationId xmlns:a16="http://schemas.microsoft.com/office/drawing/2014/main" id="{6FE55898-4FCE-4B50-91C2-041A89C327DF}"/>
              </a:ext>
            </a:extLst>
          </p:cNvPr>
          <p:cNvSpPr txBox="1">
            <a:spLocks/>
          </p:cNvSpPr>
          <p:nvPr/>
        </p:nvSpPr>
        <p:spPr>
          <a:xfrm>
            <a:off x="5233512" y="5088861"/>
            <a:ext cx="2662688" cy="156949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Aft>
                <a:spcPts val="600"/>
              </a:spcAft>
              <a:buNone/>
            </a:pPr>
            <a:r>
              <a:rPr lang="da-DK" sz="1400" dirty="0">
                <a:solidFill>
                  <a:srgbClr val="009E8E"/>
                </a:solidFill>
              </a:rPr>
              <a:t>April 2021</a:t>
            </a:r>
            <a:endParaRPr lang="da-DK" sz="1400" b="1" dirty="0"/>
          </a:p>
          <a:p>
            <a:pPr marL="0" lvl="1" indent="0">
              <a:spcAft>
                <a:spcPts val="600"/>
              </a:spcAft>
              <a:buNone/>
            </a:pPr>
            <a:r>
              <a:rPr lang="da-DK" dirty="0"/>
              <a:t>Salg af Ajos kranafdeling</a:t>
            </a:r>
            <a:br>
              <a:rPr lang="da-DK" dirty="0"/>
            </a:br>
            <a:endParaRPr lang="da-DK" dirty="0"/>
          </a:p>
        </p:txBody>
      </p:sp>
      <p:cxnSp>
        <p:nvCxnSpPr>
          <p:cNvPr id="135" name="Lige forbindelse 134">
            <a:extLst>
              <a:ext uri="{FF2B5EF4-FFF2-40B4-BE49-F238E27FC236}">
                <a16:creationId xmlns:a16="http://schemas.microsoft.com/office/drawing/2014/main" id="{F2121BBF-3ECD-483C-950D-853024B80E0A}"/>
              </a:ext>
            </a:extLst>
          </p:cNvPr>
          <p:cNvCxnSpPr>
            <a:cxnSpLocks/>
          </p:cNvCxnSpPr>
          <p:nvPr/>
        </p:nvCxnSpPr>
        <p:spPr>
          <a:xfrm flipV="1">
            <a:off x="1487488" y="3645080"/>
            <a:ext cx="0" cy="504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Pladsholder til indhold 9">
            <a:extLst>
              <a:ext uri="{FF2B5EF4-FFF2-40B4-BE49-F238E27FC236}">
                <a16:creationId xmlns:a16="http://schemas.microsoft.com/office/drawing/2014/main" id="{FBC680ED-BC38-4ADD-91F8-837F80EDBC05}"/>
              </a:ext>
            </a:extLst>
          </p:cNvPr>
          <p:cNvSpPr txBox="1">
            <a:spLocks/>
          </p:cNvSpPr>
          <p:nvPr/>
        </p:nvSpPr>
        <p:spPr>
          <a:xfrm>
            <a:off x="6674898" y="2895458"/>
            <a:ext cx="3129514" cy="131779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Aft>
                <a:spcPts val="600"/>
              </a:spcAft>
              <a:buNone/>
            </a:pPr>
            <a:r>
              <a:rPr lang="en-US" sz="1400" dirty="0" err="1">
                <a:solidFill>
                  <a:srgbClr val="009E8E"/>
                </a:solidFill>
              </a:rPr>
              <a:t>Juli</a:t>
            </a:r>
            <a:r>
              <a:rPr lang="en-US" sz="1400" dirty="0">
                <a:solidFill>
                  <a:srgbClr val="009E8E"/>
                </a:solidFill>
              </a:rPr>
              <a:t> 2021</a:t>
            </a:r>
            <a:endParaRPr lang="en-US" sz="1400" b="1" dirty="0"/>
          </a:p>
          <a:p>
            <a:pPr marL="0" lvl="1" indent="0">
              <a:spcAft>
                <a:spcPts val="600"/>
              </a:spcAft>
              <a:buNone/>
            </a:pPr>
            <a:r>
              <a:rPr lang="en-US" dirty="0" err="1"/>
              <a:t>Køb</a:t>
            </a:r>
            <a:r>
              <a:rPr lang="en-US" dirty="0"/>
              <a:t> </a:t>
            </a:r>
            <a:r>
              <a:rPr lang="en-US" dirty="0" err="1"/>
              <a:t>af</a:t>
            </a:r>
            <a:r>
              <a:rPr lang="en-US" dirty="0"/>
              <a:t> </a:t>
            </a:r>
            <a:r>
              <a:rPr lang="en-US" dirty="0" err="1"/>
              <a:t>NemByg</a:t>
            </a:r>
            <a:r>
              <a:rPr lang="en-US" dirty="0"/>
              <a:t> (60%)</a:t>
            </a:r>
            <a:br>
              <a:rPr lang="en-US" dirty="0"/>
            </a:br>
            <a:endParaRPr lang="en-US" dirty="0"/>
          </a:p>
        </p:txBody>
      </p:sp>
      <p:sp>
        <p:nvSpPr>
          <p:cNvPr id="24" name="Pladsholder til indhold 9">
            <a:extLst>
              <a:ext uri="{FF2B5EF4-FFF2-40B4-BE49-F238E27FC236}">
                <a16:creationId xmlns:a16="http://schemas.microsoft.com/office/drawing/2014/main" id="{D7DF7522-F4BE-464F-976E-FCDF6C6D24B6}"/>
              </a:ext>
            </a:extLst>
          </p:cNvPr>
          <p:cNvSpPr txBox="1">
            <a:spLocks/>
          </p:cNvSpPr>
          <p:nvPr/>
        </p:nvSpPr>
        <p:spPr>
          <a:xfrm>
            <a:off x="8365860" y="5090363"/>
            <a:ext cx="2662688" cy="156949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Aft>
                <a:spcPts val="600"/>
              </a:spcAft>
              <a:buNone/>
            </a:pPr>
            <a:r>
              <a:rPr lang="da-DK" sz="1400" dirty="0">
                <a:solidFill>
                  <a:srgbClr val="009E8E"/>
                </a:solidFill>
              </a:rPr>
              <a:t>Oktober 2021</a:t>
            </a:r>
            <a:endParaRPr lang="da-DK" sz="1400" b="1" dirty="0"/>
          </a:p>
          <a:p>
            <a:pPr marL="0" lvl="1" indent="0">
              <a:spcAft>
                <a:spcPts val="600"/>
              </a:spcAft>
              <a:buNone/>
            </a:pPr>
            <a:r>
              <a:rPr lang="da-DK" dirty="0"/>
              <a:t>Salg af Ajos skur mm.</a:t>
            </a:r>
            <a:br>
              <a:rPr lang="da-DK" dirty="0"/>
            </a:br>
            <a:endParaRPr lang="da-DK" dirty="0"/>
          </a:p>
        </p:txBody>
      </p:sp>
      <p:cxnSp>
        <p:nvCxnSpPr>
          <p:cNvPr id="26" name="Lige forbindelse 25">
            <a:extLst>
              <a:ext uri="{FF2B5EF4-FFF2-40B4-BE49-F238E27FC236}">
                <a16:creationId xmlns:a16="http://schemas.microsoft.com/office/drawing/2014/main" id="{78E4F5F5-0EA9-44B1-9FF2-36348AC4536C}"/>
              </a:ext>
            </a:extLst>
          </p:cNvPr>
          <p:cNvCxnSpPr>
            <a:cxnSpLocks/>
          </p:cNvCxnSpPr>
          <p:nvPr/>
        </p:nvCxnSpPr>
        <p:spPr>
          <a:xfrm flipV="1">
            <a:off x="3467708" y="3645024"/>
            <a:ext cx="0" cy="504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Lige forbindelse 26">
            <a:extLst>
              <a:ext uri="{FF2B5EF4-FFF2-40B4-BE49-F238E27FC236}">
                <a16:creationId xmlns:a16="http://schemas.microsoft.com/office/drawing/2014/main" id="{713ACD27-C742-4157-8291-AC05822A8F40}"/>
              </a:ext>
            </a:extLst>
          </p:cNvPr>
          <p:cNvCxnSpPr>
            <a:cxnSpLocks/>
          </p:cNvCxnSpPr>
          <p:nvPr/>
        </p:nvCxnSpPr>
        <p:spPr>
          <a:xfrm flipV="1">
            <a:off x="4187788" y="4581184"/>
            <a:ext cx="0" cy="504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Lige forbindelse 28">
            <a:extLst>
              <a:ext uri="{FF2B5EF4-FFF2-40B4-BE49-F238E27FC236}">
                <a16:creationId xmlns:a16="http://schemas.microsoft.com/office/drawing/2014/main" id="{5B231746-AD9D-4EF4-A12D-60F5A543539E}"/>
              </a:ext>
            </a:extLst>
          </p:cNvPr>
          <p:cNvCxnSpPr>
            <a:cxnSpLocks/>
          </p:cNvCxnSpPr>
          <p:nvPr/>
        </p:nvCxnSpPr>
        <p:spPr>
          <a:xfrm flipV="1">
            <a:off x="2135560" y="4581128"/>
            <a:ext cx="0" cy="504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Lige forbindelse 29">
            <a:extLst>
              <a:ext uri="{FF2B5EF4-FFF2-40B4-BE49-F238E27FC236}">
                <a16:creationId xmlns:a16="http://schemas.microsoft.com/office/drawing/2014/main" id="{B25710B1-3A28-4407-B436-994764F67D42}"/>
              </a:ext>
            </a:extLst>
          </p:cNvPr>
          <p:cNvCxnSpPr>
            <a:cxnSpLocks/>
          </p:cNvCxnSpPr>
          <p:nvPr/>
        </p:nvCxnSpPr>
        <p:spPr>
          <a:xfrm flipV="1">
            <a:off x="5375920" y="3645024"/>
            <a:ext cx="0" cy="504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Lige forbindelse 30">
            <a:extLst>
              <a:ext uri="{FF2B5EF4-FFF2-40B4-BE49-F238E27FC236}">
                <a16:creationId xmlns:a16="http://schemas.microsoft.com/office/drawing/2014/main" id="{0CC569AB-637F-4699-BB28-B25D938EB07C}"/>
              </a:ext>
            </a:extLst>
          </p:cNvPr>
          <p:cNvCxnSpPr>
            <a:cxnSpLocks/>
          </p:cNvCxnSpPr>
          <p:nvPr/>
        </p:nvCxnSpPr>
        <p:spPr>
          <a:xfrm flipV="1">
            <a:off x="5771964" y="4581128"/>
            <a:ext cx="0" cy="504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Lige forbindelse 31">
            <a:extLst>
              <a:ext uri="{FF2B5EF4-FFF2-40B4-BE49-F238E27FC236}">
                <a16:creationId xmlns:a16="http://schemas.microsoft.com/office/drawing/2014/main" id="{5A9F5CC9-7257-478F-B6C2-F8E2CB08FC56}"/>
              </a:ext>
            </a:extLst>
          </p:cNvPr>
          <p:cNvCxnSpPr>
            <a:cxnSpLocks/>
          </p:cNvCxnSpPr>
          <p:nvPr/>
        </p:nvCxnSpPr>
        <p:spPr>
          <a:xfrm flipV="1">
            <a:off x="7356140" y="3681028"/>
            <a:ext cx="0" cy="504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Lige forbindelse 32">
            <a:extLst>
              <a:ext uri="{FF2B5EF4-FFF2-40B4-BE49-F238E27FC236}">
                <a16:creationId xmlns:a16="http://schemas.microsoft.com/office/drawing/2014/main" id="{0AB2626E-64F8-4ECB-ADD1-E12A8504D325}"/>
              </a:ext>
            </a:extLst>
          </p:cNvPr>
          <p:cNvCxnSpPr>
            <a:cxnSpLocks/>
          </p:cNvCxnSpPr>
          <p:nvPr/>
        </p:nvCxnSpPr>
        <p:spPr>
          <a:xfrm flipV="1">
            <a:off x="9013932" y="4581128"/>
            <a:ext cx="0" cy="504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Pladsholder til indhold 9">
            <a:extLst>
              <a:ext uri="{FF2B5EF4-FFF2-40B4-BE49-F238E27FC236}">
                <a16:creationId xmlns:a16="http://schemas.microsoft.com/office/drawing/2014/main" id="{F8503DAE-14F5-4533-8A4E-7D458A6346B6}"/>
              </a:ext>
            </a:extLst>
          </p:cNvPr>
          <p:cNvSpPr txBox="1">
            <a:spLocks/>
          </p:cNvSpPr>
          <p:nvPr/>
        </p:nvSpPr>
        <p:spPr>
          <a:xfrm>
            <a:off x="9447206" y="2895458"/>
            <a:ext cx="3129514" cy="131095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lnSpc>
                <a:spcPct val="115000"/>
              </a:lnSpc>
              <a:spcBef>
                <a:spcPts val="0"/>
              </a:spcBef>
              <a:buFont typeface="Verdana" panose="020B0604030504040204" pitchFamily="34" charset="0"/>
              <a:buChar char="·"/>
              <a:defRPr sz="17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Aft>
                <a:spcPts val="600"/>
              </a:spcAft>
              <a:buNone/>
            </a:pPr>
            <a:r>
              <a:rPr lang="en-US" sz="1400" dirty="0">
                <a:solidFill>
                  <a:srgbClr val="009E8E"/>
                </a:solidFill>
              </a:rPr>
              <a:t>December 2021</a:t>
            </a:r>
            <a:endParaRPr lang="en-US" sz="1400" b="1" dirty="0"/>
          </a:p>
          <a:p>
            <a:pPr marL="0" lvl="1" indent="0">
              <a:spcAft>
                <a:spcPts val="600"/>
              </a:spcAft>
              <a:buNone/>
            </a:pPr>
            <a:r>
              <a:rPr lang="en-US" dirty="0" err="1"/>
              <a:t>Salg</a:t>
            </a:r>
            <a:r>
              <a:rPr lang="en-US" dirty="0"/>
              <a:t> </a:t>
            </a:r>
            <a:r>
              <a:rPr lang="en-US" dirty="0" err="1"/>
              <a:t>af</a:t>
            </a:r>
            <a:r>
              <a:rPr lang="en-US" dirty="0"/>
              <a:t> Ajos </a:t>
            </a:r>
            <a:r>
              <a:rPr lang="en-US" dirty="0" err="1"/>
              <a:t>pavillon</a:t>
            </a:r>
            <a:br>
              <a:rPr lang="en-US" dirty="0"/>
            </a:br>
            <a:endParaRPr lang="en-US" dirty="0"/>
          </a:p>
        </p:txBody>
      </p:sp>
      <p:cxnSp>
        <p:nvCxnSpPr>
          <p:cNvPr id="35" name="Lige forbindelse 34">
            <a:extLst>
              <a:ext uri="{FF2B5EF4-FFF2-40B4-BE49-F238E27FC236}">
                <a16:creationId xmlns:a16="http://schemas.microsoft.com/office/drawing/2014/main" id="{57E88F27-D7A1-4D3C-A30A-EB09F26564D2}"/>
              </a:ext>
            </a:extLst>
          </p:cNvPr>
          <p:cNvCxnSpPr>
            <a:cxnSpLocks/>
          </p:cNvCxnSpPr>
          <p:nvPr/>
        </p:nvCxnSpPr>
        <p:spPr>
          <a:xfrm flipV="1">
            <a:off x="10416480" y="3681084"/>
            <a:ext cx="0" cy="504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02891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Agenda</a:t>
            </a:r>
          </a:p>
        </p:txBody>
      </p:sp>
      <p:sp>
        <p:nvSpPr>
          <p:cNvPr id="8" name="Pladsholder til tekst 7"/>
          <p:cNvSpPr>
            <a:spLocks noGrp="1"/>
          </p:cNvSpPr>
          <p:nvPr>
            <p:ph type="body" sz="quarter" idx="13"/>
          </p:nvPr>
        </p:nvSpPr>
        <p:spPr>
          <a:xfrm>
            <a:off x="682625" y="2552400"/>
            <a:ext cx="3109119" cy="3303888"/>
          </a:xfrm>
        </p:spPr>
        <p:txBody>
          <a:bodyPr/>
          <a:lstStyle/>
          <a:p>
            <a:pPr lvl="1">
              <a:spcBef>
                <a:spcPts val="200"/>
              </a:spcBef>
            </a:pPr>
            <a:r>
              <a:rPr lang="da-DK" dirty="0">
                <a:solidFill>
                  <a:srgbClr val="58595B"/>
                </a:solidFill>
              </a:rPr>
              <a:t>Hovedpunkter </a:t>
            </a:r>
          </a:p>
          <a:p>
            <a:pPr lvl="1">
              <a:spcBef>
                <a:spcPts val="200"/>
              </a:spcBef>
            </a:pPr>
            <a:r>
              <a:rPr lang="da-DK" dirty="0">
                <a:solidFill>
                  <a:srgbClr val="58595B"/>
                </a:solidFill>
              </a:rPr>
              <a:t>Ordreindgang</a:t>
            </a:r>
          </a:p>
          <a:p>
            <a:pPr lvl="1">
              <a:spcBef>
                <a:spcPts val="200"/>
              </a:spcBef>
            </a:pPr>
            <a:r>
              <a:rPr lang="da-DK" dirty="0">
                <a:solidFill>
                  <a:srgbClr val="58595B"/>
                </a:solidFill>
              </a:rPr>
              <a:t>Ordrebeholdning</a:t>
            </a:r>
          </a:p>
          <a:p>
            <a:pPr lvl="1">
              <a:spcBef>
                <a:spcPts val="200"/>
              </a:spcBef>
            </a:pPr>
            <a:r>
              <a:rPr lang="da-DK" dirty="0">
                <a:solidFill>
                  <a:srgbClr val="58595B"/>
                </a:solidFill>
              </a:rPr>
              <a:t>Forretningsenheder</a:t>
            </a:r>
          </a:p>
          <a:p>
            <a:pPr lvl="1">
              <a:spcBef>
                <a:spcPts val="200"/>
              </a:spcBef>
            </a:pPr>
            <a:r>
              <a:rPr lang="da-DK" dirty="0">
                <a:solidFill>
                  <a:srgbClr val="58595B"/>
                </a:solidFill>
              </a:rPr>
              <a:t>Markedsforhold </a:t>
            </a:r>
          </a:p>
          <a:p>
            <a:pPr lvl="1">
              <a:spcBef>
                <a:spcPts val="200"/>
              </a:spcBef>
            </a:pPr>
            <a:r>
              <a:rPr lang="da-DK" dirty="0">
                <a:solidFill>
                  <a:srgbClr val="58595B"/>
                </a:solidFill>
              </a:rPr>
              <a:t>Forventninger til 2022</a:t>
            </a:r>
          </a:p>
          <a:p>
            <a:pPr lvl="1">
              <a:spcBef>
                <a:spcPts val="200"/>
              </a:spcBef>
            </a:pPr>
            <a:r>
              <a:rPr lang="da-DK" dirty="0">
                <a:solidFill>
                  <a:srgbClr val="58595B"/>
                </a:solidFill>
              </a:rPr>
              <a:t>Spørgsmål og sva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2</a:t>
            </a:fld>
            <a:endParaRPr lang="da-DK" dirty="0"/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814EB67A-E64F-4738-A2EE-887BE5FF94D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92" t="-528" r="-15722" b="528"/>
          <a:stretch/>
        </p:blipFill>
        <p:spPr>
          <a:xfrm>
            <a:off x="4799855" y="8620"/>
            <a:ext cx="8820981" cy="6849380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B43098F9-4C76-0EDE-1D19-B596FB48ED8D}"/>
              </a:ext>
            </a:extLst>
          </p:cNvPr>
          <p:cNvSpPr/>
          <p:nvPr/>
        </p:nvSpPr>
        <p:spPr>
          <a:xfrm>
            <a:off x="621296" y="5336007"/>
            <a:ext cx="3816424" cy="13207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lnSpc>
                <a:spcPct val="115000"/>
              </a:lnSpc>
              <a:spcAft>
                <a:spcPts val="600"/>
              </a:spcAft>
            </a:pPr>
            <a:r>
              <a:rPr lang="da-DK" sz="1100" dirty="0">
                <a:solidFill>
                  <a:srgbClr val="58595B"/>
                </a:solidFill>
              </a:rPr>
              <a:t>FREMADRETTEDE UDSAGN</a:t>
            </a:r>
          </a:p>
          <a:p>
            <a:pPr marL="0" lvl="1">
              <a:lnSpc>
                <a:spcPct val="115000"/>
              </a:lnSpc>
              <a:spcAft>
                <a:spcPts val="600"/>
              </a:spcAft>
            </a:pPr>
            <a:r>
              <a:rPr lang="da-DK" sz="1100" dirty="0">
                <a:solidFill>
                  <a:srgbClr val="58595B"/>
                </a:solidFill>
              </a:rPr>
              <a:t>Præsentationen indeholder udsagn om fremtiden, herunder forventninger til 2022, der som følge af deres natur er forbundet med risici og usikkerhedsfaktorer, hvilket indebærer, at den faktiske udvikling kan afvige </a:t>
            </a:r>
            <a:br>
              <a:rPr lang="da-DK" sz="1100" dirty="0">
                <a:solidFill>
                  <a:srgbClr val="58595B"/>
                </a:solidFill>
              </a:rPr>
            </a:br>
            <a:r>
              <a:rPr lang="da-DK" sz="1100" dirty="0">
                <a:solidFill>
                  <a:srgbClr val="58595B"/>
                </a:solidFill>
              </a:rPr>
              <a:t>fra det forventede. </a:t>
            </a: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5181723D-08AE-1B57-65F9-9946D347AB33}"/>
              </a:ext>
            </a:extLst>
          </p:cNvPr>
          <p:cNvSpPr/>
          <p:nvPr/>
        </p:nvSpPr>
        <p:spPr>
          <a:xfrm>
            <a:off x="9660396" y="116632"/>
            <a:ext cx="2232248" cy="2866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lnSpc>
                <a:spcPct val="115000"/>
              </a:lnSpc>
              <a:spcAft>
                <a:spcPts val="600"/>
              </a:spcAft>
            </a:pPr>
            <a:r>
              <a:rPr lang="da-DK" sz="1200" b="1" dirty="0">
                <a:solidFill>
                  <a:srgbClr val="58595B"/>
                </a:solidFill>
                <a:highlight>
                  <a:srgbClr val="FFFF00"/>
                </a:highlight>
              </a:rPr>
              <a:t>SKIFTE FOTO</a:t>
            </a:r>
          </a:p>
        </p:txBody>
      </p:sp>
      <p:pic>
        <p:nvPicPr>
          <p:cNvPr id="10" name="Billede 9" descr="Et billede, der indeholder indendørs, gulv, værelse, lever&#10;&#10;Automatisk genereret beskrivelse">
            <a:extLst>
              <a:ext uri="{FF2B5EF4-FFF2-40B4-BE49-F238E27FC236}">
                <a16:creationId xmlns:a16="http://schemas.microsoft.com/office/drawing/2014/main" id="{84A48542-ABEF-4F56-831A-226365F9A2C5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56"/>
          <a:stretch/>
        </p:blipFill>
        <p:spPr>
          <a:xfrm>
            <a:off x="4799856" y="44624"/>
            <a:ext cx="7401207" cy="684938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868785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Tekstboks 46">
            <a:extLst>
              <a:ext uri="{FF2B5EF4-FFF2-40B4-BE49-F238E27FC236}">
                <a16:creationId xmlns:a16="http://schemas.microsoft.com/office/drawing/2014/main" id="{297F0C37-8659-467C-812E-9F23C81CDAC8}"/>
              </a:ext>
            </a:extLst>
          </p:cNvPr>
          <p:cNvSpPr txBox="1"/>
          <p:nvPr/>
        </p:nvSpPr>
        <p:spPr>
          <a:xfrm>
            <a:off x="4391416" y="2209408"/>
            <a:ext cx="3036732" cy="232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400" b="1" dirty="0">
                <a:solidFill>
                  <a:srgbClr val="58595B"/>
                </a:solidFill>
                <a:latin typeface="Arial"/>
              </a:rPr>
              <a:t>Driftsresultat</a:t>
            </a:r>
            <a:endParaRPr kumimoji="0" lang="da-DK" sz="1400" b="1" i="0" u="none" strike="noStrike" kern="1200" cap="none" spc="0" normalizeH="0" baseline="0" noProof="0" dirty="0">
              <a:ln>
                <a:noFill/>
              </a:ln>
              <a:solidFill>
                <a:srgbClr val="58595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8" name="Tekstboks 27">
            <a:extLst>
              <a:ext uri="{FF2B5EF4-FFF2-40B4-BE49-F238E27FC236}">
                <a16:creationId xmlns:a16="http://schemas.microsoft.com/office/drawing/2014/main" id="{E94BDE2E-129E-488C-BE24-3861CAF64BDA}"/>
              </a:ext>
            </a:extLst>
          </p:cNvPr>
          <p:cNvSpPr txBox="1"/>
          <p:nvPr/>
        </p:nvSpPr>
        <p:spPr>
          <a:xfrm>
            <a:off x="6195470" y="3029968"/>
            <a:ext cx="828729" cy="4706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009E8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o. kr.</a:t>
            </a: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400" b="1" dirty="0">
                <a:solidFill>
                  <a:srgbClr val="009E8E"/>
                </a:solidFill>
                <a:latin typeface="Arial"/>
              </a:rPr>
              <a:t>H1</a:t>
            </a: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009E8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2022</a:t>
            </a:r>
          </a:p>
        </p:txBody>
      </p:sp>
      <p:sp>
        <p:nvSpPr>
          <p:cNvPr id="70" name="Tekstboks 27">
            <a:extLst>
              <a:ext uri="{FF2B5EF4-FFF2-40B4-BE49-F238E27FC236}">
                <a16:creationId xmlns:a16="http://schemas.microsoft.com/office/drawing/2014/main" id="{70D54E57-3E3C-41A2-97D3-07115F12B569}"/>
              </a:ext>
            </a:extLst>
          </p:cNvPr>
          <p:cNvSpPr txBox="1"/>
          <p:nvPr/>
        </p:nvSpPr>
        <p:spPr>
          <a:xfrm>
            <a:off x="6124099" y="3893568"/>
            <a:ext cx="944009" cy="4706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o. kr.</a:t>
            </a: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400" b="1" dirty="0">
                <a:solidFill>
                  <a:srgbClr val="58595B">
                    <a:lumMod val="60000"/>
                    <a:lumOff val="40000"/>
                  </a:srgbClr>
                </a:solidFill>
                <a:latin typeface="Arial"/>
              </a:rPr>
              <a:t>H1</a:t>
            </a: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2021</a:t>
            </a:r>
          </a:p>
        </p:txBody>
      </p:sp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1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da-DK" sz="3000" b="1" u="none" strike="noStrike" kern="1200" cap="none" spc="0" normalizeH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675629" y="1324212"/>
            <a:ext cx="10100889" cy="900000"/>
          </a:xfrm>
        </p:spPr>
        <p:txBody>
          <a:bodyPr/>
          <a:lstStyle/>
          <a:p>
            <a:r>
              <a:rPr lang="da-DK" dirty="0"/>
              <a:t>Resultaterne i 1. halvår  </a:t>
            </a:r>
            <a:br>
              <a:rPr lang="da-DK" dirty="0"/>
            </a:br>
            <a:endParaRPr lang="da-DK" dirty="0"/>
          </a:p>
        </p:txBody>
      </p:sp>
      <p:sp>
        <p:nvSpPr>
          <p:cNvPr id="36" name="Tekstboks 35"/>
          <p:cNvSpPr txBox="1"/>
          <p:nvPr/>
        </p:nvSpPr>
        <p:spPr>
          <a:xfrm>
            <a:off x="1070492" y="2877321"/>
            <a:ext cx="2206916" cy="59535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5600" dirty="0">
                <a:solidFill>
                  <a:srgbClr val="009E8E"/>
                </a:solidFill>
                <a:latin typeface="Arial Black" panose="020B0A04020102020204" pitchFamily="34" charset="0"/>
              </a:rPr>
              <a:t>4.102</a:t>
            </a:r>
            <a:endParaRPr kumimoji="0" lang="da-DK" sz="5600" b="0" i="0" u="none" strike="noStrike" kern="1200" cap="none" spc="0" normalizeH="0" baseline="0" noProof="0" dirty="0">
              <a:ln>
                <a:noFill/>
              </a:ln>
              <a:solidFill>
                <a:srgbClr val="009E8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47" name="Tekstboks 46"/>
          <p:cNvSpPr txBox="1"/>
          <p:nvPr/>
        </p:nvSpPr>
        <p:spPr>
          <a:xfrm>
            <a:off x="695353" y="2209408"/>
            <a:ext cx="3888479" cy="2250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msætning</a:t>
            </a:r>
          </a:p>
        </p:txBody>
      </p:sp>
      <p:sp>
        <p:nvSpPr>
          <p:cNvPr id="46" name="Tekstboks 27">
            <a:extLst>
              <a:ext uri="{FF2B5EF4-FFF2-40B4-BE49-F238E27FC236}">
                <a16:creationId xmlns:a16="http://schemas.microsoft.com/office/drawing/2014/main" id="{457EA028-3B88-401F-8061-72A9A6EE5D96}"/>
              </a:ext>
            </a:extLst>
          </p:cNvPr>
          <p:cNvSpPr txBox="1"/>
          <p:nvPr/>
        </p:nvSpPr>
        <p:spPr>
          <a:xfrm>
            <a:off x="3361240" y="3029968"/>
            <a:ext cx="862552" cy="4706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009E8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o. kr.</a:t>
            </a: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400" b="1" dirty="0">
                <a:solidFill>
                  <a:srgbClr val="009E8E"/>
                </a:solidFill>
                <a:latin typeface="Arial"/>
              </a:rPr>
              <a:t>H1</a:t>
            </a: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009E8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2022</a:t>
            </a:r>
          </a:p>
        </p:txBody>
      </p:sp>
      <p:sp>
        <p:nvSpPr>
          <p:cNvPr id="64" name="Tekstboks 35">
            <a:extLst>
              <a:ext uri="{FF2B5EF4-FFF2-40B4-BE49-F238E27FC236}">
                <a16:creationId xmlns:a16="http://schemas.microsoft.com/office/drawing/2014/main" id="{AC77F1DD-7892-46B9-8EA2-F562ABA58625}"/>
              </a:ext>
            </a:extLst>
          </p:cNvPr>
          <p:cNvSpPr txBox="1"/>
          <p:nvPr/>
        </p:nvSpPr>
        <p:spPr>
          <a:xfrm>
            <a:off x="1152780" y="3740921"/>
            <a:ext cx="2206916" cy="59535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5600" dirty="0">
                <a:solidFill>
                  <a:srgbClr val="58595B">
                    <a:lumMod val="60000"/>
                    <a:lumOff val="40000"/>
                  </a:srgbClr>
                </a:solidFill>
                <a:latin typeface="Arial Black" panose="020B0A04020102020204" pitchFamily="34" charset="0"/>
              </a:rPr>
              <a:t>3.213</a:t>
            </a:r>
            <a:endParaRPr kumimoji="0" lang="da-DK" sz="5600" b="0" i="0" u="none" strike="noStrike" kern="1200" cap="none" spc="0" normalizeH="0" baseline="0" noProof="0" dirty="0">
              <a:ln>
                <a:noFill/>
              </a:ln>
              <a:solidFill>
                <a:srgbClr val="58595B">
                  <a:lumMod val="60000"/>
                  <a:lumOff val="40000"/>
                </a:srgbClr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65" name="Tekstboks 27">
            <a:extLst>
              <a:ext uri="{FF2B5EF4-FFF2-40B4-BE49-F238E27FC236}">
                <a16:creationId xmlns:a16="http://schemas.microsoft.com/office/drawing/2014/main" id="{B8755CEC-3022-40EE-A936-72D3789B0C5D}"/>
              </a:ext>
            </a:extLst>
          </p:cNvPr>
          <p:cNvSpPr txBox="1"/>
          <p:nvPr/>
        </p:nvSpPr>
        <p:spPr>
          <a:xfrm>
            <a:off x="3361240" y="3893568"/>
            <a:ext cx="840080" cy="4706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o. kr.</a:t>
            </a: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1 2021</a:t>
            </a:r>
          </a:p>
        </p:txBody>
      </p:sp>
      <p:cxnSp>
        <p:nvCxnSpPr>
          <p:cNvPr id="23" name="Lige forbindelse 22">
            <a:extLst>
              <a:ext uri="{FF2B5EF4-FFF2-40B4-BE49-F238E27FC236}">
                <a16:creationId xmlns:a16="http://schemas.microsoft.com/office/drawing/2014/main" id="{4CA3E157-BB82-430E-98BD-E922A3BDE6E6}"/>
              </a:ext>
            </a:extLst>
          </p:cNvPr>
          <p:cNvCxnSpPr>
            <a:cxnSpLocks/>
          </p:cNvCxnSpPr>
          <p:nvPr/>
        </p:nvCxnSpPr>
        <p:spPr>
          <a:xfrm>
            <a:off x="4583832" y="2529100"/>
            <a:ext cx="0" cy="1980000"/>
          </a:xfrm>
          <a:prstGeom prst="line">
            <a:avLst/>
          </a:prstGeom>
          <a:ln w="28575">
            <a:solidFill>
              <a:schemeClr val="tx2"/>
            </a:solidFill>
            <a:miter lim="800000"/>
            <a:tailEnd type="none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ktangel 28">
            <a:extLst>
              <a:ext uri="{FF2B5EF4-FFF2-40B4-BE49-F238E27FC236}">
                <a16:creationId xmlns:a16="http://schemas.microsoft.com/office/drawing/2014/main" id="{AF5E83BA-71E0-492E-A591-A2426E5F8CCE}"/>
              </a:ext>
            </a:extLst>
          </p:cNvPr>
          <p:cNvSpPr/>
          <p:nvPr/>
        </p:nvSpPr>
        <p:spPr>
          <a:xfrm>
            <a:off x="682630" y="4905164"/>
            <a:ext cx="10345915" cy="93871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42875" indent="-142875">
              <a:spcAft>
                <a:spcPts val="600"/>
              </a:spcAft>
              <a:buFont typeface="Symbol" panose="05050102010706020507" pitchFamily="18" charset="2"/>
              <a:buChar char="×"/>
              <a:defRPr/>
            </a:pPr>
            <a:r>
              <a:rPr kumimoji="0" lang="da-DK" sz="1700" b="0" i="0" u="none" strike="noStrike" kern="1200" cap="none" spc="0" normalizeH="0" baseline="0" noProof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85% af forretningen har fremgang, især MT Højgaard Danmark  </a:t>
            </a:r>
          </a:p>
          <a:p>
            <a:pPr marL="142875" marR="0" lvl="0" indent="-142875" algn="l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×"/>
              <a:tabLst/>
              <a:defRPr/>
            </a:pPr>
            <a:r>
              <a:rPr lang="da-DK" sz="1700" dirty="0">
                <a:solidFill>
                  <a:srgbClr val="58595B"/>
                </a:solidFill>
                <a:latin typeface="Arial"/>
              </a:rPr>
              <a:t>Udfordringer i </a:t>
            </a:r>
            <a:r>
              <a:rPr lang="da-DK" sz="1700" dirty="0" err="1">
                <a:solidFill>
                  <a:srgbClr val="58595B"/>
                </a:solidFill>
                <a:latin typeface="Arial"/>
              </a:rPr>
              <a:t>Scandi</a:t>
            </a:r>
            <a:r>
              <a:rPr lang="da-DK" sz="1700" dirty="0">
                <a:solidFill>
                  <a:srgbClr val="58595B"/>
                </a:solidFill>
                <a:latin typeface="Arial"/>
              </a:rPr>
              <a:t> Byg og MT Højgaard International </a:t>
            </a:r>
          </a:p>
          <a:p>
            <a:pPr marL="142875" marR="0" lvl="0" indent="-142875" algn="l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×"/>
              <a:tabLst/>
              <a:defRPr/>
            </a:pPr>
            <a:r>
              <a:rPr lang="da-DK" sz="1700" dirty="0">
                <a:solidFill>
                  <a:srgbClr val="58595B"/>
                </a:solidFill>
                <a:latin typeface="Arial"/>
              </a:rPr>
              <a:t>Mindre resultateffekt af prisstigninger og leveringsproblemer på materialer </a:t>
            </a:r>
            <a:endParaRPr kumimoji="0" lang="da-DK" sz="1700" b="0" i="0" u="none" strike="noStrike" kern="1200" cap="none" spc="0" normalizeH="0" baseline="0" noProof="0" dirty="0">
              <a:ln>
                <a:noFill/>
              </a:ln>
              <a:solidFill>
                <a:srgbClr val="58595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9" name="Lige forbindelse 18">
            <a:extLst>
              <a:ext uri="{FF2B5EF4-FFF2-40B4-BE49-F238E27FC236}">
                <a16:creationId xmlns:a16="http://schemas.microsoft.com/office/drawing/2014/main" id="{7C851A47-0549-4995-82D0-A01A1A620127}"/>
              </a:ext>
            </a:extLst>
          </p:cNvPr>
          <p:cNvCxnSpPr>
            <a:cxnSpLocks/>
          </p:cNvCxnSpPr>
          <p:nvPr/>
        </p:nvCxnSpPr>
        <p:spPr>
          <a:xfrm>
            <a:off x="7640289" y="2529100"/>
            <a:ext cx="3883" cy="1980000"/>
          </a:xfrm>
          <a:prstGeom prst="line">
            <a:avLst/>
          </a:prstGeom>
          <a:ln w="28575">
            <a:solidFill>
              <a:schemeClr val="tx2"/>
            </a:solidFill>
            <a:miter lim="800000"/>
            <a:tailEnd type="none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kstboks 35">
            <a:extLst>
              <a:ext uri="{FF2B5EF4-FFF2-40B4-BE49-F238E27FC236}">
                <a16:creationId xmlns:a16="http://schemas.microsoft.com/office/drawing/2014/main" id="{A3F25F5F-49D8-405D-92E6-931269173CAC}"/>
              </a:ext>
            </a:extLst>
          </p:cNvPr>
          <p:cNvSpPr txBox="1"/>
          <p:nvPr/>
        </p:nvSpPr>
        <p:spPr>
          <a:xfrm>
            <a:off x="5063684" y="2877321"/>
            <a:ext cx="1032316" cy="61619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5600" b="0" i="0" u="none" strike="noStrike" kern="1200" cap="none" spc="0" normalizeH="0" baseline="0" noProof="0" dirty="0">
                <a:ln>
                  <a:noFill/>
                </a:ln>
                <a:solidFill>
                  <a:srgbClr val="009E8E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92</a:t>
            </a:r>
          </a:p>
        </p:txBody>
      </p:sp>
      <p:sp>
        <p:nvSpPr>
          <p:cNvPr id="27" name="Tekstboks 35">
            <a:extLst>
              <a:ext uri="{FF2B5EF4-FFF2-40B4-BE49-F238E27FC236}">
                <a16:creationId xmlns:a16="http://schemas.microsoft.com/office/drawing/2014/main" id="{E5E33782-E255-451B-AF9D-37DDE547BCC9}"/>
              </a:ext>
            </a:extLst>
          </p:cNvPr>
          <p:cNvSpPr txBox="1"/>
          <p:nvPr/>
        </p:nvSpPr>
        <p:spPr>
          <a:xfrm>
            <a:off x="5051884" y="3741417"/>
            <a:ext cx="1132130" cy="61619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5600" dirty="0">
                <a:solidFill>
                  <a:srgbClr val="58595B">
                    <a:lumMod val="60000"/>
                    <a:lumOff val="40000"/>
                  </a:srgbClr>
                </a:solidFill>
                <a:latin typeface="Arial Black" panose="020B0A04020102020204" pitchFamily="34" charset="0"/>
              </a:rPr>
              <a:t>33</a:t>
            </a:r>
            <a:endParaRPr kumimoji="0" lang="da-DK" sz="5600" b="0" i="0" u="none" strike="noStrike" kern="1200" cap="none" spc="0" normalizeH="0" baseline="0" noProof="0" dirty="0">
              <a:ln>
                <a:noFill/>
              </a:ln>
              <a:solidFill>
                <a:srgbClr val="58595B">
                  <a:lumMod val="60000"/>
                  <a:lumOff val="40000"/>
                </a:srgbClr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28" name="Rektangel 27">
            <a:extLst>
              <a:ext uri="{FF2B5EF4-FFF2-40B4-BE49-F238E27FC236}">
                <a16:creationId xmlns:a16="http://schemas.microsoft.com/office/drawing/2014/main" id="{8C336CC5-B073-47FA-AFD9-499202AA4137}"/>
              </a:ext>
            </a:extLst>
          </p:cNvPr>
          <p:cNvSpPr/>
          <p:nvPr/>
        </p:nvSpPr>
        <p:spPr>
          <a:xfrm>
            <a:off x="695353" y="6263863"/>
            <a:ext cx="10518501" cy="1595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ftsresultat og </a:t>
            </a:r>
            <a:r>
              <a:rPr kumimoji="0" lang="en-US" sz="1000" b="0" i="1" u="none" strike="noStrike" kern="1200" cap="none" spc="0" normalizeH="0" baseline="0" noProof="0" dirty="0" err="1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verskudsgrad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r </a:t>
            </a:r>
            <a:r>
              <a:rPr kumimoji="0" lang="en-US" sz="1000" b="0" i="1" u="none" strike="noStrike" kern="1200" cap="none" spc="0" normalizeH="0" baseline="0" noProof="0" dirty="0" err="1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givet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000" b="0" i="1" u="none" strike="noStrike" kern="1200" cap="none" spc="0" normalizeH="0" baseline="0" noProof="0" dirty="0" err="1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ør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000" b="0" i="1" u="none" strike="noStrike" kern="1200" cap="none" spc="0" normalizeH="0" baseline="0" noProof="0" dirty="0" err="1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ærlige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oster og </a:t>
            </a:r>
            <a:r>
              <a:rPr kumimoji="0" lang="en-US" sz="1000" b="0" i="1" u="none" strike="noStrike" kern="1200" cap="none" spc="0" normalizeH="0" baseline="0" noProof="0" dirty="0" err="1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ærlige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000" b="0" i="1" u="none" strike="noStrike" kern="1200" cap="none" spc="0" normalizeH="0" baseline="0" noProof="0" dirty="0" err="1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fskrivninger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PPA-</a:t>
            </a:r>
            <a:r>
              <a:rPr kumimoji="0" lang="en-US" sz="1000" b="0" i="1" u="none" strike="noStrike" kern="1200" cap="none" spc="0" normalizeH="0" baseline="0" noProof="0" dirty="0" err="1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fskrivninger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. </a:t>
            </a:r>
            <a:endParaRPr lang="da-DK" sz="1000" dirty="0">
              <a:solidFill>
                <a:schemeClr val="accent2">
                  <a:lumMod val="75000"/>
                </a:schemeClr>
              </a:solidFill>
            </a:endParaRP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52D5242B-A516-4CD2-9EBB-00303CEAF3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31219776"/>
              </p:ext>
            </p:extLst>
          </p:nvPr>
        </p:nvGraphicFramePr>
        <p:xfrm>
          <a:off x="7883329" y="2661297"/>
          <a:ext cx="3577267" cy="2315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2" name="Tekstboks 1">
            <a:extLst>
              <a:ext uri="{FF2B5EF4-FFF2-40B4-BE49-F238E27FC236}">
                <a16:creationId xmlns:a16="http://schemas.microsoft.com/office/drawing/2014/main" id="{F4BCC869-1075-4897-8689-551D02ECD520}"/>
              </a:ext>
            </a:extLst>
          </p:cNvPr>
          <p:cNvSpPr txBox="1"/>
          <p:nvPr/>
        </p:nvSpPr>
        <p:spPr>
          <a:xfrm>
            <a:off x="7860196" y="2557356"/>
            <a:ext cx="1202789" cy="187568"/>
          </a:xfrm>
          <a:prstGeom prst="rect">
            <a:avLst/>
          </a:prstGeom>
        </p:spPr>
        <p:txBody>
          <a:bodyPr wrap="square" rtlCol="0" anchor="b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a-DK" sz="700" dirty="0">
                <a:solidFill>
                  <a:sysClr val="windowText" lastClr="000000"/>
                </a:solidFill>
                <a:latin typeface="Graphik Semibold" pitchFamily="34" charset="0"/>
                <a:ea typeface="Verdana" panose="020B0604030504040204" pitchFamily="34" charset="0"/>
                <a:cs typeface="Arial" panose="020B0604020202020204" pitchFamily="34" charset="0"/>
              </a:rPr>
              <a:t>Mio. kr.</a:t>
            </a:r>
          </a:p>
        </p:txBody>
      </p:sp>
      <p:sp>
        <p:nvSpPr>
          <p:cNvPr id="2" name="Tekstboks 1">
            <a:extLst>
              <a:ext uri="{FF2B5EF4-FFF2-40B4-BE49-F238E27FC236}">
                <a16:creationId xmlns:a16="http://schemas.microsoft.com/office/drawing/2014/main" id="{05C73BCD-81F4-43F0-9F77-ED71003F60F6}"/>
              </a:ext>
            </a:extLst>
          </p:cNvPr>
          <p:cNvSpPr txBox="1"/>
          <p:nvPr/>
        </p:nvSpPr>
        <p:spPr>
          <a:xfrm>
            <a:off x="11208568" y="2557356"/>
            <a:ext cx="780095" cy="187568"/>
          </a:xfrm>
          <a:prstGeom prst="rect">
            <a:avLst/>
          </a:prstGeom>
        </p:spPr>
        <p:txBody>
          <a:bodyPr wrap="square" rtlCol="0" anchor="b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a-DK" sz="700" dirty="0">
                <a:solidFill>
                  <a:sysClr val="windowText" lastClr="000000"/>
                </a:solidFill>
                <a:latin typeface="Graphik Semibold" pitchFamily="34" charset="0"/>
                <a:ea typeface="Verdana" panose="020B060403050404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4AF8B8BF-704F-47AE-A0BD-F7B1D32694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4613" y="403550"/>
            <a:ext cx="342899" cy="146519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da-DK" smtClean="0"/>
              <a:pPr>
                <a:spcAft>
                  <a:spcPts val="600"/>
                </a:spcAft>
              </a:pPr>
              <a:t>3</a:t>
            </a:fld>
            <a:endParaRPr lang="da-DK" dirty="0"/>
          </a:p>
        </p:txBody>
      </p:sp>
      <p:sp>
        <p:nvSpPr>
          <p:cNvPr id="30" name="Tekstboks 46">
            <a:extLst>
              <a:ext uri="{FF2B5EF4-FFF2-40B4-BE49-F238E27FC236}">
                <a16:creationId xmlns:a16="http://schemas.microsoft.com/office/drawing/2014/main" id="{8C013E7C-7294-4F6E-89BD-7C8D265E7D30}"/>
              </a:ext>
            </a:extLst>
          </p:cNvPr>
          <p:cNvSpPr txBox="1"/>
          <p:nvPr/>
        </p:nvSpPr>
        <p:spPr>
          <a:xfrm>
            <a:off x="8496275" y="2209408"/>
            <a:ext cx="2856309" cy="232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vartalsvis driftsindtjening</a:t>
            </a:r>
          </a:p>
        </p:txBody>
      </p:sp>
    </p:spTree>
    <p:extLst>
      <p:ext uri="{BB962C8B-B14F-4D97-AF65-F5344CB8AC3E}">
        <p14:creationId xmlns:p14="http://schemas.microsoft.com/office/powerpoint/2010/main" val="23442551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ktangel 24">
            <a:extLst>
              <a:ext uri="{FF2B5EF4-FFF2-40B4-BE49-F238E27FC236}">
                <a16:creationId xmlns:a16="http://schemas.microsoft.com/office/drawing/2014/main" id="{64FF5F82-C977-49DB-9BC2-1FDDFA189081}"/>
              </a:ext>
            </a:extLst>
          </p:cNvPr>
          <p:cNvSpPr/>
          <p:nvPr/>
        </p:nvSpPr>
        <p:spPr>
          <a:xfrm>
            <a:off x="684213" y="5148872"/>
            <a:ext cx="11163294" cy="13889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33350" indent="-133350">
              <a:lnSpc>
                <a:spcPct val="113000"/>
              </a:lnSpc>
              <a:spcAft>
                <a:spcPts val="600"/>
              </a:spcAft>
              <a:buFont typeface="Symbol" panose="05050102010706020507" pitchFamily="18" charset="2"/>
              <a:buChar char=""/>
            </a:pPr>
            <a:r>
              <a:rPr lang="da-DK" sz="1700" dirty="0">
                <a:solidFill>
                  <a:srgbClr val="58595B"/>
                </a:solidFill>
              </a:rPr>
              <a:t>Ordreindgang i Q2 højere end i noget kvartal under højkonjunkturen i 2019-2021</a:t>
            </a:r>
          </a:p>
          <a:p>
            <a:pPr marL="133350" lvl="0" indent="-133350">
              <a:lnSpc>
                <a:spcPct val="113000"/>
              </a:lnSpc>
              <a:spcAft>
                <a:spcPts val="600"/>
              </a:spcAft>
              <a:buFont typeface="Symbol" panose="05050102010706020507" pitchFamily="18" charset="2"/>
              <a:buChar char=""/>
            </a:pPr>
            <a:r>
              <a:rPr lang="da-DK" sz="1700" dirty="0">
                <a:solidFill>
                  <a:srgbClr val="58595B"/>
                </a:solidFill>
              </a:rPr>
              <a:t>45% af ordreindgang i H1 kom fra strategiske byggepartnerskaber og andre nære kundesamarbejder</a:t>
            </a:r>
          </a:p>
          <a:p>
            <a:pPr marL="133350" lvl="0" indent="-133350">
              <a:lnSpc>
                <a:spcPct val="113000"/>
              </a:lnSpc>
              <a:spcAft>
                <a:spcPts val="600"/>
              </a:spcAft>
              <a:buFont typeface="Symbol" panose="05050102010706020507" pitchFamily="18" charset="2"/>
              <a:buChar char=""/>
            </a:pPr>
            <a:r>
              <a:rPr lang="da-DK" sz="1700" dirty="0">
                <a:solidFill>
                  <a:srgbClr val="58595B"/>
                </a:solidFill>
              </a:rPr>
              <a:t>Ordreindgang upåvirket af højere byggematerialepriser og svagere licitationsmarked  </a:t>
            </a:r>
          </a:p>
          <a:p>
            <a:pPr lvl="0">
              <a:lnSpc>
                <a:spcPct val="113000"/>
              </a:lnSpc>
              <a:spcAft>
                <a:spcPts val="600"/>
              </a:spcAft>
            </a:pPr>
            <a:endParaRPr lang="da-DK" sz="1700" dirty="0">
              <a:solidFill>
                <a:srgbClr val="58595B"/>
              </a:solidFill>
              <a:highlight>
                <a:srgbClr val="FFFF00"/>
              </a:highlight>
            </a:endParaRPr>
          </a:p>
        </p:txBody>
      </p:sp>
      <p:sp>
        <p:nvSpPr>
          <p:cNvPr id="77" name="Tekstboks 46">
            <a:extLst>
              <a:ext uri="{FF2B5EF4-FFF2-40B4-BE49-F238E27FC236}">
                <a16:creationId xmlns:a16="http://schemas.microsoft.com/office/drawing/2014/main" id="{F6A47D8A-8BDC-42A3-AC27-22FB234BF091}"/>
              </a:ext>
            </a:extLst>
          </p:cNvPr>
          <p:cNvSpPr txBox="1"/>
          <p:nvPr/>
        </p:nvSpPr>
        <p:spPr>
          <a:xfrm>
            <a:off x="695401" y="2204864"/>
            <a:ext cx="3897016" cy="2250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vartalsvis ordreindgang</a:t>
            </a:r>
          </a:p>
        </p:txBody>
      </p:sp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0048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1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3000" b="1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12% </a:t>
            </a:r>
            <a:r>
              <a:rPr lang="en-US" dirty="0" err="1"/>
              <a:t>højere</a:t>
            </a:r>
            <a:r>
              <a:rPr lang="en-US" dirty="0"/>
              <a:t> </a:t>
            </a:r>
            <a:r>
              <a:rPr lang="en-US" dirty="0" err="1"/>
              <a:t>ordreindgang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halvåret</a:t>
            </a:r>
            <a:r>
              <a:rPr lang="en-US" dirty="0"/>
              <a:t> </a:t>
            </a:r>
          </a:p>
        </p:txBody>
      </p:sp>
      <p:sp>
        <p:nvSpPr>
          <p:cNvPr id="36" name="Tekstboks 35"/>
          <p:cNvSpPr txBox="1"/>
          <p:nvPr/>
        </p:nvSpPr>
        <p:spPr>
          <a:xfrm>
            <a:off x="4655840" y="2986227"/>
            <a:ext cx="1132130" cy="59535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5600" dirty="0">
                <a:solidFill>
                  <a:srgbClr val="009E8E"/>
                </a:solidFill>
                <a:latin typeface="Arial Black" panose="020B0A04020102020204" pitchFamily="34" charset="0"/>
              </a:rPr>
              <a:t>  5,3</a:t>
            </a:r>
            <a:endParaRPr kumimoji="0" lang="da-DK" sz="5600" b="0" i="0" u="none" strike="noStrike" kern="1200" cap="none" spc="0" normalizeH="0" baseline="0" noProof="0" dirty="0">
              <a:ln>
                <a:noFill/>
              </a:ln>
              <a:solidFill>
                <a:srgbClr val="009E8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47" name="Tekstboks 46"/>
          <p:cNvSpPr txBox="1"/>
          <p:nvPr/>
        </p:nvSpPr>
        <p:spPr>
          <a:xfrm>
            <a:off x="4603603" y="2205708"/>
            <a:ext cx="3051756" cy="2250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dreindgang</a:t>
            </a:r>
          </a:p>
        </p:txBody>
      </p:sp>
      <p:sp>
        <p:nvSpPr>
          <p:cNvPr id="46" name="Tekstboks 27">
            <a:extLst>
              <a:ext uri="{FF2B5EF4-FFF2-40B4-BE49-F238E27FC236}">
                <a16:creationId xmlns:a16="http://schemas.microsoft.com/office/drawing/2014/main" id="{457EA028-3B88-401F-8061-72A9A6EE5D96}"/>
              </a:ext>
            </a:extLst>
          </p:cNvPr>
          <p:cNvSpPr txBox="1"/>
          <p:nvPr/>
        </p:nvSpPr>
        <p:spPr>
          <a:xfrm>
            <a:off x="6435405" y="3138874"/>
            <a:ext cx="848476" cy="4706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400" b="1" dirty="0">
                <a:solidFill>
                  <a:srgbClr val="009E8E"/>
                </a:solidFill>
                <a:latin typeface="Arial"/>
              </a:rPr>
              <a:t>mia. kr.</a:t>
            </a:r>
            <a:endParaRPr kumimoji="0" lang="da-DK" sz="1400" b="1" i="0" u="none" strike="noStrike" kern="1200" cap="none" spc="0" normalizeH="0" baseline="0" noProof="0" dirty="0">
              <a:ln>
                <a:noFill/>
              </a:ln>
              <a:solidFill>
                <a:srgbClr val="009E8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400" b="1" dirty="0">
                <a:solidFill>
                  <a:srgbClr val="009E8E"/>
                </a:solidFill>
                <a:latin typeface="Arial"/>
              </a:rPr>
              <a:t>H1 20</a:t>
            </a: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009E8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2</a:t>
            </a:r>
          </a:p>
        </p:txBody>
      </p:sp>
      <p:sp>
        <p:nvSpPr>
          <p:cNvPr id="64" name="Tekstboks 35">
            <a:extLst>
              <a:ext uri="{FF2B5EF4-FFF2-40B4-BE49-F238E27FC236}">
                <a16:creationId xmlns:a16="http://schemas.microsoft.com/office/drawing/2014/main" id="{AC77F1DD-7892-46B9-8EA2-F562ABA58625}"/>
              </a:ext>
            </a:extLst>
          </p:cNvPr>
          <p:cNvSpPr txBox="1"/>
          <p:nvPr/>
        </p:nvSpPr>
        <p:spPr>
          <a:xfrm>
            <a:off x="5123892" y="3849827"/>
            <a:ext cx="1132130" cy="59535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5600" dirty="0">
                <a:solidFill>
                  <a:srgbClr val="58595B">
                    <a:lumMod val="60000"/>
                    <a:lumOff val="40000"/>
                  </a:srgbClr>
                </a:solidFill>
                <a:latin typeface="Arial Black" panose="020B0A04020102020204" pitchFamily="34" charset="0"/>
              </a:rPr>
              <a:t>4,8</a:t>
            </a:r>
            <a:endParaRPr kumimoji="0" lang="da-DK" sz="5600" b="0" i="0" u="none" strike="noStrike" kern="1200" cap="none" spc="0" normalizeH="0" baseline="0" noProof="0" dirty="0">
              <a:ln>
                <a:noFill/>
              </a:ln>
              <a:solidFill>
                <a:srgbClr val="58595B">
                  <a:lumMod val="60000"/>
                  <a:lumOff val="40000"/>
                </a:srgbClr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65" name="Tekstboks 27">
            <a:extLst>
              <a:ext uri="{FF2B5EF4-FFF2-40B4-BE49-F238E27FC236}">
                <a16:creationId xmlns:a16="http://schemas.microsoft.com/office/drawing/2014/main" id="{B8755CEC-3022-40EE-A936-72D3789B0C5D}"/>
              </a:ext>
            </a:extLst>
          </p:cNvPr>
          <p:cNvSpPr txBox="1"/>
          <p:nvPr/>
        </p:nvSpPr>
        <p:spPr>
          <a:xfrm>
            <a:off x="6435405" y="4002474"/>
            <a:ext cx="860303" cy="4706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a. kr.</a:t>
            </a: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1 2021</a:t>
            </a: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28E424BB-584B-497A-A6DC-1680026261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4613" y="403550"/>
            <a:ext cx="342899" cy="146519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da-DK" smtClean="0"/>
              <a:pPr>
                <a:spcAft>
                  <a:spcPts val="600"/>
                </a:spcAft>
              </a:pPr>
              <a:t>4</a:t>
            </a:fld>
            <a:endParaRPr lang="da-DK" dirty="0"/>
          </a:p>
        </p:txBody>
      </p:sp>
      <p:sp>
        <p:nvSpPr>
          <p:cNvPr id="26" name="Tekstboks 46">
            <a:extLst>
              <a:ext uri="{FF2B5EF4-FFF2-40B4-BE49-F238E27FC236}">
                <a16:creationId xmlns:a16="http://schemas.microsoft.com/office/drawing/2014/main" id="{1070A464-0F19-4D70-AB49-0C479EECE3B8}"/>
              </a:ext>
            </a:extLst>
          </p:cNvPr>
          <p:cNvSpPr txBox="1"/>
          <p:nvPr/>
        </p:nvSpPr>
        <p:spPr>
          <a:xfrm>
            <a:off x="7666545" y="2205708"/>
            <a:ext cx="3849255" cy="2250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retningsenhedernes ordreindgang</a:t>
            </a:r>
          </a:p>
        </p:txBody>
      </p:sp>
      <p:pic>
        <p:nvPicPr>
          <p:cNvPr id="32" name="Grafik 31">
            <a:extLst>
              <a:ext uri="{FF2B5EF4-FFF2-40B4-BE49-F238E27FC236}">
                <a16:creationId xmlns:a16="http://schemas.microsoft.com/office/drawing/2014/main" id="{9239295B-DB63-460F-B736-F56A7F12085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757446" y="2811812"/>
            <a:ext cx="901702" cy="414914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0D6B2C9E-9634-44AD-952C-45CA4DBEF6D5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752184" y="4185084"/>
            <a:ext cx="901702" cy="414914"/>
          </a:xfrm>
          <a:prstGeom prst="rect">
            <a:avLst/>
          </a:prstGeom>
        </p:spPr>
      </p:pic>
      <p:grpSp>
        <p:nvGrpSpPr>
          <p:cNvPr id="42" name="Gruppe 41">
            <a:extLst>
              <a:ext uri="{FF2B5EF4-FFF2-40B4-BE49-F238E27FC236}">
                <a16:creationId xmlns:a16="http://schemas.microsoft.com/office/drawing/2014/main" id="{91E271BA-31CD-4632-B367-EA69D7F4D7E3}"/>
              </a:ext>
            </a:extLst>
          </p:cNvPr>
          <p:cNvGrpSpPr>
            <a:grpSpLocks noChangeAspect="1"/>
          </p:cNvGrpSpPr>
          <p:nvPr/>
        </p:nvGrpSpPr>
        <p:grpSpPr>
          <a:xfrm>
            <a:off x="7838178" y="3400514"/>
            <a:ext cx="502896" cy="189869"/>
            <a:chOff x="5514975" y="4845050"/>
            <a:chExt cx="1555751" cy="587375"/>
          </a:xfrm>
        </p:grpSpPr>
        <p:sp>
          <p:nvSpPr>
            <p:cNvPr id="43" name="Rectangle 116">
              <a:extLst>
                <a:ext uri="{FF2B5EF4-FFF2-40B4-BE49-F238E27FC236}">
                  <a16:creationId xmlns:a16="http://schemas.microsoft.com/office/drawing/2014/main" id="{180B4A9E-7EB3-4F4E-A0B2-FCBF204F56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38800" y="5257800"/>
              <a:ext cx="42863" cy="68262"/>
            </a:xfrm>
            <a:prstGeom prst="rect">
              <a:avLst/>
            </a:prstGeom>
            <a:solidFill>
              <a:srgbClr val="7479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Rectangle 117">
              <a:extLst>
                <a:ext uri="{FF2B5EF4-FFF2-40B4-BE49-F238E27FC236}">
                  <a16:creationId xmlns:a16="http://schemas.microsoft.com/office/drawing/2014/main" id="{4C2AC949-C50A-420B-B59D-1649F44F86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61038" y="5257800"/>
              <a:ext cx="41275" cy="68262"/>
            </a:xfrm>
            <a:prstGeom prst="rect">
              <a:avLst/>
            </a:prstGeom>
            <a:solidFill>
              <a:srgbClr val="7479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Freeform 118">
              <a:extLst>
                <a:ext uri="{FF2B5EF4-FFF2-40B4-BE49-F238E27FC236}">
                  <a16:creationId xmlns:a16="http://schemas.microsoft.com/office/drawing/2014/main" id="{EC2F27D4-4DE6-4C10-A081-024A6C1876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14975" y="4845050"/>
              <a:ext cx="412750" cy="587375"/>
            </a:xfrm>
            <a:custGeom>
              <a:avLst/>
              <a:gdLst>
                <a:gd name="T0" fmla="*/ 130 w 260"/>
                <a:gd name="T1" fmla="*/ 0 h 370"/>
                <a:gd name="T2" fmla="*/ 0 w 260"/>
                <a:gd name="T3" fmla="*/ 106 h 370"/>
                <a:gd name="T4" fmla="*/ 0 w 260"/>
                <a:gd name="T5" fmla="*/ 238 h 370"/>
                <a:gd name="T6" fmla="*/ 0 w 260"/>
                <a:gd name="T7" fmla="*/ 370 h 370"/>
                <a:gd name="T8" fmla="*/ 130 w 260"/>
                <a:gd name="T9" fmla="*/ 370 h 370"/>
                <a:gd name="T10" fmla="*/ 260 w 260"/>
                <a:gd name="T11" fmla="*/ 370 h 370"/>
                <a:gd name="T12" fmla="*/ 260 w 260"/>
                <a:gd name="T13" fmla="*/ 238 h 370"/>
                <a:gd name="T14" fmla="*/ 260 w 260"/>
                <a:gd name="T15" fmla="*/ 106 h 370"/>
                <a:gd name="T16" fmla="*/ 130 w 260"/>
                <a:gd name="T17" fmla="*/ 0 h 370"/>
                <a:gd name="T18" fmla="*/ 26 w 260"/>
                <a:gd name="T19" fmla="*/ 122 h 370"/>
                <a:gd name="T20" fmla="*/ 116 w 260"/>
                <a:gd name="T21" fmla="*/ 50 h 370"/>
                <a:gd name="T22" fmla="*/ 116 w 260"/>
                <a:gd name="T23" fmla="*/ 137 h 370"/>
                <a:gd name="T24" fmla="*/ 26 w 260"/>
                <a:gd name="T25" fmla="*/ 209 h 370"/>
                <a:gd name="T26" fmla="*/ 26 w 260"/>
                <a:gd name="T27" fmla="*/ 122 h 370"/>
                <a:gd name="T28" fmla="*/ 233 w 260"/>
                <a:gd name="T29" fmla="*/ 344 h 370"/>
                <a:gd name="T30" fmla="*/ 130 w 260"/>
                <a:gd name="T31" fmla="*/ 344 h 370"/>
                <a:gd name="T32" fmla="*/ 26 w 260"/>
                <a:gd name="T33" fmla="*/ 344 h 370"/>
                <a:gd name="T34" fmla="*/ 26 w 260"/>
                <a:gd name="T35" fmla="*/ 242 h 370"/>
                <a:gd name="T36" fmla="*/ 130 w 260"/>
                <a:gd name="T37" fmla="*/ 161 h 370"/>
                <a:gd name="T38" fmla="*/ 233 w 260"/>
                <a:gd name="T39" fmla="*/ 242 h 370"/>
                <a:gd name="T40" fmla="*/ 233 w 260"/>
                <a:gd name="T41" fmla="*/ 344 h 370"/>
                <a:gd name="T42" fmla="*/ 233 w 260"/>
                <a:gd name="T43" fmla="*/ 209 h 370"/>
                <a:gd name="T44" fmla="*/ 143 w 260"/>
                <a:gd name="T45" fmla="*/ 136 h 370"/>
                <a:gd name="T46" fmla="*/ 143 w 260"/>
                <a:gd name="T47" fmla="*/ 49 h 370"/>
                <a:gd name="T48" fmla="*/ 233 w 260"/>
                <a:gd name="T49" fmla="*/ 123 h 370"/>
                <a:gd name="T50" fmla="*/ 233 w 260"/>
                <a:gd name="T51" fmla="*/ 209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0" h="370">
                  <a:moveTo>
                    <a:pt x="130" y="0"/>
                  </a:moveTo>
                  <a:lnTo>
                    <a:pt x="0" y="106"/>
                  </a:lnTo>
                  <a:lnTo>
                    <a:pt x="0" y="238"/>
                  </a:lnTo>
                  <a:lnTo>
                    <a:pt x="0" y="370"/>
                  </a:lnTo>
                  <a:lnTo>
                    <a:pt x="130" y="370"/>
                  </a:lnTo>
                  <a:lnTo>
                    <a:pt x="260" y="370"/>
                  </a:lnTo>
                  <a:lnTo>
                    <a:pt x="260" y="238"/>
                  </a:lnTo>
                  <a:lnTo>
                    <a:pt x="260" y="106"/>
                  </a:lnTo>
                  <a:lnTo>
                    <a:pt x="130" y="0"/>
                  </a:lnTo>
                  <a:close/>
                  <a:moveTo>
                    <a:pt x="26" y="122"/>
                  </a:moveTo>
                  <a:lnTo>
                    <a:pt x="116" y="50"/>
                  </a:lnTo>
                  <a:lnTo>
                    <a:pt x="116" y="137"/>
                  </a:lnTo>
                  <a:lnTo>
                    <a:pt x="26" y="209"/>
                  </a:lnTo>
                  <a:lnTo>
                    <a:pt x="26" y="122"/>
                  </a:lnTo>
                  <a:close/>
                  <a:moveTo>
                    <a:pt x="233" y="344"/>
                  </a:moveTo>
                  <a:lnTo>
                    <a:pt x="130" y="344"/>
                  </a:lnTo>
                  <a:lnTo>
                    <a:pt x="26" y="344"/>
                  </a:lnTo>
                  <a:lnTo>
                    <a:pt x="26" y="242"/>
                  </a:lnTo>
                  <a:lnTo>
                    <a:pt x="130" y="161"/>
                  </a:lnTo>
                  <a:lnTo>
                    <a:pt x="233" y="242"/>
                  </a:lnTo>
                  <a:lnTo>
                    <a:pt x="233" y="344"/>
                  </a:lnTo>
                  <a:close/>
                  <a:moveTo>
                    <a:pt x="233" y="209"/>
                  </a:moveTo>
                  <a:lnTo>
                    <a:pt x="143" y="136"/>
                  </a:lnTo>
                  <a:lnTo>
                    <a:pt x="143" y="49"/>
                  </a:lnTo>
                  <a:lnTo>
                    <a:pt x="233" y="123"/>
                  </a:lnTo>
                  <a:lnTo>
                    <a:pt x="233" y="209"/>
                  </a:lnTo>
                  <a:close/>
                </a:path>
              </a:pathLst>
            </a:custGeom>
            <a:solidFill>
              <a:srgbClr val="7479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Freeform 119">
              <a:extLst>
                <a:ext uri="{FF2B5EF4-FFF2-40B4-BE49-F238E27FC236}">
                  <a16:creationId xmlns:a16="http://schemas.microsoft.com/office/drawing/2014/main" id="{517B452D-4CC1-439B-A0BC-1414F9571F1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8688" y="5091113"/>
              <a:ext cx="93663" cy="123825"/>
            </a:xfrm>
            <a:custGeom>
              <a:avLst/>
              <a:gdLst>
                <a:gd name="T0" fmla="*/ 58 w 59"/>
                <a:gd name="T1" fmla="*/ 14 h 78"/>
                <a:gd name="T2" fmla="*/ 16 w 59"/>
                <a:gd name="T3" fmla="*/ 14 h 78"/>
                <a:gd name="T4" fmla="*/ 16 w 59"/>
                <a:gd name="T5" fmla="*/ 30 h 78"/>
                <a:gd name="T6" fmla="*/ 54 w 59"/>
                <a:gd name="T7" fmla="*/ 30 h 78"/>
                <a:gd name="T8" fmla="*/ 54 w 59"/>
                <a:gd name="T9" fmla="*/ 44 h 78"/>
                <a:gd name="T10" fmla="*/ 16 w 59"/>
                <a:gd name="T11" fmla="*/ 44 h 78"/>
                <a:gd name="T12" fmla="*/ 16 w 59"/>
                <a:gd name="T13" fmla="*/ 65 h 78"/>
                <a:gd name="T14" fmla="*/ 59 w 59"/>
                <a:gd name="T15" fmla="*/ 65 h 78"/>
                <a:gd name="T16" fmla="*/ 59 w 59"/>
                <a:gd name="T17" fmla="*/ 78 h 78"/>
                <a:gd name="T18" fmla="*/ 0 w 59"/>
                <a:gd name="T19" fmla="*/ 78 h 78"/>
                <a:gd name="T20" fmla="*/ 0 w 59"/>
                <a:gd name="T21" fmla="*/ 0 h 78"/>
                <a:gd name="T22" fmla="*/ 58 w 59"/>
                <a:gd name="T23" fmla="*/ 0 h 78"/>
                <a:gd name="T24" fmla="*/ 58 w 59"/>
                <a:gd name="T25" fmla="*/ 14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9" h="78">
                  <a:moveTo>
                    <a:pt x="58" y="14"/>
                  </a:moveTo>
                  <a:lnTo>
                    <a:pt x="16" y="14"/>
                  </a:lnTo>
                  <a:lnTo>
                    <a:pt x="16" y="30"/>
                  </a:lnTo>
                  <a:lnTo>
                    <a:pt x="54" y="30"/>
                  </a:lnTo>
                  <a:lnTo>
                    <a:pt x="54" y="44"/>
                  </a:lnTo>
                  <a:lnTo>
                    <a:pt x="16" y="44"/>
                  </a:lnTo>
                  <a:lnTo>
                    <a:pt x="16" y="65"/>
                  </a:lnTo>
                  <a:lnTo>
                    <a:pt x="59" y="65"/>
                  </a:lnTo>
                  <a:lnTo>
                    <a:pt x="59" y="78"/>
                  </a:lnTo>
                  <a:lnTo>
                    <a:pt x="0" y="78"/>
                  </a:lnTo>
                  <a:lnTo>
                    <a:pt x="0" y="0"/>
                  </a:lnTo>
                  <a:lnTo>
                    <a:pt x="58" y="0"/>
                  </a:lnTo>
                  <a:lnTo>
                    <a:pt x="58" y="14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Freeform 120">
              <a:extLst>
                <a:ext uri="{FF2B5EF4-FFF2-40B4-BE49-F238E27FC236}">
                  <a16:creationId xmlns:a16="http://schemas.microsoft.com/office/drawing/2014/main" id="{F8E9BB5D-B5C7-48F0-B3BE-17A883B2C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2988" y="5121275"/>
              <a:ext cx="82550" cy="93662"/>
            </a:xfrm>
            <a:custGeom>
              <a:avLst/>
              <a:gdLst>
                <a:gd name="T0" fmla="*/ 244 w 244"/>
                <a:gd name="T1" fmla="*/ 277 h 277"/>
                <a:gd name="T2" fmla="*/ 173 w 244"/>
                <a:gd name="T3" fmla="*/ 277 h 277"/>
                <a:gd name="T4" fmla="*/ 173 w 244"/>
                <a:gd name="T5" fmla="*/ 113 h 277"/>
                <a:gd name="T6" fmla="*/ 127 w 244"/>
                <a:gd name="T7" fmla="*/ 60 h 277"/>
                <a:gd name="T8" fmla="*/ 71 w 244"/>
                <a:gd name="T9" fmla="*/ 122 h 277"/>
                <a:gd name="T10" fmla="*/ 71 w 244"/>
                <a:gd name="T11" fmla="*/ 277 h 277"/>
                <a:gd name="T12" fmla="*/ 0 w 244"/>
                <a:gd name="T13" fmla="*/ 277 h 277"/>
                <a:gd name="T14" fmla="*/ 0 w 244"/>
                <a:gd name="T15" fmla="*/ 7 h 277"/>
                <a:gd name="T16" fmla="*/ 68 w 244"/>
                <a:gd name="T17" fmla="*/ 7 h 277"/>
                <a:gd name="T18" fmla="*/ 68 w 244"/>
                <a:gd name="T19" fmla="*/ 46 h 277"/>
                <a:gd name="T20" fmla="*/ 69 w 244"/>
                <a:gd name="T21" fmla="*/ 46 h 277"/>
                <a:gd name="T22" fmla="*/ 150 w 244"/>
                <a:gd name="T23" fmla="*/ 0 h 277"/>
                <a:gd name="T24" fmla="*/ 244 w 244"/>
                <a:gd name="T25" fmla="*/ 90 h 277"/>
                <a:gd name="T26" fmla="*/ 244 w 244"/>
                <a:gd name="T27" fmla="*/ 27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4" h="277">
                  <a:moveTo>
                    <a:pt x="244" y="277"/>
                  </a:moveTo>
                  <a:cubicBezTo>
                    <a:pt x="173" y="277"/>
                    <a:pt x="173" y="277"/>
                    <a:pt x="173" y="277"/>
                  </a:cubicBezTo>
                  <a:cubicBezTo>
                    <a:pt x="173" y="113"/>
                    <a:pt x="173" y="113"/>
                    <a:pt x="173" y="113"/>
                  </a:cubicBezTo>
                  <a:cubicBezTo>
                    <a:pt x="173" y="93"/>
                    <a:pt x="172" y="60"/>
                    <a:pt x="127" y="60"/>
                  </a:cubicBezTo>
                  <a:cubicBezTo>
                    <a:pt x="95" y="60"/>
                    <a:pt x="71" y="81"/>
                    <a:pt x="71" y="122"/>
                  </a:cubicBezTo>
                  <a:cubicBezTo>
                    <a:pt x="71" y="277"/>
                    <a:pt x="71" y="277"/>
                    <a:pt x="71" y="277"/>
                  </a:cubicBezTo>
                  <a:cubicBezTo>
                    <a:pt x="0" y="277"/>
                    <a:pt x="0" y="277"/>
                    <a:pt x="0" y="27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68" y="7"/>
                    <a:pt x="68" y="7"/>
                    <a:pt x="68" y="7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9" y="46"/>
                    <a:pt x="69" y="46"/>
                    <a:pt x="69" y="46"/>
                  </a:cubicBezTo>
                  <a:cubicBezTo>
                    <a:pt x="78" y="30"/>
                    <a:pt x="99" y="0"/>
                    <a:pt x="150" y="0"/>
                  </a:cubicBezTo>
                  <a:cubicBezTo>
                    <a:pt x="203" y="0"/>
                    <a:pt x="244" y="31"/>
                    <a:pt x="244" y="90"/>
                  </a:cubicBezTo>
                  <a:lnTo>
                    <a:pt x="244" y="277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Freeform 121">
              <a:extLst>
                <a:ext uri="{FF2B5EF4-FFF2-40B4-BE49-F238E27FC236}">
                  <a16:creationId xmlns:a16="http://schemas.microsoft.com/office/drawing/2014/main" id="{65202967-C6A4-41E5-9A99-A0F027964F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23000" y="5121275"/>
              <a:ext cx="87313" cy="96837"/>
            </a:xfrm>
            <a:custGeom>
              <a:avLst/>
              <a:gdLst>
                <a:gd name="T0" fmla="*/ 73 w 257"/>
                <a:gd name="T1" fmla="*/ 115 h 285"/>
                <a:gd name="T2" fmla="*/ 129 w 257"/>
                <a:gd name="T3" fmla="*/ 58 h 285"/>
                <a:gd name="T4" fmla="*/ 184 w 257"/>
                <a:gd name="T5" fmla="*/ 115 h 285"/>
                <a:gd name="T6" fmla="*/ 73 w 257"/>
                <a:gd name="T7" fmla="*/ 115 h 285"/>
                <a:gd name="T8" fmla="*/ 181 w 257"/>
                <a:gd name="T9" fmla="*/ 198 h 285"/>
                <a:gd name="T10" fmla="*/ 135 w 257"/>
                <a:gd name="T11" fmla="*/ 228 h 285"/>
                <a:gd name="T12" fmla="*/ 71 w 257"/>
                <a:gd name="T13" fmla="*/ 161 h 285"/>
                <a:gd name="T14" fmla="*/ 257 w 257"/>
                <a:gd name="T15" fmla="*/ 161 h 285"/>
                <a:gd name="T16" fmla="*/ 257 w 257"/>
                <a:gd name="T17" fmla="*/ 149 h 285"/>
                <a:gd name="T18" fmla="*/ 130 w 257"/>
                <a:gd name="T19" fmla="*/ 0 h 285"/>
                <a:gd name="T20" fmla="*/ 0 w 257"/>
                <a:gd name="T21" fmla="*/ 136 h 285"/>
                <a:gd name="T22" fmla="*/ 135 w 257"/>
                <a:gd name="T23" fmla="*/ 285 h 285"/>
                <a:gd name="T24" fmla="*/ 254 w 257"/>
                <a:gd name="T25" fmla="*/ 198 h 285"/>
                <a:gd name="T26" fmla="*/ 181 w 257"/>
                <a:gd name="T27" fmla="*/ 198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7" h="285">
                  <a:moveTo>
                    <a:pt x="73" y="115"/>
                  </a:moveTo>
                  <a:cubicBezTo>
                    <a:pt x="77" y="79"/>
                    <a:pt x="95" y="58"/>
                    <a:pt x="129" y="58"/>
                  </a:cubicBezTo>
                  <a:cubicBezTo>
                    <a:pt x="152" y="58"/>
                    <a:pt x="180" y="71"/>
                    <a:pt x="184" y="115"/>
                  </a:cubicBezTo>
                  <a:lnTo>
                    <a:pt x="73" y="115"/>
                  </a:lnTo>
                  <a:close/>
                  <a:moveTo>
                    <a:pt x="181" y="198"/>
                  </a:moveTo>
                  <a:cubicBezTo>
                    <a:pt x="175" y="217"/>
                    <a:pt x="155" y="228"/>
                    <a:pt x="135" y="228"/>
                  </a:cubicBezTo>
                  <a:cubicBezTo>
                    <a:pt x="77" y="228"/>
                    <a:pt x="73" y="182"/>
                    <a:pt x="71" y="161"/>
                  </a:cubicBezTo>
                  <a:cubicBezTo>
                    <a:pt x="257" y="161"/>
                    <a:pt x="257" y="161"/>
                    <a:pt x="257" y="161"/>
                  </a:cubicBezTo>
                  <a:cubicBezTo>
                    <a:pt x="257" y="149"/>
                    <a:pt x="257" y="149"/>
                    <a:pt x="257" y="149"/>
                  </a:cubicBezTo>
                  <a:cubicBezTo>
                    <a:pt x="257" y="25"/>
                    <a:pt x="183" y="0"/>
                    <a:pt x="130" y="0"/>
                  </a:cubicBezTo>
                  <a:cubicBezTo>
                    <a:pt x="11" y="0"/>
                    <a:pt x="0" y="104"/>
                    <a:pt x="0" y="136"/>
                  </a:cubicBezTo>
                  <a:cubicBezTo>
                    <a:pt x="0" y="248"/>
                    <a:pt x="59" y="285"/>
                    <a:pt x="135" y="285"/>
                  </a:cubicBezTo>
                  <a:cubicBezTo>
                    <a:pt x="181" y="285"/>
                    <a:pt x="235" y="263"/>
                    <a:pt x="254" y="198"/>
                  </a:cubicBezTo>
                  <a:lnTo>
                    <a:pt x="181" y="198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Freeform 122">
              <a:extLst>
                <a:ext uri="{FF2B5EF4-FFF2-40B4-BE49-F238E27FC236}">
                  <a16:creationId xmlns:a16="http://schemas.microsoft.com/office/drawing/2014/main" id="{1C6B885A-25F6-4816-A219-BBC735AF5D0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7775" y="5121275"/>
              <a:ext cx="131763" cy="93662"/>
            </a:xfrm>
            <a:custGeom>
              <a:avLst/>
              <a:gdLst>
                <a:gd name="T0" fmla="*/ 388 w 388"/>
                <a:gd name="T1" fmla="*/ 277 h 277"/>
                <a:gd name="T2" fmla="*/ 316 w 388"/>
                <a:gd name="T3" fmla="*/ 277 h 277"/>
                <a:gd name="T4" fmla="*/ 316 w 388"/>
                <a:gd name="T5" fmla="*/ 113 h 277"/>
                <a:gd name="T6" fmla="*/ 278 w 388"/>
                <a:gd name="T7" fmla="*/ 60 h 277"/>
                <a:gd name="T8" fmla="*/ 229 w 388"/>
                <a:gd name="T9" fmla="*/ 115 h 277"/>
                <a:gd name="T10" fmla="*/ 229 w 388"/>
                <a:gd name="T11" fmla="*/ 277 h 277"/>
                <a:gd name="T12" fmla="*/ 158 w 388"/>
                <a:gd name="T13" fmla="*/ 277 h 277"/>
                <a:gd name="T14" fmla="*/ 158 w 388"/>
                <a:gd name="T15" fmla="*/ 115 h 277"/>
                <a:gd name="T16" fmla="*/ 115 w 388"/>
                <a:gd name="T17" fmla="*/ 60 h 277"/>
                <a:gd name="T18" fmla="*/ 71 w 388"/>
                <a:gd name="T19" fmla="*/ 113 h 277"/>
                <a:gd name="T20" fmla="*/ 71 w 388"/>
                <a:gd name="T21" fmla="*/ 277 h 277"/>
                <a:gd name="T22" fmla="*/ 0 w 388"/>
                <a:gd name="T23" fmla="*/ 277 h 277"/>
                <a:gd name="T24" fmla="*/ 0 w 388"/>
                <a:gd name="T25" fmla="*/ 7 h 277"/>
                <a:gd name="T26" fmla="*/ 68 w 388"/>
                <a:gd name="T27" fmla="*/ 7 h 277"/>
                <a:gd name="T28" fmla="*/ 68 w 388"/>
                <a:gd name="T29" fmla="*/ 46 h 277"/>
                <a:gd name="T30" fmla="*/ 69 w 388"/>
                <a:gd name="T31" fmla="*/ 46 h 277"/>
                <a:gd name="T32" fmla="*/ 146 w 388"/>
                <a:gd name="T33" fmla="*/ 0 h 277"/>
                <a:gd name="T34" fmla="*/ 221 w 388"/>
                <a:gd name="T35" fmla="*/ 43 h 277"/>
                <a:gd name="T36" fmla="*/ 294 w 388"/>
                <a:gd name="T37" fmla="*/ 0 h 277"/>
                <a:gd name="T38" fmla="*/ 388 w 388"/>
                <a:gd name="T39" fmla="*/ 90 h 277"/>
                <a:gd name="T40" fmla="*/ 388 w 388"/>
                <a:gd name="T41" fmla="*/ 27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8" h="277">
                  <a:moveTo>
                    <a:pt x="388" y="277"/>
                  </a:moveTo>
                  <a:cubicBezTo>
                    <a:pt x="316" y="277"/>
                    <a:pt x="316" y="277"/>
                    <a:pt x="316" y="277"/>
                  </a:cubicBezTo>
                  <a:cubicBezTo>
                    <a:pt x="316" y="113"/>
                    <a:pt x="316" y="113"/>
                    <a:pt x="316" y="113"/>
                  </a:cubicBezTo>
                  <a:cubicBezTo>
                    <a:pt x="316" y="73"/>
                    <a:pt x="299" y="60"/>
                    <a:pt x="278" y="60"/>
                  </a:cubicBezTo>
                  <a:cubicBezTo>
                    <a:pt x="242" y="60"/>
                    <a:pt x="229" y="83"/>
                    <a:pt x="229" y="115"/>
                  </a:cubicBezTo>
                  <a:cubicBezTo>
                    <a:pt x="229" y="277"/>
                    <a:pt x="229" y="277"/>
                    <a:pt x="229" y="277"/>
                  </a:cubicBezTo>
                  <a:cubicBezTo>
                    <a:pt x="158" y="277"/>
                    <a:pt x="158" y="277"/>
                    <a:pt x="158" y="277"/>
                  </a:cubicBezTo>
                  <a:cubicBezTo>
                    <a:pt x="158" y="115"/>
                    <a:pt x="158" y="115"/>
                    <a:pt x="158" y="115"/>
                  </a:cubicBezTo>
                  <a:cubicBezTo>
                    <a:pt x="158" y="92"/>
                    <a:pt x="158" y="60"/>
                    <a:pt x="115" y="60"/>
                  </a:cubicBezTo>
                  <a:cubicBezTo>
                    <a:pt x="82" y="60"/>
                    <a:pt x="71" y="83"/>
                    <a:pt x="71" y="113"/>
                  </a:cubicBezTo>
                  <a:cubicBezTo>
                    <a:pt x="71" y="277"/>
                    <a:pt x="71" y="277"/>
                    <a:pt x="71" y="277"/>
                  </a:cubicBezTo>
                  <a:cubicBezTo>
                    <a:pt x="0" y="277"/>
                    <a:pt x="0" y="277"/>
                    <a:pt x="0" y="27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68" y="7"/>
                    <a:pt x="68" y="7"/>
                    <a:pt x="68" y="7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9" y="46"/>
                    <a:pt x="69" y="46"/>
                    <a:pt x="69" y="46"/>
                  </a:cubicBezTo>
                  <a:cubicBezTo>
                    <a:pt x="78" y="29"/>
                    <a:pt x="98" y="0"/>
                    <a:pt x="146" y="0"/>
                  </a:cubicBezTo>
                  <a:cubicBezTo>
                    <a:pt x="185" y="0"/>
                    <a:pt x="203" y="14"/>
                    <a:pt x="221" y="43"/>
                  </a:cubicBezTo>
                  <a:cubicBezTo>
                    <a:pt x="230" y="30"/>
                    <a:pt x="250" y="0"/>
                    <a:pt x="294" y="0"/>
                  </a:cubicBezTo>
                  <a:cubicBezTo>
                    <a:pt x="346" y="0"/>
                    <a:pt x="388" y="31"/>
                    <a:pt x="388" y="90"/>
                  </a:cubicBezTo>
                  <a:lnTo>
                    <a:pt x="388" y="277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Freeform 123">
              <a:extLst>
                <a:ext uri="{FF2B5EF4-FFF2-40B4-BE49-F238E27FC236}">
                  <a16:creationId xmlns:a16="http://schemas.microsoft.com/office/drawing/2014/main" id="{424E8BEE-EEFD-460F-989E-7A3F0EEF47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77000" y="5121275"/>
              <a:ext cx="144463" cy="96837"/>
            </a:xfrm>
            <a:custGeom>
              <a:avLst/>
              <a:gdLst>
                <a:gd name="T0" fmla="*/ 170 w 422"/>
                <a:gd name="T1" fmla="*/ 182 h 286"/>
                <a:gd name="T2" fmla="*/ 111 w 422"/>
                <a:gd name="T3" fmla="*/ 234 h 286"/>
                <a:gd name="T4" fmla="*/ 71 w 422"/>
                <a:gd name="T5" fmla="*/ 202 h 286"/>
                <a:gd name="T6" fmla="*/ 117 w 422"/>
                <a:gd name="T7" fmla="*/ 163 h 286"/>
                <a:gd name="T8" fmla="*/ 170 w 422"/>
                <a:gd name="T9" fmla="*/ 148 h 286"/>
                <a:gd name="T10" fmla="*/ 170 w 422"/>
                <a:gd name="T11" fmla="*/ 182 h 286"/>
                <a:gd name="T12" fmla="*/ 345 w 422"/>
                <a:gd name="T13" fmla="*/ 198 h 286"/>
                <a:gd name="T14" fmla="*/ 300 w 422"/>
                <a:gd name="T15" fmla="*/ 228 h 286"/>
                <a:gd name="T16" fmla="*/ 236 w 422"/>
                <a:gd name="T17" fmla="*/ 161 h 286"/>
                <a:gd name="T18" fmla="*/ 422 w 422"/>
                <a:gd name="T19" fmla="*/ 161 h 286"/>
                <a:gd name="T20" fmla="*/ 422 w 422"/>
                <a:gd name="T21" fmla="*/ 149 h 286"/>
                <a:gd name="T22" fmla="*/ 295 w 422"/>
                <a:gd name="T23" fmla="*/ 0 h 286"/>
                <a:gd name="T24" fmla="*/ 215 w 422"/>
                <a:gd name="T25" fmla="*/ 30 h 286"/>
                <a:gd name="T26" fmla="*/ 132 w 422"/>
                <a:gd name="T27" fmla="*/ 0 h 286"/>
                <a:gd name="T28" fmla="*/ 10 w 422"/>
                <a:gd name="T29" fmla="*/ 95 h 286"/>
                <a:gd name="T30" fmla="*/ 79 w 422"/>
                <a:gd name="T31" fmla="*/ 95 h 286"/>
                <a:gd name="T32" fmla="*/ 122 w 422"/>
                <a:gd name="T33" fmla="*/ 57 h 286"/>
                <a:gd name="T34" fmla="*/ 172 w 422"/>
                <a:gd name="T35" fmla="*/ 87 h 286"/>
                <a:gd name="T36" fmla="*/ 135 w 422"/>
                <a:gd name="T37" fmla="*/ 113 h 286"/>
                <a:gd name="T38" fmla="*/ 69 w 422"/>
                <a:gd name="T39" fmla="*/ 124 h 286"/>
                <a:gd name="T40" fmla="*/ 0 w 422"/>
                <a:gd name="T41" fmla="*/ 202 h 286"/>
                <a:gd name="T42" fmla="*/ 96 w 422"/>
                <a:gd name="T43" fmla="*/ 285 h 286"/>
                <a:gd name="T44" fmla="*/ 198 w 422"/>
                <a:gd name="T45" fmla="*/ 241 h 286"/>
                <a:gd name="T46" fmla="*/ 300 w 422"/>
                <a:gd name="T47" fmla="*/ 285 h 286"/>
                <a:gd name="T48" fmla="*/ 419 w 422"/>
                <a:gd name="T49" fmla="*/ 198 h 286"/>
                <a:gd name="T50" fmla="*/ 345 w 422"/>
                <a:gd name="T51" fmla="*/ 198 h 286"/>
                <a:gd name="T52" fmla="*/ 238 w 422"/>
                <a:gd name="T53" fmla="*/ 115 h 286"/>
                <a:gd name="T54" fmla="*/ 294 w 422"/>
                <a:gd name="T55" fmla="*/ 58 h 286"/>
                <a:gd name="T56" fmla="*/ 349 w 422"/>
                <a:gd name="T57" fmla="*/ 115 h 286"/>
                <a:gd name="T58" fmla="*/ 238 w 422"/>
                <a:gd name="T59" fmla="*/ 115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22" h="286">
                  <a:moveTo>
                    <a:pt x="170" y="182"/>
                  </a:moveTo>
                  <a:cubicBezTo>
                    <a:pt x="170" y="211"/>
                    <a:pt x="139" y="234"/>
                    <a:pt x="111" y="234"/>
                  </a:cubicBezTo>
                  <a:cubicBezTo>
                    <a:pt x="87" y="234"/>
                    <a:pt x="71" y="223"/>
                    <a:pt x="71" y="202"/>
                  </a:cubicBezTo>
                  <a:cubicBezTo>
                    <a:pt x="71" y="172"/>
                    <a:pt x="89" y="167"/>
                    <a:pt x="117" y="163"/>
                  </a:cubicBezTo>
                  <a:cubicBezTo>
                    <a:pt x="156" y="157"/>
                    <a:pt x="164" y="153"/>
                    <a:pt x="170" y="148"/>
                  </a:cubicBezTo>
                  <a:lnTo>
                    <a:pt x="170" y="182"/>
                  </a:lnTo>
                  <a:close/>
                  <a:moveTo>
                    <a:pt x="345" y="198"/>
                  </a:moveTo>
                  <a:cubicBezTo>
                    <a:pt x="340" y="217"/>
                    <a:pt x="319" y="228"/>
                    <a:pt x="300" y="228"/>
                  </a:cubicBezTo>
                  <a:cubicBezTo>
                    <a:pt x="242" y="228"/>
                    <a:pt x="238" y="182"/>
                    <a:pt x="236" y="161"/>
                  </a:cubicBezTo>
                  <a:cubicBezTo>
                    <a:pt x="422" y="161"/>
                    <a:pt x="422" y="161"/>
                    <a:pt x="422" y="161"/>
                  </a:cubicBezTo>
                  <a:cubicBezTo>
                    <a:pt x="422" y="149"/>
                    <a:pt x="422" y="149"/>
                    <a:pt x="422" y="149"/>
                  </a:cubicBezTo>
                  <a:cubicBezTo>
                    <a:pt x="422" y="25"/>
                    <a:pt x="348" y="0"/>
                    <a:pt x="295" y="0"/>
                  </a:cubicBezTo>
                  <a:cubicBezTo>
                    <a:pt x="252" y="1"/>
                    <a:pt x="231" y="17"/>
                    <a:pt x="215" y="30"/>
                  </a:cubicBezTo>
                  <a:cubicBezTo>
                    <a:pt x="202" y="18"/>
                    <a:pt x="175" y="0"/>
                    <a:pt x="132" y="0"/>
                  </a:cubicBezTo>
                  <a:cubicBezTo>
                    <a:pt x="77" y="0"/>
                    <a:pt x="16" y="15"/>
                    <a:pt x="10" y="95"/>
                  </a:cubicBezTo>
                  <a:cubicBezTo>
                    <a:pt x="79" y="95"/>
                    <a:pt x="79" y="95"/>
                    <a:pt x="79" y="95"/>
                  </a:cubicBezTo>
                  <a:cubicBezTo>
                    <a:pt x="79" y="83"/>
                    <a:pt x="83" y="57"/>
                    <a:pt x="122" y="57"/>
                  </a:cubicBezTo>
                  <a:cubicBezTo>
                    <a:pt x="172" y="57"/>
                    <a:pt x="172" y="76"/>
                    <a:pt x="172" y="87"/>
                  </a:cubicBezTo>
                  <a:cubicBezTo>
                    <a:pt x="172" y="104"/>
                    <a:pt x="168" y="107"/>
                    <a:pt x="135" y="113"/>
                  </a:cubicBezTo>
                  <a:cubicBezTo>
                    <a:pt x="69" y="124"/>
                    <a:pt x="69" y="124"/>
                    <a:pt x="69" y="124"/>
                  </a:cubicBezTo>
                  <a:cubicBezTo>
                    <a:pt x="16" y="133"/>
                    <a:pt x="0" y="169"/>
                    <a:pt x="0" y="202"/>
                  </a:cubicBezTo>
                  <a:cubicBezTo>
                    <a:pt x="0" y="273"/>
                    <a:pt x="57" y="285"/>
                    <a:pt x="96" y="285"/>
                  </a:cubicBezTo>
                  <a:cubicBezTo>
                    <a:pt x="141" y="285"/>
                    <a:pt x="181" y="268"/>
                    <a:pt x="198" y="241"/>
                  </a:cubicBezTo>
                  <a:cubicBezTo>
                    <a:pt x="214" y="260"/>
                    <a:pt x="234" y="286"/>
                    <a:pt x="300" y="285"/>
                  </a:cubicBezTo>
                  <a:cubicBezTo>
                    <a:pt x="346" y="285"/>
                    <a:pt x="400" y="263"/>
                    <a:pt x="419" y="198"/>
                  </a:cubicBezTo>
                  <a:lnTo>
                    <a:pt x="345" y="198"/>
                  </a:lnTo>
                  <a:close/>
                  <a:moveTo>
                    <a:pt x="238" y="115"/>
                  </a:moveTo>
                  <a:cubicBezTo>
                    <a:pt x="242" y="79"/>
                    <a:pt x="260" y="58"/>
                    <a:pt x="294" y="58"/>
                  </a:cubicBezTo>
                  <a:cubicBezTo>
                    <a:pt x="316" y="58"/>
                    <a:pt x="344" y="71"/>
                    <a:pt x="349" y="115"/>
                  </a:cubicBezTo>
                  <a:lnTo>
                    <a:pt x="238" y="115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Freeform 124">
              <a:extLst>
                <a:ext uri="{FF2B5EF4-FFF2-40B4-BE49-F238E27FC236}">
                  <a16:creationId xmlns:a16="http://schemas.microsoft.com/office/drawing/2014/main" id="{1C12F9E6-DC38-4168-A0E1-E65B187BC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7338" y="5121275"/>
              <a:ext cx="53975" cy="93662"/>
            </a:xfrm>
            <a:custGeom>
              <a:avLst/>
              <a:gdLst>
                <a:gd name="T0" fmla="*/ 0 w 158"/>
                <a:gd name="T1" fmla="*/ 7 h 277"/>
                <a:gd name="T2" fmla="*/ 69 w 158"/>
                <a:gd name="T3" fmla="*/ 7 h 277"/>
                <a:gd name="T4" fmla="*/ 69 w 158"/>
                <a:gd name="T5" fmla="*/ 54 h 277"/>
                <a:gd name="T6" fmla="*/ 70 w 158"/>
                <a:gd name="T7" fmla="*/ 54 h 277"/>
                <a:gd name="T8" fmla="*/ 144 w 158"/>
                <a:gd name="T9" fmla="*/ 0 h 277"/>
                <a:gd name="T10" fmla="*/ 158 w 158"/>
                <a:gd name="T11" fmla="*/ 1 h 277"/>
                <a:gd name="T12" fmla="*/ 158 w 158"/>
                <a:gd name="T13" fmla="*/ 73 h 277"/>
                <a:gd name="T14" fmla="*/ 137 w 158"/>
                <a:gd name="T15" fmla="*/ 72 h 277"/>
                <a:gd name="T16" fmla="*/ 72 w 158"/>
                <a:gd name="T17" fmla="*/ 136 h 277"/>
                <a:gd name="T18" fmla="*/ 72 w 158"/>
                <a:gd name="T19" fmla="*/ 277 h 277"/>
                <a:gd name="T20" fmla="*/ 0 w 158"/>
                <a:gd name="T21" fmla="*/ 277 h 277"/>
                <a:gd name="T22" fmla="*/ 0 w 158"/>
                <a:gd name="T23" fmla="*/ 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8" h="277">
                  <a:moveTo>
                    <a:pt x="0" y="7"/>
                  </a:moveTo>
                  <a:cubicBezTo>
                    <a:pt x="69" y="7"/>
                    <a:pt x="69" y="7"/>
                    <a:pt x="69" y="7"/>
                  </a:cubicBezTo>
                  <a:cubicBezTo>
                    <a:pt x="69" y="54"/>
                    <a:pt x="69" y="54"/>
                    <a:pt x="69" y="54"/>
                  </a:cubicBezTo>
                  <a:cubicBezTo>
                    <a:pt x="70" y="54"/>
                    <a:pt x="70" y="54"/>
                    <a:pt x="70" y="54"/>
                  </a:cubicBezTo>
                  <a:cubicBezTo>
                    <a:pt x="84" y="26"/>
                    <a:pt x="101" y="0"/>
                    <a:pt x="144" y="0"/>
                  </a:cubicBezTo>
                  <a:cubicBezTo>
                    <a:pt x="148" y="0"/>
                    <a:pt x="153" y="0"/>
                    <a:pt x="158" y="1"/>
                  </a:cubicBezTo>
                  <a:cubicBezTo>
                    <a:pt x="158" y="73"/>
                    <a:pt x="158" y="73"/>
                    <a:pt x="158" y="73"/>
                  </a:cubicBezTo>
                  <a:cubicBezTo>
                    <a:pt x="152" y="72"/>
                    <a:pt x="144" y="72"/>
                    <a:pt x="137" y="72"/>
                  </a:cubicBezTo>
                  <a:cubicBezTo>
                    <a:pt x="82" y="72"/>
                    <a:pt x="72" y="106"/>
                    <a:pt x="72" y="136"/>
                  </a:cubicBezTo>
                  <a:cubicBezTo>
                    <a:pt x="72" y="277"/>
                    <a:pt x="72" y="277"/>
                    <a:pt x="72" y="277"/>
                  </a:cubicBezTo>
                  <a:cubicBezTo>
                    <a:pt x="0" y="277"/>
                    <a:pt x="0" y="277"/>
                    <a:pt x="0" y="277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4" name="Freeform 125">
              <a:extLst>
                <a:ext uri="{FF2B5EF4-FFF2-40B4-BE49-F238E27FC236}">
                  <a16:creationId xmlns:a16="http://schemas.microsoft.com/office/drawing/2014/main" id="{0D8E1710-47F5-45C5-9166-9FEF971558D6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7188" y="5091113"/>
              <a:ext cx="85725" cy="123825"/>
            </a:xfrm>
            <a:custGeom>
              <a:avLst/>
              <a:gdLst>
                <a:gd name="T0" fmla="*/ 16 w 54"/>
                <a:gd name="T1" fmla="*/ 78 h 78"/>
                <a:gd name="T2" fmla="*/ 0 w 54"/>
                <a:gd name="T3" fmla="*/ 78 h 78"/>
                <a:gd name="T4" fmla="*/ 0 w 54"/>
                <a:gd name="T5" fmla="*/ 0 h 78"/>
                <a:gd name="T6" fmla="*/ 16 w 54"/>
                <a:gd name="T7" fmla="*/ 0 h 78"/>
                <a:gd name="T8" fmla="*/ 16 w 54"/>
                <a:gd name="T9" fmla="*/ 42 h 78"/>
                <a:gd name="T10" fmla="*/ 35 w 54"/>
                <a:gd name="T11" fmla="*/ 20 h 78"/>
                <a:gd name="T12" fmla="*/ 54 w 54"/>
                <a:gd name="T13" fmla="*/ 20 h 78"/>
                <a:gd name="T14" fmla="*/ 33 w 54"/>
                <a:gd name="T15" fmla="*/ 43 h 78"/>
                <a:gd name="T16" fmla="*/ 54 w 54"/>
                <a:gd name="T17" fmla="*/ 78 h 78"/>
                <a:gd name="T18" fmla="*/ 36 w 54"/>
                <a:gd name="T19" fmla="*/ 78 h 78"/>
                <a:gd name="T20" fmla="*/ 22 w 54"/>
                <a:gd name="T21" fmla="*/ 53 h 78"/>
                <a:gd name="T22" fmla="*/ 16 w 54"/>
                <a:gd name="T23" fmla="*/ 60 h 78"/>
                <a:gd name="T24" fmla="*/ 16 w 5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4" h="78">
                  <a:moveTo>
                    <a:pt x="16" y="78"/>
                  </a:moveTo>
                  <a:lnTo>
                    <a:pt x="0" y="78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42"/>
                  </a:lnTo>
                  <a:lnTo>
                    <a:pt x="35" y="20"/>
                  </a:lnTo>
                  <a:lnTo>
                    <a:pt x="54" y="20"/>
                  </a:lnTo>
                  <a:lnTo>
                    <a:pt x="33" y="43"/>
                  </a:lnTo>
                  <a:lnTo>
                    <a:pt x="54" y="78"/>
                  </a:lnTo>
                  <a:lnTo>
                    <a:pt x="36" y="78"/>
                  </a:lnTo>
                  <a:lnTo>
                    <a:pt x="22" y="53"/>
                  </a:lnTo>
                  <a:lnTo>
                    <a:pt x="16" y="60"/>
                  </a:lnTo>
                  <a:lnTo>
                    <a:pt x="16" y="78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Freeform 126">
              <a:extLst>
                <a:ext uri="{FF2B5EF4-FFF2-40B4-BE49-F238E27FC236}">
                  <a16:creationId xmlns:a16="http://schemas.microsoft.com/office/drawing/2014/main" id="{455ED3C7-E8D2-49DC-B7F7-68FD84C848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97675" y="5121275"/>
              <a:ext cx="87313" cy="96837"/>
            </a:xfrm>
            <a:custGeom>
              <a:avLst/>
              <a:gdLst>
                <a:gd name="T0" fmla="*/ 73 w 257"/>
                <a:gd name="T1" fmla="*/ 115 h 285"/>
                <a:gd name="T2" fmla="*/ 129 w 257"/>
                <a:gd name="T3" fmla="*/ 58 h 285"/>
                <a:gd name="T4" fmla="*/ 184 w 257"/>
                <a:gd name="T5" fmla="*/ 115 h 285"/>
                <a:gd name="T6" fmla="*/ 73 w 257"/>
                <a:gd name="T7" fmla="*/ 115 h 285"/>
                <a:gd name="T8" fmla="*/ 181 w 257"/>
                <a:gd name="T9" fmla="*/ 198 h 285"/>
                <a:gd name="T10" fmla="*/ 135 w 257"/>
                <a:gd name="T11" fmla="*/ 228 h 285"/>
                <a:gd name="T12" fmla="*/ 71 w 257"/>
                <a:gd name="T13" fmla="*/ 161 h 285"/>
                <a:gd name="T14" fmla="*/ 257 w 257"/>
                <a:gd name="T15" fmla="*/ 161 h 285"/>
                <a:gd name="T16" fmla="*/ 257 w 257"/>
                <a:gd name="T17" fmla="*/ 149 h 285"/>
                <a:gd name="T18" fmla="*/ 130 w 257"/>
                <a:gd name="T19" fmla="*/ 0 h 285"/>
                <a:gd name="T20" fmla="*/ 0 w 257"/>
                <a:gd name="T21" fmla="*/ 136 h 285"/>
                <a:gd name="T22" fmla="*/ 135 w 257"/>
                <a:gd name="T23" fmla="*/ 285 h 285"/>
                <a:gd name="T24" fmla="*/ 254 w 257"/>
                <a:gd name="T25" fmla="*/ 198 h 285"/>
                <a:gd name="T26" fmla="*/ 181 w 257"/>
                <a:gd name="T27" fmla="*/ 198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7" h="285">
                  <a:moveTo>
                    <a:pt x="73" y="115"/>
                  </a:moveTo>
                  <a:cubicBezTo>
                    <a:pt x="77" y="79"/>
                    <a:pt x="95" y="58"/>
                    <a:pt x="129" y="58"/>
                  </a:cubicBezTo>
                  <a:cubicBezTo>
                    <a:pt x="152" y="58"/>
                    <a:pt x="180" y="71"/>
                    <a:pt x="184" y="115"/>
                  </a:cubicBezTo>
                  <a:lnTo>
                    <a:pt x="73" y="115"/>
                  </a:lnTo>
                  <a:close/>
                  <a:moveTo>
                    <a:pt x="181" y="198"/>
                  </a:moveTo>
                  <a:cubicBezTo>
                    <a:pt x="175" y="217"/>
                    <a:pt x="155" y="228"/>
                    <a:pt x="135" y="228"/>
                  </a:cubicBezTo>
                  <a:cubicBezTo>
                    <a:pt x="77" y="228"/>
                    <a:pt x="73" y="182"/>
                    <a:pt x="71" y="161"/>
                  </a:cubicBezTo>
                  <a:cubicBezTo>
                    <a:pt x="257" y="161"/>
                    <a:pt x="257" y="161"/>
                    <a:pt x="257" y="161"/>
                  </a:cubicBezTo>
                  <a:cubicBezTo>
                    <a:pt x="257" y="149"/>
                    <a:pt x="257" y="149"/>
                    <a:pt x="257" y="149"/>
                  </a:cubicBezTo>
                  <a:cubicBezTo>
                    <a:pt x="257" y="25"/>
                    <a:pt x="183" y="0"/>
                    <a:pt x="130" y="0"/>
                  </a:cubicBezTo>
                  <a:cubicBezTo>
                    <a:pt x="11" y="0"/>
                    <a:pt x="0" y="104"/>
                    <a:pt x="0" y="136"/>
                  </a:cubicBezTo>
                  <a:cubicBezTo>
                    <a:pt x="0" y="248"/>
                    <a:pt x="59" y="285"/>
                    <a:pt x="135" y="285"/>
                  </a:cubicBezTo>
                  <a:cubicBezTo>
                    <a:pt x="181" y="285"/>
                    <a:pt x="235" y="263"/>
                    <a:pt x="254" y="198"/>
                  </a:cubicBezTo>
                  <a:lnTo>
                    <a:pt x="181" y="198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Freeform 127">
              <a:extLst>
                <a:ext uri="{FF2B5EF4-FFF2-40B4-BE49-F238E27FC236}">
                  <a16:creationId xmlns:a16="http://schemas.microsoft.com/office/drawing/2014/main" id="{4D825171-1EDB-495D-862D-A66E2B7E13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58013" y="5091113"/>
              <a:ext cx="112713" cy="127000"/>
            </a:xfrm>
            <a:custGeom>
              <a:avLst/>
              <a:gdLst>
                <a:gd name="T0" fmla="*/ 170 w 329"/>
                <a:gd name="T1" fmla="*/ 84 h 375"/>
                <a:gd name="T2" fmla="*/ 136 w 329"/>
                <a:gd name="T3" fmla="*/ 129 h 375"/>
                <a:gd name="T4" fmla="*/ 110 w 329"/>
                <a:gd name="T5" fmla="*/ 84 h 375"/>
                <a:gd name="T6" fmla="*/ 139 w 329"/>
                <a:gd name="T7" fmla="*/ 54 h 375"/>
                <a:gd name="T8" fmla="*/ 170 w 329"/>
                <a:gd name="T9" fmla="*/ 84 h 375"/>
                <a:gd name="T10" fmla="*/ 263 w 329"/>
                <a:gd name="T11" fmla="*/ 286 h 375"/>
                <a:gd name="T12" fmla="*/ 305 w 329"/>
                <a:gd name="T13" fmla="*/ 176 h 375"/>
                <a:gd name="T14" fmla="*/ 242 w 329"/>
                <a:gd name="T15" fmla="*/ 176 h 375"/>
                <a:gd name="T16" fmla="*/ 223 w 329"/>
                <a:gd name="T17" fmla="*/ 236 h 375"/>
                <a:gd name="T18" fmla="*/ 171 w 329"/>
                <a:gd name="T19" fmla="*/ 172 h 375"/>
                <a:gd name="T20" fmla="*/ 231 w 329"/>
                <a:gd name="T21" fmla="*/ 85 h 375"/>
                <a:gd name="T22" fmla="*/ 142 w 329"/>
                <a:gd name="T23" fmla="*/ 0 h 375"/>
                <a:gd name="T24" fmla="*/ 45 w 329"/>
                <a:gd name="T25" fmla="*/ 84 h 375"/>
                <a:gd name="T26" fmla="*/ 78 w 329"/>
                <a:gd name="T27" fmla="*/ 160 h 375"/>
                <a:gd name="T28" fmla="*/ 70 w 329"/>
                <a:gd name="T29" fmla="*/ 165 h 375"/>
                <a:gd name="T30" fmla="*/ 0 w 329"/>
                <a:gd name="T31" fmla="*/ 271 h 375"/>
                <a:gd name="T32" fmla="*/ 114 w 329"/>
                <a:gd name="T33" fmla="*/ 375 h 375"/>
                <a:gd name="T34" fmla="*/ 218 w 329"/>
                <a:gd name="T35" fmla="*/ 334 h 375"/>
                <a:gd name="T36" fmla="*/ 243 w 329"/>
                <a:gd name="T37" fmla="*/ 365 h 375"/>
                <a:gd name="T38" fmla="*/ 329 w 329"/>
                <a:gd name="T39" fmla="*/ 365 h 375"/>
                <a:gd name="T40" fmla="*/ 263 w 329"/>
                <a:gd name="T41" fmla="*/ 286 h 375"/>
                <a:gd name="T42" fmla="*/ 181 w 329"/>
                <a:gd name="T43" fmla="*/ 290 h 375"/>
                <a:gd name="T44" fmla="*/ 125 w 329"/>
                <a:gd name="T45" fmla="*/ 315 h 375"/>
                <a:gd name="T46" fmla="*/ 71 w 329"/>
                <a:gd name="T47" fmla="*/ 267 h 375"/>
                <a:gd name="T48" fmla="*/ 114 w 329"/>
                <a:gd name="T49" fmla="*/ 206 h 375"/>
                <a:gd name="T50" fmla="*/ 181 w 329"/>
                <a:gd name="T51" fmla="*/ 29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29" h="375">
                  <a:moveTo>
                    <a:pt x="170" y="84"/>
                  </a:moveTo>
                  <a:cubicBezTo>
                    <a:pt x="170" y="103"/>
                    <a:pt x="156" y="117"/>
                    <a:pt x="136" y="129"/>
                  </a:cubicBezTo>
                  <a:cubicBezTo>
                    <a:pt x="119" y="110"/>
                    <a:pt x="110" y="96"/>
                    <a:pt x="110" y="84"/>
                  </a:cubicBezTo>
                  <a:cubicBezTo>
                    <a:pt x="110" y="64"/>
                    <a:pt x="123" y="54"/>
                    <a:pt x="139" y="54"/>
                  </a:cubicBezTo>
                  <a:cubicBezTo>
                    <a:pt x="157" y="54"/>
                    <a:pt x="170" y="64"/>
                    <a:pt x="170" y="84"/>
                  </a:cubicBezTo>
                  <a:close/>
                  <a:moveTo>
                    <a:pt x="263" y="286"/>
                  </a:moveTo>
                  <a:cubicBezTo>
                    <a:pt x="287" y="253"/>
                    <a:pt x="300" y="225"/>
                    <a:pt x="305" y="176"/>
                  </a:cubicBezTo>
                  <a:cubicBezTo>
                    <a:pt x="242" y="176"/>
                    <a:pt x="242" y="176"/>
                    <a:pt x="242" y="176"/>
                  </a:cubicBezTo>
                  <a:cubicBezTo>
                    <a:pt x="239" y="204"/>
                    <a:pt x="232" y="221"/>
                    <a:pt x="223" y="236"/>
                  </a:cubicBezTo>
                  <a:cubicBezTo>
                    <a:pt x="171" y="172"/>
                    <a:pt x="171" y="172"/>
                    <a:pt x="171" y="172"/>
                  </a:cubicBezTo>
                  <a:cubicBezTo>
                    <a:pt x="186" y="163"/>
                    <a:pt x="231" y="136"/>
                    <a:pt x="231" y="85"/>
                  </a:cubicBezTo>
                  <a:cubicBezTo>
                    <a:pt x="231" y="26"/>
                    <a:pt x="182" y="0"/>
                    <a:pt x="142" y="0"/>
                  </a:cubicBezTo>
                  <a:cubicBezTo>
                    <a:pt x="85" y="0"/>
                    <a:pt x="45" y="34"/>
                    <a:pt x="45" y="84"/>
                  </a:cubicBezTo>
                  <a:cubicBezTo>
                    <a:pt x="45" y="116"/>
                    <a:pt x="62" y="143"/>
                    <a:pt x="78" y="160"/>
                  </a:cubicBezTo>
                  <a:cubicBezTo>
                    <a:pt x="70" y="165"/>
                    <a:pt x="70" y="165"/>
                    <a:pt x="70" y="165"/>
                  </a:cubicBezTo>
                  <a:cubicBezTo>
                    <a:pt x="9" y="202"/>
                    <a:pt x="0" y="236"/>
                    <a:pt x="0" y="271"/>
                  </a:cubicBezTo>
                  <a:cubicBezTo>
                    <a:pt x="0" y="326"/>
                    <a:pt x="44" y="375"/>
                    <a:pt x="114" y="375"/>
                  </a:cubicBezTo>
                  <a:cubicBezTo>
                    <a:pt x="169" y="375"/>
                    <a:pt x="197" y="356"/>
                    <a:pt x="218" y="334"/>
                  </a:cubicBezTo>
                  <a:cubicBezTo>
                    <a:pt x="243" y="365"/>
                    <a:pt x="243" y="365"/>
                    <a:pt x="243" y="365"/>
                  </a:cubicBezTo>
                  <a:cubicBezTo>
                    <a:pt x="329" y="365"/>
                    <a:pt x="329" y="365"/>
                    <a:pt x="329" y="365"/>
                  </a:cubicBezTo>
                  <a:lnTo>
                    <a:pt x="263" y="286"/>
                  </a:lnTo>
                  <a:close/>
                  <a:moveTo>
                    <a:pt x="181" y="290"/>
                  </a:moveTo>
                  <a:cubicBezTo>
                    <a:pt x="169" y="301"/>
                    <a:pt x="148" y="315"/>
                    <a:pt x="125" y="315"/>
                  </a:cubicBezTo>
                  <a:cubicBezTo>
                    <a:pt x="82" y="315"/>
                    <a:pt x="71" y="281"/>
                    <a:pt x="71" y="267"/>
                  </a:cubicBezTo>
                  <a:cubicBezTo>
                    <a:pt x="71" y="238"/>
                    <a:pt x="84" y="228"/>
                    <a:pt x="114" y="206"/>
                  </a:cubicBezTo>
                  <a:lnTo>
                    <a:pt x="181" y="290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Freeform 128">
              <a:extLst>
                <a:ext uri="{FF2B5EF4-FFF2-40B4-BE49-F238E27FC236}">
                  <a16:creationId xmlns:a16="http://schemas.microsoft.com/office/drawing/2014/main" id="{610F3F42-2BAF-475A-BFCE-3470A88F9F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08688" y="5300663"/>
              <a:ext cx="95250" cy="123825"/>
            </a:xfrm>
            <a:custGeom>
              <a:avLst/>
              <a:gdLst>
                <a:gd name="T0" fmla="*/ 76 w 281"/>
                <a:gd name="T1" fmla="*/ 171 h 366"/>
                <a:gd name="T2" fmla="*/ 76 w 281"/>
                <a:gd name="T3" fmla="*/ 63 h 366"/>
                <a:gd name="T4" fmla="*/ 137 w 281"/>
                <a:gd name="T5" fmla="*/ 63 h 366"/>
                <a:gd name="T6" fmla="*/ 204 w 281"/>
                <a:gd name="T7" fmla="*/ 114 h 366"/>
                <a:gd name="T8" fmla="*/ 147 w 281"/>
                <a:gd name="T9" fmla="*/ 171 h 366"/>
                <a:gd name="T10" fmla="*/ 76 w 281"/>
                <a:gd name="T11" fmla="*/ 171 h 366"/>
                <a:gd name="T12" fmla="*/ 76 w 281"/>
                <a:gd name="T13" fmla="*/ 234 h 366"/>
                <a:gd name="T14" fmla="*/ 164 w 281"/>
                <a:gd name="T15" fmla="*/ 234 h 366"/>
                <a:gd name="T16" fmla="*/ 281 w 281"/>
                <a:gd name="T17" fmla="*/ 117 h 366"/>
                <a:gd name="T18" fmla="*/ 167 w 281"/>
                <a:gd name="T19" fmla="*/ 0 h 366"/>
                <a:gd name="T20" fmla="*/ 0 w 281"/>
                <a:gd name="T21" fmla="*/ 0 h 366"/>
                <a:gd name="T22" fmla="*/ 0 w 281"/>
                <a:gd name="T23" fmla="*/ 366 h 366"/>
                <a:gd name="T24" fmla="*/ 76 w 281"/>
                <a:gd name="T25" fmla="*/ 366 h 366"/>
                <a:gd name="T26" fmla="*/ 76 w 281"/>
                <a:gd name="T27" fmla="*/ 234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1" h="366">
                  <a:moveTo>
                    <a:pt x="76" y="171"/>
                  </a:moveTo>
                  <a:cubicBezTo>
                    <a:pt x="76" y="63"/>
                    <a:pt x="76" y="63"/>
                    <a:pt x="76" y="63"/>
                  </a:cubicBezTo>
                  <a:cubicBezTo>
                    <a:pt x="137" y="63"/>
                    <a:pt x="137" y="63"/>
                    <a:pt x="137" y="63"/>
                  </a:cubicBezTo>
                  <a:cubicBezTo>
                    <a:pt x="184" y="63"/>
                    <a:pt x="204" y="78"/>
                    <a:pt x="204" y="114"/>
                  </a:cubicBezTo>
                  <a:cubicBezTo>
                    <a:pt x="204" y="130"/>
                    <a:pt x="204" y="171"/>
                    <a:pt x="147" y="171"/>
                  </a:cubicBezTo>
                  <a:lnTo>
                    <a:pt x="76" y="171"/>
                  </a:lnTo>
                  <a:close/>
                  <a:moveTo>
                    <a:pt x="76" y="234"/>
                  </a:moveTo>
                  <a:cubicBezTo>
                    <a:pt x="164" y="234"/>
                    <a:pt x="164" y="234"/>
                    <a:pt x="164" y="234"/>
                  </a:cubicBezTo>
                  <a:cubicBezTo>
                    <a:pt x="262" y="234"/>
                    <a:pt x="281" y="150"/>
                    <a:pt x="281" y="117"/>
                  </a:cubicBezTo>
                  <a:cubicBezTo>
                    <a:pt x="281" y="46"/>
                    <a:pt x="238" y="0"/>
                    <a:pt x="16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66"/>
                    <a:pt x="0" y="366"/>
                    <a:pt x="0" y="366"/>
                  </a:cubicBezTo>
                  <a:cubicBezTo>
                    <a:pt x="76" y="366"/>
                    <a:pt x="76" y="366"/>
                    <a:pt x="76" y="366"/>
                  </a:cubicBezTo>
                  <a:lnTo>
                    <a:pt x="76" y="234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Freeform 129">
              <a:extLst>
                <a:ext uri="{FF2B5EF4-FFF2-40B4-BE49-F238E27FC236}">
                  <a16:creationId xmlns:a16="http://schemas.microsoft.com/office/drawing/2014/main" id="{F2A0D05B-A493-49B2-BA3E-C346DD625B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15050" y="5330825"/>
              <a:ext cx="87313" cy="96837"/>
            </a:xfrm>
            <a:custGeom>
              <a:avLst/>
              <a:gdLst>
                <a:gd name="T0" fmla="*/ 73 w 257"/>
                <a:gd name="T1" fmla="*/ 115 h 285"/>
                <a:gd name="T2" fmla="*/ 129 w 257"/>
                <a:gd name="T3" fmla="*/ 58 h 285"/>
                <a:gd name="T4" fmla="*/ 184 w 257"/>
                <a:gd name="T5" fmla="*/ 115 h 285"/>
                <a:gd name="T6" fmla="*/ 73 w 257"/>
                <a:gd name="T7" fmla="*/ 115 h 285"/>
                <a:gd name="T8" fmla="*/ 181 w 257"/>
                <a:gd name="T9" fmla="*/ 198 h 285"/>
                <a:gd name="T10" fmla="*/ 135 w 257"/>
                <a:gd name="T11" fmla="*/ 228 h 285"/>
                <a:gd name="T12" fmla="*/ 71 w 257"/>
                <a:gd name="T13" fmla="*/ 162 h 285"/>
                <a:gd name="T14" fmla="*/ 257 w 257"/>
                <a:gd name="T15" fmla="*/ 162 h 285"/>
                <a:gd name="T16" fmla="*/ 257 w 257"/>
                <a:gd name="T17" fmla="*/ 149 h 285"/>
                <a:gd name="T18" fmla="*/ 130 w 257"/>
                <a:gd name="T19" fmla="*/ 0 h 285"/>
                <a:gd name="T20" fmla="*/ 0 w 257"/>
                <a:gd name="T21" fmla="*/ 137 h 285"/>
                <a:gd name="T22" fmla="*/ 135 w 257"/>
                <a:gd name="T23" fmla="*/ 285 h 285"/>
                <a:gd name="T24" fmla="*/ 254 w 257"/>
                <a:gd name="T25" fmla="*/ 198 h 285"/>
                <a:gd name="T26" fmla="*/ 181 w 257"/>
                <a:gd name="T27" fmla="*/ 198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7" h="285">
                  <a:moveTo>
                    <a:pt x="73" y="115"/>
                  </a:moveTo>
                  <a:cubicBezTo>
                    <a:pt x="77" y="80"/>
                    <a:pt x="95" y="58"/>
                    <a:pt x="129" y="58"/>
                  </a:cubicBezTo>
                  <a:cubicBezTo>
                    <a:pt x="152" y="58"/>
                    <a:pt x="180" y="72"/>
                    <a:pt x="184" y="115"/>
                  </a:cubicBezTo>
                  <a:lnTo>
                    <a:pt x="73" y="115"/>
                  </a:lnTo>
                  <a:close/>
                  <a:moveTo>
                    <a:pt x="181" y="198"/>
                  </a:moveTo>
                  <a:cubicBezTo>
                    <a:pt x="175" y="218"/>
                    <a:pt x="155" y="228"/>
                    <a:pt x="135" y="228"/>
                  </a:cubicBezTo>
                  <a:cubicBezTo>
                    <a:pt x="77" y="228"/>
                    <a:pt x="73" y="182"/>
                    <a:pt x="71" y="162"/>
                  </a:cubicBezTo>
                  <a:cubicBezTo>
                    <a:pt x="257" y="162"/>
                    <a:pt x="257" y="162"/>
                    <a:pt x="257" y="162"/>
                  </a:cubicBezTo>
                  <a:cubicBezTo>
                    <a:pt x="257" y="149"/>
                    <a:pt x="257" y="149"/>
                    <a:pt x="257" y="149"/>
                  </a:cubicBezTo>
                  <a:cubicBezTo>
                    <a:pt x="257" y="25"/>
                    <a:pt x="183" y="0"/>
                    <a:pt x="130" y="0"/>
                  </a:cubicBezTo>
                  <a:cubicBezTo>
                    <a:pt x="11" y="0"/>
                    <a:pt x="0" y="104"/>
                    <a:pt x="0" y="137"/>
                  </a:cubicBezTo>
                  <a:cubicBezTo>
                    <a:pt x="0" y="248"/>
                    <a:pt x="59" y="285"/>
                    <a:pt x="135" y="285"/>
                  </a:cubicBezTo>
                  <a:cubicBezTo>
                    <a:pt x="181" y="285"/>
                    <a:pt x="235" y="263"/>
                    <a:pt x="254" y="198"/>
                  </a:cubicBezTo>
                  <a:lnTo>
                    <a:pt x="181" y="198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Freeform 130">
              <a:extLst>
                <a:ext uri="{FF2B5EF4-FFF2-40B4-BE49-F238E27FC236}">
                  <a16:creationId xmlns:a16="http://schemas.microsoft.com/office/drawing/2014/main" id="{38A452C3-2967-48B4-9DFC-0C384FAC974D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1888" y="5308600"/>
              <a:ext cx="52388" cy="117475"/>
            </a:xfrm>
            <a:custGeom>
              <a:avLst/>
              <a:gdLst>
                <a:gd name="T0" fmla="*/ 108 w 152"/>
                <a:gd name="T1" fmla="*/ 73 h 347"/>
                <a:gd name="T2" fmla="*/ 152 w 152"/>
                <a:gd name="T3" fmla="*/ 73 h 347"/>
                <a:gd name="T4" fmla="*/ 152 w 152"/>
                <a:gd name="T5" fmla="*/ 124 h 347"/>
                <a:gd name="T6" fmla="*/ 108 w 152"/>
                <a:gd name="T7" fmla="*/ 124 h 347"/>
                <a:gd name="T8" fmla="*/ 108 w 152"/>
                <a:gd name="T9" fmla="*/ 271 h 347"/>
                <a:gd name="T10" fmla="*/ 137 w 152"/>
                <a:gd name="T11" fmla="*/ 293 h 347"/>
                <a:gd name="T12" fmla="*/ 152 w 152"/>
                <a:gd name="T13" fmla="*/ 292 h 347"/>
                <a:gd name="T14" fmla="*/ 152 w 152"/>
                <a:gd name="T15" fmla="*/ 346 h 347"/>
                <a:gd name="T16" fmla="*/ 119 w 152"/>
                <a:gd name="T17" fmla="*/ 347 h 347"/>
                <a:gd name="T18" fmla="*/ 109 w 152"/>
                <a:gd name="T19" fmla="*/ 347 h 347"/>
                <a:gd name="T20" fmla="*/ 37 w 152"/>
                <a:gd name="T21" fmla="*/ 288 h 347"/>
                <a:gd name="T22" fmla="*/ 37 w 152"/>
                <a:gd name="T23" fmla="*/ 124 h 347"/>
                <a:gd name="T24" fmla="*/ 0 w 152"/>
                <a:gd name="T25" fmla="*/ 124 h 347"/>
                <a:gd name="T26" fmla="*/ 0 w 152"/>
                <a:gd name="T27" fmla="*/ 73 h 347"/>
                <a:gd name="T28" fmla="*/ 37 w 152"/>
                <a:gd name="T29" fmla="*/ 73 h 347"/>
                <a:gd name="T30" fmla="*/ 37 w 152"/>
                <a:gd name="T31" fmla="*/ 0 h 347"/>
                <a:gd name="T32" fmla="*/ 108 w 152"/>
                <a:gd name="T33" fmla="*/ 0 h 347"/>
                <a:gd name="T34" fmla="*/ 108 w 152"/>
                <a:gd name="T35" fmla="*/ 73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347">
                  <a:moveTo>
                    <a:pt x="108" y="73"/>
                  </a:moveTo>
                  <a:cubicBezTo>
                    <a:pt x="152" y="73"/>
                    <a:pt x="152" y="73"/>
                    <a:pt x="152" y="73"/>
                  </a:cubicBezTo>
                  <a:cubicBezTo>
                    <a:pt x="152" y="124"/>
                    <a:pt x="152" y="124"/>
                    <a:pt x="152" y="124"/>
                  </a:cubicBezTo>
                  <a:cubicBezTo>
                    <a:pt x="108" y="124"/>
                    <a:pt x="108" y="124"/>
                    <a:pt x="108" y="124"/>
                  </a:cubicBezTo>
                  <a:cubicBezTo>
                    <a:pt x="108" y="271"/>
                    <a:pt x="108" y="271"/>
                    <a:pt x="108" y="271"/>
                  </a:cubicBezTo>
                  <a:cubicBezTo>
                    <a:pt x="108" y="287"/>
                    <a:pt x="108" y="293"/>
                    <a:pt x="137" y="293"/>
                  </a:cubicBezTo>
                  <a:cubicBezTo>
                    <a:pt x="142" y="293"/>
                    <a:pt x="147" y="292"/>
                    <a:pt x="152" y="292"/>
                  </a:cubicBezTo>
                  <a:cubicBezTo>
                    <a:pt x="152" y="346"/>
                    <a:pt x="152" y="346"/>
                    <a:pt x="152" y="346"/>
                  </a:cubicBezTo>
                  <a:cubicBezTo>
                    <a:pt x="141" y="346"/>
                    <a:pt x="130" y="347"/>
                    <a:pt x="119" y="347"/>
                  </a:cubicBezTo>
                  <a:cubicBezTo>
                    <a:pt x="109" y="347"/>
                    <a:pt x="109" y="347"/>
                    <a:pt x="109" y="347"/>
                  </a:cubicBezTo>
                  <a:cubicBezTo>
                    <a:pt x="48" y="347"/>
                    <a:pt x="37" y="323"/>
                    <a:pt x="37" y="288"/>
                  </a:cubicBezTo>
                  <a:cubicBezTo>
                    <a:pt x="37" y="124"/>
                    <a:pt x="37" y="124"/>
                    <a:pt x="37" y="124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37" y="73"/>
                    <a:pt x="37" y="73"/>
                    <a:pt x="37" y="73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08" y="0"/>
                    <a:pt x="108" y="0"/>
                    <a:pt x="108" y="0"/>
                  </a:cubicBezTo>
                  <a:lnTo>
                    <a:pt x="108" y="73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Freeform 131">
              <a:extLst>
                <a:ext uri="{FF2B5EF4-FFF2-40B4-BE49-F238E27FC236}">
                  <a16:creationId xmlns:a16="http://schemas.microsoft.com/office/drawing/2014/main" id="{510CD4A1-A422-4881-BD3E-8961D5E0BD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73800" y="5330825"/>
              <a:ext cx="87313" cy="96837"/>
            </a:xfrm>
            <a:custGeom>
              <a:avLst/>
              <a:gdLst>
                <a:gd name="T0" fmla="*/ 73 w 257"/>
                <a:gd name="T1" fmla="*/ 115 h 285"/>
                <a:gd name="T2" fmla="*/ 129 w 257"/>
                <a:gd name="T3" fmla="*/ 58 h 285"/>
                <a:gd name="T4" fmla="*/ 184 w 257"/>
                <a:gd name="T5" fmla="*/ 115 h 285"/>
                <a:gd name="T6" fmla="*/ 73 w 257"/>
                <a:gd name="T7" fmla="*/ 115 h 285"/>
                <a:gd name="T8" fmla="*/ 181 w 257"/>
                <a:gd name="T9" fmla="*/ 198 h 285"/>
                <a:gd name="T10" fmla="*/ 135 w 257"/>
                <a:gd name="T11" fmla="*/ 228 h 285"/>
                <a:gd name="T12" fmla="*/ 71 w 257"/>
                <a:gd name="T13" fmla="*/ 162 h 285"/>
                <a:gd name="T14" fmla="*/ 257 w 257"/>
                <a:gd name="T15" fmla="*/ 162 h 285"/>
                <a:gd name="T16" fmla="*/ 257 w 257"/>
                <a:gd name="T17" fmla="*/ 149 h 285"/>
                <a:gd name="T18" fmla="*/ 130 w 257"/>
                <a:gd name="T19" fmla="*/ 0 h 285"/>
                <a:gd name="T20" fmla="*/ 0 w 257"/>
                <a:gd name="T21" fmla="*/ 137 h 285"/>
                <a:gd name="T22" fmla="*/ 135 w 257"/>
                <a:gd name="T23" fmla="*/ 285 h 285"/>
                <a:gd name="T24" fmla="*/ 254 w 257"/>
                <a:gd name="T25" fmla="*/ 198 h 285"/>
                <a:gd name="T26" fmla="*/ 181 w 257"/>
                <a:gd name="T27" fmla="*/ 198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7" h="285">
                  <a:moveTo>
                    <a:pt x="73" y="115"/>
                  </a:moveTo>
                  <a:cubicBezTo>
                    <a:pt x="78" y="80"/>
                    <a:pt x="95" y="58"/>
                    <a:pt x="129" y="58"/>
                  </a:cubicBezTo>
                  <a:cubicBezTo>
                    <a:pt x="152" y="58"/>
                    <a:pt x="180" y="72"/>
                    <a:pt x="184" y="115"/>
                  </a:cubicBezTo>
                  <a:lnTo>
                    <a:pt x="73" y="115"/>
                  </a:lnTo>
                  <a:close/>
                  <a:moveTo>
                    <a:pt x="181" y="198"/>
                  </a:moveTo>
                  <a:cubicBezTo>
                    <a:pt x="175" y="218"/>
                    <a:pt x="155" y="228"/>
                    <a:pt x="135" y="228"/>
                  </a:cubicBezTo>
                  <a:cubicBezTo>
                    <a:pt x="78" y="228"/>
                    <a:pt x="73" y="182"/>
                    <a:pt x="71" y="162"/>
                  </a:cubicBezTo>
                  <a:cubicBezTo>
                    <a:pt x="257" y="162"/>
                    <a:pt x="257" y="162"/>
                    <a:pt x="257" y="162"/>
                  </a:cubicBezTo>
                  <a:cubicBezTo>
                    <a:pt x="257" y="149"/>
                    <a:pt x="257" y="149"/>
                    <a:pt x="257" y="149"/>
                  </a:cubicBezTo>
                  <a:cubicBezTo>
                    <a:pt x="257" y="25"/>
                    <a:pt x="183" y="0"/>
                    <a:pt x="130" y="0"/>
                  </a:cubicBezTo>
                  <a:cubicBezTo>
                    <a:pt x="11" y="0"/>
                    <a:pt x="0" y="104"/>
                    <a:pt x="0" y="137"/>
                  </a:cubicBezTo>
                  <a:cubicBezTo>
                    <a:pt x="0" y="248"/>
                    <a:pt x="59" y="285"/>
                    <a:pt x="135" y="285"/>
                  </a:cubicBezTo>
                  <a:cubicBezTo>
                    <a:pt x="181" y="285"/>
                    <a:pt x="235" y="263"/>
                    <a:pt x="254" y="198"/>
                  </a:cubicBezTo>
                  <a:lnTo>
                    <a:pt x="181" y="198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Freeform 132">
              <a:extLst>
                <a:ext uri="{FF2B5EF4-FFF2-40B4-BE49-F238E27FC236}">
                  <a16:creationId xmlns:a16="http://schemas.microsoft.com/office/drawing/2014/main" id="{6A6665B1-076D-402E-8CD3-95D4CEFEECD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8575" y="5330825"/>
              <a:ext cx="53975" cy="93662"/>
            </a:xfrm>
            <a:custGeom>
              <a:avLst/>
              <a:gdLst>
                <a:gd name="T0" fmla="*/ 0 w 157"/>
                <a:gd name="T1" fmla="*/ 7 h 278"/>
                <a:gd name="T2" fmla="*/ 68 w 157"/>
                <a:gd name="T3" fmla="*/ 7 h 278"/>
                <a:gd name="T4" fmla="*/ 68 w 157"/>
                <a:gd name="T5" fmla="*/ 54 h 278"/>
                <a:gd name="T6" fmla="*/ 69 w 157"/>
                <a:gd name="T7" fmla="*/ 54 h 278"/>
                <a:gd name="T8" fmla="*/ 143 w 157"/>
                <a:gd name="T9" fmla="*/ 0 h 278"/>
                <a:gd name="T10" fmla="*/ 157 w 157"/>
                <a:gd name="T11" fmla="*/ 1 h 278"/>
                <a:gd name="T12" fmla="*/ 157 w 157"/>
                <a:gd name="T13" fmla="*/ 73 h 278"/>
                <a:gd name="T14" fmla="*/ 136 w 157"/>
                <a:gd name="T15" fmla="*/ 72 h 278"/>
                <a:gd name="T16" fmla="*/ 71 w 157"/>
                <a:gd name="T17" fmla="*/ 137 h 278"/>
                <a:gd name="T18" fmla="*/ 71 w 157"/>
                <a:gd name="T19" fmla="*/ 278 h 278"/>
                <a:gd name="T20" fmla="*/ 0 w 157"/>
                <a:gd name="T21" fmla="*/ 278 h 278"/>
                <a:gd name="T22" fmla="*/ 0 w 157"/>
                <a:gd name="T23" fmla="*/ 7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7" h="278">
                  <a:moveTo>
                    <a:pt x="0" y="7"/>
                  </a:moveTo>
                  <a:cubicBezTo>
                    <a:pt x="68" y="7"/>
                    <a:pt x="68" y="7"/>
                    <a:pt x="68" y="7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9" y="54"/>
                    <a:pt x="69" y="54"/>
                    <a:pt x="69" y="54"/>
                  </a:cubicBezTo>
                  <a:cubicBezTo>
                    <a:pt x="84" y="26"/>
                    <a:pt x="100" y="0"/>
                    <a:pt x="143" y="0"/>
                  </a:cubicBezTo>
                  <a:cubicBezTo>
                    <a:pt x="148" y="0"/>
                    <a:pt x="152" y="0"/>
                    <a:pt x="157" y="1"/>
                  </a:cubicBezTo>
                  <a:cubicBezTo>
                    <a:pt x="157" y="73"/>
                    <a:pt x="157" y="73"/>
                    <a:pt x="157" y="73"/>
                  </a:cubicBezTo>
                  <a:cubicBezTo>
                    <a:pt x="151" y="72"/>
                    <a:pt x="143" y="72"/>
                    <a:pt x="136" y="72"/>
                  </a:cubicBezTo>
                  <a:cubicBezTo>
                    <a:pt x="81" y="72"/>
                    <a:pt x="71" y="107"/>
                    <a:pt x="71" y="137"/>
                  </a:cubicBezTo>
                  <a:cubicBezTo>
                    <a:pt x="71" y="278"/>
                    <a:pt x="71" y="278"/>
                    <a:pt x="71" y="278"/>
                  </a:cubicBezTo>
                  <a:cubicBezTo>
                    <a:pt x="0" y="278"/>
                    <a:pt x="0" y="278"/>
                    <a:pt x="0" y="278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Freeform 133">
              <a:extLst>
                <a:ext uri="{FF2B5EF4-FFF2-40B4-BE49-F238E27FC236}">
                  <a16:creationId xmlns:a16="http://schemas.microsoft.com/office/drawing/2014/main" id="{9F7710D6-CF34-4358-941D-0D1D1068D1D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0488" y="5330825"/>
              <a:ext cx="84138" cy="96837"/>
            </a:xfrm>
            <a:custGeom>
              <a:avLst/>
              <a:gdLst>
                <a:gd name="T0" fmla="*/ 171 w 249"/>
                <a:gd name="T1" fmla="*/ 89 h 285"/>
                <a:gd name="T2" fmla="*/ 123 w 249"/>
                <a:gd name="T3" fmla="*/ 54 h 285"/>
                <a:gd name="T4" fmla="*/ 80 w 249"/>
                <a:gd name="T5" fmla="*/ 80 h 285"/>
                <a:gd name="T6" fmla="*/ 249 w 249"/>
                <a:gd name="T7" fmla="*/ 192 h 285"/>
                <a:gd name="T8" fmla="*/ 131 w 249"/>
                <a:gd name="T9" fmla="*/ 285 h 285"/>
                <a:gd name="T10" fmla="*/ 0 w 249"/>
                <a:gd name="T11" fmla="*/ 191 h 285"/>
                <a:gd name="T12" fmla="*/ 74 w 249"/>
                <a:gd name="T13" fmla="*/ 191 h 285"/>
                <a:gd name="T14" fmla="*/ 133 w 249"/>
                <a:gd name="T15" fmla="*/ 231 h 285"/>
                <a:gd name="T16" fmla="*/ 178 w 249"/>
                <a:gd name="T17" fmla="*/ 203 h 285"/>
                <a:gd name="T18" fmla="*/ 10 w 249"/>
                <a:gd name="T19" fmla="*/ 90 h 285"/>
                <a:gd name="T20" fmla="*/ 119 w 249"/>
                <a:gd name="T21" fmla="*/ 0 h 285"/>
                <a:gd name="T22" fmla="*/ 241 w 249"/>
                <a:gd name="T23" fmla="*/ 89 h 285"/>
                <a:gd name="T24" fmla="*/ 171 w 249"/>
                <a:gd name="T25" fmla="*/ 89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9" h="285">
                  <a:moveTo>
                    <a:pt x="171" y="89"/>
                  </a:moveTo>
                  <a:cubicBezTo>
                    <a:pt x="168" y="72"/>
                    <a:pt x="162" y="54"/>
                    <a:pt x="123" y="54"/>
                  </a:cubicBezTo>
                  <a:cubicBezTo>
                    <a:pt x="85" y="54"/>
                    <a:pt x="80" y="69"/>
                    <a:pt x="80" y="80"/>
                  </a:cubicBezTo>
                  <a:cubicBezTo>
                    <a:pt x="80" y="123"/>
                    <a:pt x="249" y="92"/>
                    <a:pt x="249" y="192"/>
                  </a:cubicBezTo>
                  <a:cubicBezTo>
                    <a:pt x="249" y="271"/>
                    <a:pt x="173" y="285"/>
                    <a:pt x="131" y="285"/>
                  </a:cubicBezTo>
                  <a:cubicBezTo>
                    <a:pt x="69" y="285"/>
                    <a:pt x="2" y="263"/>
                    <a:pt x="0" y="191"/>
                  </a:cubicBezTo>
                  <a:cubicBezTo>
                    <a:pt x="74" y="191"/>
                    <a:pt x="74" y="191"/>
                    <a:pt x="74" y="191"/>
                  </a:cubicBezTo>
                  <a:cubicBezTo>
                    <a:pt x="74" y="214"/>
                    <a:pt x="88" y="231"/>
                    <a:pt x="133" y="231"/>
                  </a:cubicBezTo>
                  <a:cubicBezTo>
                    <a:pt x="169" y="231"/>
                    <a:pt x="178" y="213"/>
                    <a:pt x="178" y="203"/>
                  </a:cubicBezTo>
                  <a:cubicBezTo>
                    <a:pt x="178" y="158"/>
                    <a:pt x="10" y="192"/>
                    <a:pt x="10" y="90"/>
                  </a:cubicBezTo>
                  <a:cubicBezTo>
                    <a:pt x="10" y="51"/>
                    <a:pt x="35" y="0"/>
                    <a:pt x="119" y="0"/>
                  </a:cubicBezTo>
                  <a:cubicBezTo>
                    <a:pt x="172" y="0"/>
                    <a:pt x="235" y="13"/>
                    <a:pt x="241" y="89"/>
                  </a:cubicBezTo>
                  <a:lnTo>
                    <a:pt x="171" y="89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" name="Freeform 134">
              <a:extLst>
                <a:ext uri="{FF2B5EF4-FFF2-40B4-BE49-F238E27FC236}">
                  <a16:creationId xmlns:a16="http://schemas.microsoft.com/office/drawing/2014/main" id="{638579D9-C845-44FE-A3D1-540CCD72D2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35738" y="5330825"/>
              <a:ext cx="87313" cy="96837"/>
            </a:xfrm>
            <a:custGeom>
              <a:avLst/>
              <a:gdLst>
                <a:gd name="T0" fmla="*/ 73 w 257"/>
                <a:gd name="T1" fmla="*/ 115 h 285"/>
                <a:gd name="T2" fmla="*/ 129 w 257"/>
                <a:gd name="T3" fmla="*/ 58 h 285"/>
                <a:gd name="T4" fmla="*/ 184 w 257"/>
                <a:gd name="T5" fmla="*/ 115 h 285"/>
                <a:gd name="T6" fmla="*/ 73 w 257"/>
                <a:gd name="T7" fmla="*/ 115 h 285"/>
                <a:gd name="T8" fmla="*/ 181 w 257"/>
                <a:gd name="T9" fmla="*/ 198 h 285"/>
                <a:gd name="T10" fmla="*/ 135 w 257"/>
                <a:gd name="T11" fmla="*/ 228 h 285"/>
                <a:gd name="T12" fmla="*/ 71 w 257"/>
                <a:gd name="T13" fmla="*/ 162 h 285"/>
                <a:gd name="T14" fmla="*/ 257 w 257"/>
                <a:gd name="T15" fmla="*/ 162 h 285"/>
                <a:gd name="T16" fmla="*/ 257 w 257"/>
                <a:gd name="T17" fmla="*/ 149 h 285"/>
                <a:gd name="T18" fmla="*/ 130 w 257"/>
                <a:gd name="T19" fmla="*/ 0 h 285"/>
                <a:gd name="T20" fmla="*/ 0 w 257"/>
                <a:gd name="T21" fmla="*/ 137 h 285"/>
                <a:gd name="T22" fmla="*/ 135 w 257"/>
                <a:gd name="T23" fmla="*/ 285 h 285"/>
                <a:gd name="T24" fmla="*/ 254 w 257"/>
                <a:gd name="T25" fmla="*/ 198 h 285"/>
                <a:gd name="T26" fmla="*/ 181 w 257"/>
                <a:gd name="T27" fmla="*/ 198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7" h="285">
                  <a:moveTo>
                    <a:pt x="73" y="115"/>
                  </a:moveTo>
                  <a:cubicBezTo>
                    <a:pt x="78" y="80"/>
                    <a:pt x="95" y="58"/>
                    <a:pt x="129" y="58"/>
                  </a:cubicBezTo>
                  <a:cubicBezTo>
                    <a:pt x="152" y="58"/>
                    <a:pt x="180" y="72"/>
                    <a:pt x="184" y="115"/>
                  </a:cubicBezTo>
                  <a:lnTo>
                    <a:pt x="73" y="115"/>
                  </a:lnTo>
                  <a:close/>
                  <a:moveTo>
                    <a:pt x="181" y="198"/>
                  </a:moveTo>
                  <a:cubicBezTo>
                    <a:pt x="175" y="218"/>
                    <a:pt x="155" y="228"/>
                    <a:pt x="135" y="228"/>
                  </a:cubicBezTo>
                  <a:cubicBezTo>
                    <a:pt x="78" y="228"/>
                    <a:pt x="73" y="182"/>
                    <a:pt x="71" y="162"/>
                  </a:cubicBezTo>
                  <a:cubicBezTo>
                    <a:pt x="257" y="162"/>
                    <a:pt x="257" y="162"/>
                    <a:pt x="257" y="162"/>
                  </a:cubicBezTo>
                  <a:cubicBezTo>
                    <a:pt x="257" y="149"/>
                    <a:pt x="257" y="149"/>
                    <a:pt x="257" y="149"/>
                  </a:cubicBezTo>
                  <a:cubicBezTo>
                    <a:pt x="257" y="25"/>
                    <a:pt x="183" y="0"/>
                    <a:pt x="130" y="0"/>
                  </a:cubicBezTo>
                  <a:cubicBezTo>
                    <a:pt x="11" y="0"/>
                    <a:pt x="0" y="104"/>
                    <a:pt x="0" y="137"/>
                  </a:cubicBezTo>
                  <a:cubicBezTo>
                    <a:pt x="0" y="248"/>
                    <a:pt x="59" y="285"/>
                    <a:pt x="135" y="285"/>
                  </a:cubicBezTo>
                  <a:cubicBezTo>
                    <a:pt x="181" y="285"/>
                    <a:pt x="235" y="263"/>
                    <a:pt x="254" y="198"/>
                  </a:cubicBezTo>
                  <a:lnTo>
                    <a:pt x="181" y="198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Freeform 135">
              <a:extLst>
                <a:ext uri="{FF2B5EF4-FFF2-40B4-BE49-F238E27FC236}">
                  <a16:creationId xmlns:a16="http://schemas.microsoft.com/office/drawing/2014/main" id="{A7BB58CB-F5F3-43A0-A2C1-B7AB6C44D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7338" y="5330825"/>
              <a:ext cx="84138" cy="93662"/>
            </a:xfrm>
            <a:custGeom>
              <a:avLst/>
              <a:gdLst>
                <a:gd name="T0" fmla="*/ 245 w 245"/>
                <a:gd name="T1" fmla="*/ 278 h 278"/>
                <a:gd name="T2" fmla="*/ 174 w 245"/>
                <a:gd name="T3" fmla="*/ 278 h 278"/>
                <a:gd name="T4" fmla="*/ 174 w 245"/>
                <a:gd name="T5" fmla="*/ 113 h 278"/>
                <a:gd name="T6" fmla="*/ 128 w 245"/>
                <a:gd name="T7" fmla="*/ 60 h 278"/>
                <a:gd name="T8" fmla="*/ 72 w 245"/>
                <a:gd name="T9" fmla="*/ 122 h 278"/>
                <a:gd name="T10" fmla="*/ 72 w 245"/>
                <a:gd name="T11" fmla="*/ 278 h 278"/>
                <a:gd name="T12" fmla="*/ 0 w 245"/>
                <a:gd name="T13" fmla="*/ 278 h 278"/>
                <a:gd name="T14" fmla="*/ 0 w 245"/>
                <a:gd name="T15" fmla="*/ 7 h 278"/>
                <a:gd name="T16" fmla="*/ 69 w 245"/>
                <a:gd name="T17" fmla="*/ 7 h 278"/>
                <a:gd name="T18" fmla="*/ 69 w 245"/>
                <a:gd name="T19" fmla="*/ 47 h 278"/>
                <a:gd name="T20" fmla="*/ 70 w 245"/>
                <a:gd name="T21" fmla="*/ 47 h 278"/>
                <a:gd name="T22" fmla="*/ 151 w 245"/>
                <a:gd name="T23" fmla="*/ 0 h 278"/>
                <a:gd name="T24" fmla="*/ 245 w 245"/>
                <a:gd name="T25" fmla="*/ 90 h 278"/>
                <a:gd name="T26" fmla="*/ 245 w 245"/>
                <a:gd name="T27" fmla="*/ 278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5" h="278">
                  <a:moveTo>
                    <a:pt x="245" y="278"/>
                  </a:moveTo>
                  <a:cubicBezTo>
                    <a:pt x="174" y="278"/>
                    <a:pt x="174" y="278"/>
                    <a:pt x="174" y="278"/>
                  </a:cubicBezTo>
                  <a:cubicBezTo>
                    <a:pt x="174" y="113"/>
                    <a:pt x="174" y="113"/>
                    <a:pt x="174" y="113"/>
                  </a:cubicBezTo>
                  <a:cubicBezTo>
                    <a:pt x="174" y="93"/>
                    <a:pt x="173" y="60"/>
                    <a:pt x="128" y="60"/>
                  </a:cubicBezTo>
                  <a:cubicBezTo>
                    <a:pt x="96" y="60"/>
                    <a:pt x="72" y="81"/>
                    <a:pt x="72" y="122"/>
                  </a:cubicBezTo>
                  <a:cubicBezTo>
                    <a:pt x="72" y="278"/>
                    <a:pt x="72" y="278"/>
                    <a:pt x="72" y="278"/>
                  </a:cubicBezTo>
                  <a:cubicBezTo>
                    <a:pt x="0" y="278"/>
                    <a:pt x="0" y="278"/>
                    <a:pt x="0" y="278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69" y="7"/>
                    <a:pt x="69" y="7"/>
                    <a:pt x="69" y="7"/>
                  </a:cubicBezTo>
                  <a:cubicBezTo>
                    <a:pt x="69" y="47"/>
                    <a:pt x="69" y="47"/>
                    <a:pt x="69" y="47"/>
                  </a:cubicBezTo>
                  <a:cubicBezTo>
                    <a:pt x="70" y="47"/>
                    <a:pt x="70" y="47"/>
                    <a:pt x="70" y="47"/>
                  </a:cubicBezTo>
                  <a:cubicBezTo>
                    <a:pt x="79" y="30"/>
                    <a:pt x="100" y="0"/>
                    <a:pt x="151" y="0"/>
                  </a:cubicBezTo>
                  <a:cubicBezTo>
                    <a:pt x="204" y="0"/>
                    <a:pt x="245" y="31"/>
                    <a:pt x="245" y="90"/>
                  </a:cubicBezTo>
                  <a:lnTo>
                    <a:pt x="245" y="278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" name="Freeform 136">
              <a:extLst>
                <a:ext uri="{FF2B5EF4-FFF2-40B4-BE49-F238E27FC236}">
                  <a16:creationId xmlns:a16="http://schemas.microsoft.com/office/drawing/2014/main" id="{C73F16CD-9507-4D17-B64F-7BB3D754BC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97675" y="5330825"/>
              <a:ext cx="85725" cy="96837"/>
            </a:xfrm>
            <a:custGeom>
              <a:avLst/>
              <a:gdLst>
                <a:gd name="T0" fmla="*/ 167 w 253"/>
                <a:gd name="T1" fmla="*/ 181 h 285"/>
                <a:gd name="T2" fmla="*/ 104 w 253"/>
                <a:gd name="T3" fmla="*/ 234 h 285"/>
                <a:gd name="T4" fmla="*/ 71 w 253"/>
                <a:gd name="T5" fmla="*/ 201 h 285"/>
                <a:gd name="T6" fmla="*/ 119 w 253"/>
                <a:gd name="T7" fmla="*/ 161 h 285"/>
                <a:gd name="T8" fmla="*/ 167 w 253"/>
                <a:gd name="T9" fmla="*/ 146 h 285"/>
                <a:gd name="T10" fmla="*/ 167 w 253"/>
                <a:gd name="T11" fmla="*/ 181 h 285"/>
                <a:gd name="T12" fmla="*/ 237 w 253"/>
                <a:gd name="T13" fmla="*/ 78 h 285"/>
                <a:gd name="T14" fmla="*/ 129 w 253"/>
                <a:gd name="T15" fmla="*/ 0 h 285"/>
                <a:gd name="T16" fmla="*/ 8 w 253"/>
                <a:gd name="T17" fmla="*/ 95 h 285"/>
                <a:gd name="T18" fmla="*/ 77 w 253"/>
                <a:gd name="T19" fmla="*/ 95 h 285"/>
                <a:gd name="T20" fmla="*/ 121 w 253"/>
                <a:gd name="T21" fmla="*/ 57 h 285"/>
                <a:gd name="T22" fmla="*/ 167 w 253"/>
                <a:gd name="T23" fmla="*/ 88 h 285"/>
                <a:gd name="T24" fmla="*/ 142 w 253"/>
                <a:gd name="T25" fmla="*/ 110 h 285"/>
                <a:gd name="T26" fmla="*/ 78 w 253"/>
                <a:gd name="T27" fmla="*/ 119 h 285"/>
                <a:gd name="T28" fmla="*/ 0 w 253"/>
                <a:gd name="T29" fmla="*/ 206 h 285"/>
                <a:gd name="T30" fmla="*/ 82 w 253"/>
                <a:gd name="T31" fmla="*/ 285 h 285"/>
                <a:gd name="T32" fmla="*/ 169 w 253"/>
                <a:gd name="T33" fmla="*/ 246 h 285"/>
                <a:gd name="T34" fmla="*/ 176 w 253"/>
                <a:gd name="T35" fmla="*/ 278 h 285"/>
                <a:gd name="T36" fmla="*/ 253 w 253"/>
                <a:gd name="T37" fmla="*/ 278 h 285"/>
                <a:gd name="T38" fmla="*/ 253 w 253"/>
                <a:gd name="T39" fmla="*/ 267 h 285"/>
                <a:gd name="T40" fmla="*/ 237 w 253"/>
                <a:gd name="T41" fmla="*/ 225 h 285"/>
                <a:gd name="T42" fmla="*/ 237 w 253"/>
                <a:gd name="T43" fmla="*/ 78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3" h="285">
                  <a:moveTo>
                    <a:pt x="167" y="181"/>
                  </a:moveTo>
                  <a:cubicBezTo>
                    <a:pt x="167" y="214"/>
                    <a:pt x="135" y="234"/>
                    <a:pt x="104" y="234"/>
                  </a:cubicBezTo>
                  <a:cubicBezTo>
                    <a:pt x="90" y="234"/>
                    <a:pt x="71" y="226"/>
                    <a:pt x="71" y="201"/>
                  </a:cubicBezTo>
                  <a:cubicBezTo>
                    <a:pt x="71" y="172"/>
                    <a:pt x="93" y="165"/>
                    <a:pt x="119" y="161"/>
                  </a:cubicBezTo>
                  <a:cubicBezTo>
                    <a:pt x="149" y="156"/>
                    <a:pt x="160" y="152"/>
                    <a:pt x="167" y="146"/>
                  </a:cubicBezTo>
                  <a:lnTo>
                    <a:pt x="167" y="181"/>
                  </a:lnTo>
                  <a:close/>
                  <a:moveTo>
                    <a:pt x="237" y="78"/>
                  </a:moveTo>
                  <a:cubicBezTo>
                    <a:pt x="237" y="12"/>
                    <a:pt x="167" y="0"/>
                    <a:pt x="129" y="0"/>
                  </a:cubicBezTo>
                  <a:cubicBezTo>
                    <a:pt x="74" y="0"/>
                    <a:pt x="16" y="12"/>
                    <a:pt x="8" y="95"/>
                  </a:cubicBezTo>
                  <a:cubicBezTo>
                    <a:pt x="77" y="95"/>
                    <a:pt x="77" y="95"/>
                    <a:pt x="77" y="95"/>
                  </a:cubicBezTo>
                  <a:cubicBezTo>
                    <a:pt x="79" y="79"/>
                    <a:pt x="85" y="57"/>
                    <a:pt x="121" y="57"/>
                  </a:cubicBezTo>
                  <a:cubicBezTo>
                    <a:pt x="139" y="57"/>
                    <a:pt x="167" y="58"/>
                    <a:pt x="167" y="88"/>
                  </a:cubicBezTo>
                  <a:cubicBezTo>
                    <a:pt x="167" y="104"/>
                    <a:pt x="154" y="108"/>
                    <a:pt x="142" y="110"/>
                  </a:cubicBezTo>
                  <a:cubicBezTo>
                    <a:pt x="78" y="119"/>
                    <a:pt x="78" y="119"/>
                    <a:pt x="78" y="119"/>
                  </a:cubicBezTo>
                  <a:cubicBezTo>
                    <a:pt x="33" y="126"/>
                    <a:pt x="0" y="153"/>
                    <a:pt x="0" y="206"/>
                  </a:cubicBezTo>
                  <a:cubicBezTo>
                    <a:pt x="0" y="262"/>
                    <a:pt x="41" y="285"/>
                    <a:pt x="82" y="285"/>
                  </a:cubicBezTo>
                  <a:cubicBezTo>
                    <a:pt x="130" y="285"/>
                    <a:pt x="153" y="262"/>
                    <a:pt x="169" y="246"/>
                  </a:cubicBezTo>
                  <a:cubicBezTo>
                    <a:pt x="171" y="261"/>
                    <a:pt x="172" y="265"/>
                    <a:pt x="176" y="278"/>
                  </a:cubicBezTo>
                  <a:cubicBezTo>
                    <a:pt x="253" y="278"/>
                    <a:pt x="253" y="278"/>
                    <a:pt x="253" y="278"/>
                  </a:cubicBezTo>
                  <a:cubicBezTo>
                    <a:pt x="253" y="267"/>
                    <a:pt x="253" y="267"/>
                    <a:pt x="253" y="267"/>
                  </a:cubicBezTo>
                  <a:cubicBezTo>
                    <a:pt x="244" y="264"/>
                    <a:pt x="237" y="257"/>
                    <a:pt x="237" y="225"/>
                  </a:cubicBezTo>
                  <a:lnTo>
                    <a:pt x="237" y="78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Freeform 137">
              <a:extLst>
                <a:ext uri="{FF2B5EF4-FFF2-40B4-BE49-F238E27FC236}">
                  <a16:creationId xmlns:a16="http://schemas.microsoft.com/office/drawing/2014/main" id="{081A4BCB-FCD3-41C6-B594-280103E70DE9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6575" y="5297488"/>
              <a:ext cx="58738" cy="130175"/>
            </a:xfrm>
            <a:custGeom>
              <a:avLst/>
              <a:gdLst>
                <a:gd name="T0" fmla="*/ 12 w 37"/>
                <a:gd name="T1" fmla="*/ 82 h 82"/>
                <a:gd name="T2" fmla="*/ 0 w 37"/>
                <a:gd name="T3" fmla="*/ 82 h 82"/>
                <a:gd name="T4" fmla="*/ 24 w 37"/>
                <a:gd name="T5" fmla="*/ 0 h 82"/>
                <a:gd name="T6" fmla="*/ 37 w 37"/>
                <a:gd name="T7" fmla="*/ 0 h 82"/>
                <a:gd name="T8" fmla="*/ 12 w 37"/>
                <a:gd name="T9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82">
                  <a:moveTo>
                    <a:pt x="12" y="82"/>
                  </a:moveTo>
                  <a:lnTo>
                    <a:pt x="0" y="82"/>
                  </a:lnTo>
                  <a:lnTo>
                    <a:pt x="24" y="0"/>
                  </a:lnTo>
                  <a:lnTo>
                    <a:pt x="37" y="0"/>
                  </a:lnTo>
                  <a:lnTo>
                    <a:pt x="12" y="82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" name="Freeform 138">
              <a:extLst>
                <a:ext uri="{FF2B5EF4-FFF2-40B4-BE49-F238E27FC236}">
                  <a16:creationId xmlns:a16="http://schemas.microsoft.com/office/drawing/2014/main" id="{09A0D655-3985-45AF-AFCD-49724123EC01}"/>
                </a:ext>
              </a:extLst>
            </p:cNvPr>
            <p:cNvSpPr>
              <a:spLocks/>
            </p:cNvSpPr>
            <p:nvPr/>
          </p:nvSpPr>
          <p:spPr bwMode="auto">
            <a:xfrm>
              <a:off x="6943725" y="5330825"/>
              <a:ext cx="84138" cy="96837"/>
            </a:xfrm>
            <a:custGeom>
              <a:avLst/>
              <a:gdLst>
                <a:gd name="T0" fmla="*/ 171 w 249"/>
                <a:gd name="T1" fmla="*/ 89 h 285"/>
                <a:gd name="T2" fmla="*/ 123 w 249"/>
                <a:gd name="T3" fmla="*/ 54 h 285"/>
                <a:gd name="T4" fmla="*/ 79 w 249"/>
                <a:gd name="T5" fmla="*/ 80 h 285"/>
                <a:gd name="T6" fmla="*/ 249 w 249"/>
                <a:gd name="T7" fmla="*/ 192 h 285"/>
                <a:gd name="T8" fmla="*/ 130 w 249"/>
                <a:gd name="T9" fmla="*/ 285 h 285"/>
                <a:gd name="T10" fmla="*/ 0 w 249"/>
                <a:gd name="T11" fmla="*/ 191 h 285"/>
                <a:gd name="T12" fmla="*/ 73 w 249"/>
                <a:gd name="T13" fmla="*/ 191 h 285"/>
                <a:gd name="T14" fmla="*/ 132 w 249"/>
                <a:gd name="T15" fmla="*/ 231 h 285"/>
                <a:gd name="T16" fmla="*/ 178 w 249"/>
                <a:gd name="T17" fmla="*/ 203 h 285"/>
                <a:gd name="T18" fmla="*/ 10 w 249"/>
                <a:gd name="T19" fmla="*/ 90 h 285"/>
                <a:gd name="T20" fmla="*/ 119 w 249"/>
                <a:gd name="T21" fmla="*/ 0 h 285"/>
                <a:gd name="T22" fmla="*/ 241 w 249"/>
                <a:gd name="T23" fmla="*/ 89 h 285"/>
                <a:gd name="T24" fmla="*/ 171 w 249"/>
                <a:gd name="T25" fmla="*/ 89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9" h="285">
                  <a:moveTo>
                    <a:pt x="171" y="89"/>
                  </a:moveTo>
                  <a:cubicBezTo>
                    <a:pt x="168" y="72"/>
                    <a:pt x="162" y="54"/>
                    <a:pt x="123" y="54"/>
                  </a:cubicBezTo>
                  <a:cubicBezTo>
                    <a:pt x="84" y="54"/>
                    <a:pt x="79" y="69"/>
                    <a:pt x="79" y="80"/>
                  </a:cubicBezTo>
                  <a:cubicBezTo>
                    <a:pt x="79" y="123"/>
                    <a:pt x="249" y="92"/>
                    <a:pt x="249" y="192"/>
                  </a:cubicBezTo>
                  <a:cubicBezTo>
                    <a:pt x="249" y="271"/>
                    <a:pt x="172" y="285"/>
                    <a:pt x="130" y="285"/>
                  </a:cubicBezTo>
                  <a:cubicBezTo>
                    <a:pt x="69" y="285"/>
                    <a:pt x="2" y="263"/>
                    <a:pt x="0" y="191"/>
                  </a:cubicBezTo>
                  <a:cubicBezTo>
                    <a:pt x="73" y="191"/>
                    <a:pt x="73" y="191"/>
                    <a:pt x="73" y="191"/>
                  </a:cubicBezTo>
                  <a:cubicBezTo>
                    <a:pt x="73" y="214"/>
                    <a:pt x="87" y="231"/>
                    <a:pt x="132" y="231"/>
                  </a:cubicBezTo>
                  <a:cubicBezTo>
                    <a:pt x="169" y="231"/>
                    <a:pt x="178" y="213"/>
                    <a:pt x="178" y="203"/>
                  </a:cubicBezTo>
                  <a:cubicBezTo>
                    <a:pt x="178" y="158"/>
                    <a:pt x="10" y="192"/>
                    <a:pt x="10" y="90"/>
                  </a:cubicBezTo>
                  <a:cubicBezTo>
                    <a:pt x="10" y="51"/>
                    <a:pt x="35" y="0"/>
                    <a:pt x="119" y="0"/>
                  </a:cubicBezTo>
                  <a:cubicBezTo>
                    <a:pt x="172" y="0"/>
                    <a:pt x="235" y="13"/>
                    <a:pt x="241" y="89"/>
                  </a:cubicBezTo>
                  <a:lnTo>
                    <a:pt x="171" y="89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70" name="Gruppe 69">
            <a:extLst>
              <a:ext uri="{FF2B5EF4-FFF2-40B4-BE49-F238E27FC236}">
                <a16:creationId xmlns:a16="http://schemas.microsoft.com/office/drawing/2014/main" id="{4C6D666D-E853-4DD7-A1DD-30200F9F5C38}"/>
              </a:ext>
            </a:extLst>
          </p:cNvPr>
          <p:cNvGrpSpPr>
            <a:grpSpLocks noChangeAspect="1"/>
          </p:cNvGrpSpPr>
          <p:nvPr/>
        </p:nvGrpSpPr>
        <p:grpSpPr>
          <a:xfrm>
            <a:off x="7845509" y="3890541"/>
            <a:ext cx="508798" cy="146566"/>
            <a:chOff x="7085013" y="4059238"/>
            <a:chExt cx="1449387" cy="417512"/>
          </a:xfrm>
        </p:grpSpPr>
        <p:sp>
          <p:nvSpPr>
            <p:cNvPr id="71" name="Freeform 139">
              <a:extLst>
                <a:ext uri="{FF2B5EF4-FFF2-40B4-BE49-F238E27FC236}">
                  <a16:creationId xmlns:a16="http://schemas.microsoft.com/office/drawing/2014/main" id="{BC961A02-F6BC-4407-B1EE-35399BBD0737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4129088"/>
              <a:ext cx="144463" cy="188912"/>
            </a:xfrm>
            <a:custGeom>
              <a:avLst/>
              <a:gdLst>
                <a:gd name="T0" fmla="*/ 182 w 422"/>
                <a:gd name="T1" fmla="*/ 550 h 550"/>
                <a:gd name="T2" fmla="*/ 3 w 422"/>
                <a:gd name="T3" fmla="*/ 531 h 550"/>
                <a:gd name="T4" fmla="*/ 3 w 422"/>
                <a:gd name="T5" fmla="*/ 449 h 550"/>
                <a:gd name="T6" fmla="*/ 169 w 422"/>
                <a:gd name="T7" fmla="*/ 473 h 550"/>
                <a:gd name="T8" fmla="*/ 317 w 422"/>
                <a:gd name="T9" fmla="*/ 395 h 550"/>
                <a:gd name="T10" fmla="*/ 157 w 422"/>
                <a:gd name="T11" fmla="*/ 305 h 550"/>
                <a:gd name="T12" fmla="*/ 0 w 422"/>
                <a:gd name="T13" fmla="*/ 155 h 550"/>
                <a:gd name="T14" fmla="*/ 217 w 422"/>
                <a:gd name="T15" fmla="*/ 0 h 550"/>
                <a:gd name="T16" fmla="*/ 387 w 422"/>
                <a:gd name="T17" fmla="*/ 15 h 550"/>
                <a:gd name="T18" fmla="*/ 387 w 422"/>
                <a:gd name="T19" fmla="*/ 95 h 550"/>
                <a:gd name="T20" fmla="*/ 235 w 422"/>
                <a:gd name="T21" fmla="*/ 78 h 550"/>
                <a:gd name="T22" fmla="*/ 101 w 422"/>
                <a:gd name="T23" fmla="*/ 148 h 550"/>
                <a:gd name="T24" fmla="*/ 422 w 422"/>
                <a:gd name="T25" fmla="*/ 382 h 550"/>
                <a:gd name="T26" fmla="*/ 182 w 422"/>
                <a:gd name="T27" fmla="*/ 55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22" h="550">
                  <a:moveTo>
                    <a:pt x="182" y="550"/>
                  </a:moveTo>
                  <a:cubicBezTo>
                    <a:pt x="119" y="550"/>
                    <a:pt x="60" y="542"/>
                    <a:pt x="3" y="531"/>
                  </a:cubicBezTo>
                  <a:cubicBezTo>
                    <a:pt x="3" y="449"/>
                    <a:pt x="3" y="449"/>
                    <a:pt x="3" y="449"/>
                  </a:cubicBezTo>
                  <a:cubicBezTo>
                    <a:pt x="64" y="462"/>
                    <a:pt x="116" y="473"/>
                    <a:pt x="169" y="473"/>
                  </a:cubicBezTo>
                  <a:cubicBezTo>
                    <a:pt x="243" y="473"/>
                    <a:pt x="317" y="455"/>
                    <a:pt x="317" y="395"/>
                  </a:cubicBezTo>
                  <a:cubicBezTo>
                    <a:pt x="317" y="324"/>
                    <a:pt x="210" y="318"/>
                    <a:pt x="157" y="305"/>
                  </a:cubicBezTo>
                  <a:cubicBezTo>
                    <a:pt x="84" y="286"/>
                    <a:pt x="0" y="258"/>
                    <a:pt x="0" y="155"/>
                  </a:cubicBezTo>
                  <a:cubicBezTo>
                    <a:pt x="0" y="34"/>
                    <a:pt x="111" y="0"/>
                    <a:pt x="217" y="0"/>
                  </a:cubicBezTo>
                  <a:cubicBezTo>
                    <a:pt x="292" y="0"/>
                    <a:pt x="346" y="9"/>
                    <a:pt x="387" y="15"/>
                  </a:cubicBezTo>
                  <a:cubicBezTo>
                    <a:pt x="387" y="95"/>
                    <a:pt x="387" y="95"/>
                    <a:pt x="387" y="95"/>
                  </a:cubicBezTo>
                  <a:cubicBezTo>
                    <a:pt x="338" y="86"/>
                    <a:pt x="285" y="78"/>
                    <a:pt x="235" y="78"/>
                  </a:cubicBezTo>
                  <a:cubicBezTo>
                    <a:pt x="184" y="78"/>
                    <a:pt x="101" y="86"/>
                    <a:pt x="101" y="148"/>
                  </a:cubicBezTo>
                  <a:cubicBezTo>
                    <a:pt x="101" y="263"/>
                    <a:pt x="422" y="180"/>
                    <a:pt x="422" y="382"/>
                  </a:cubicBezTo>
                  <a:cubicBezTo>
                    <a:pt x="422" y="486"/>
                    <a:pt x="338" y="550"/>
                    <a:pt x="182" y="550"/>
                  </a:cubicBezTo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Freeform 140">
              <a:extLst>
                <a:ext uri="{FF2B5EF4-FFF2-40B4-BE49-F238E27FC236}">
                  <a16:creationId xmlns:a16="http://schemas.microsoft.com/office/drawing/2014/main" id="{4D6FF785-C257-49F9-BD59-1E345F3C0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7240588" y="4129088"/>
              <a:ext cx="144463" cy="188912"/>
            </a:xfrm>
            <a:custGeom>
              <a:avLst/>
              <a:gdLst>
                <a:gd name="T0" fmla="*/ 290 w 427"/>
                <a:gd name="T1" fmla="*/ 550 h 550"/>
                <a:gd name="T2" fmla="*/ 0 w 427"/>
                <a:gd name="T3" fmla="*/ 265 h 550"/>
                <a:gd name="T4" fmla="*/ 284 w 427"/>
                <a:gd name="T5" fmla="*/ 0 h 550"/>
                <a:gd name="T6" fmla="*/ 421 w 427"/>
                <a:gd name="T7" fmla="*/ 12 h 550"/>
                <a:gd name="T8" fmla="*/ 421 w 427"/>
                <a:gd name="T9" fmla="*/ 91 h 550"/>
                <a:gd name="T10" fmla="*/ 318 w 427"/>
                <a:gd name="T11" fmla="*/ 80 h 550"/>
                <a:gd name="T12" fmla="*/ 107 w 427"/>
                <a:gd name="T13" fmla="*/ 267 h 550"/>
                <a:gd name="T14" fmla="*/ 319 w 427"/>
                <a:gd name="T15" fmla="*/ 471 h 550"/>
                <a:gd name="T16" fmla="*/ 427 w 427"/>
                <a:gd name="T17" fmla="*/ 460 h 550"/>
                <a:gd name="T18" fmla="*/ 427 w 427"/>
                <a:gd name="T19" fmla="*/ 537 h 550"/>
                <a:gd name="T20" fmla="*/ 290 w 427"/>
                <a:gd name="T21" fmla="*/ 55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27" h="550">
                  <a:moveTo>
                    <a:pt x="290" y="550"/>
                  </a:moveTo>
                  <a:cubicBezTo>
                    <a:pt x="119" y="550"/>
                    <a:pt x="0" y="456"/>
                    <a:pt x="0" y="265"/>
                  </a:cubicBezTo>
                  <a:cubicBezTo>
                    <a:pt x="0" y="96"/>
                    <a:pt x="126" y="0"/>
                    <a:pt x="284" y="0"/>
                  </a:cubicBezTo>
                  <a:cubicBezTo>
                    <a:pt x="339" y="0"/>
                    <a:pt x="371" y="3"/>
                    <a:pt x="421" y="12"/>
                  </a:cubicBezTo>
                  <a:cubicBezTo>
                    <a:pt x="421" y="91"/>
                    <a:pt x="421" y="91"/>
                    <a:pt x="421" y="91"/>
                  </a:cubicBezTo>
                  <a:cubicBezTo>
                    <a:pt x="379" y="84"/>
                    <a:pt x="351" y="80"/>
                    <a:pt x="318" y="80"/>
                  </a:cubicBezTo>
                  <a:cubicBezTo>
                    <a:pt x="198" y="79"/>
                    <a:pt x="107" y="131"/>
                    <a:pt x="107" y="267"/>
                  </a:cubicBezTo>
                  <a:cubicBezTo>
                    <a:pt x="107" y="404"/>
                    <a:pt x="188" y="472"/>
                    <a:pt x="319" y="471"/>
                  </a:cubicBezTo>
                  <a:cubicBezTo>
                    <a:pt x="348" y="470"/>
                    <a:pt x="380" y="468"/>
                    <a:pt x="427" y="460"/>
                  </a:cubicBezTo>
                  <a:cubicBezTo>
                    <a:pt x="427" y="537"/>
                    <a:pt x="427" y="537"/>
                    <a:pt x="427" y="537"/>
                  </a:cubicBezTo>
                  <a:cubicBezTo>
                    <a:pt x="375" y="547"/>
                    <a:pt x="333" y="550"/>
                    <a:pt x="290" y="550"/>
                  </a:cubicBezTo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" name="Freeform 141">
              <a:extLst>
                <a:ext uri="{FF2B5EF4-FFF2-40B4-BE49-F238E27FC236}">
                  <a16:creationId xmlns:a16="http://schemas.microsoft.com/office/drawing/2014/main" id="{B72D1D38-A585-491C-9083-AEF0CFAD09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96163" y="4129088"/>
              <a:ext cx="157163" cy="188912"/>
            </a:xfrm>
            <a:custGeom>
              <a:avLst/>
              <a:gdLst>
                <a:gd name="T0" fmla="*/ 232 w 463"/>
                <a:gd name="T1" fmla="*/ 550 h 550"/>
                <a:gd name="T2" fmla="*/ 0 w 463"/>
                <a:gd name="T3" fmla="*/ 377 h 550"/>
                <a:gd name="T4" fmla="*/ 277 w 463"/>
                <a:gd name="T5" fmla="*/ 212 h 550"/>
                <a:gd name="T6" fmla="*/ 363 w 463"/>
                <a:gd name="T7" fmla="*/ 215 h 550"/>
                <a:gd name="T8" fmla="*/ 211 w 463"/>
                <a:gd name="T9" fmla="*/ 77 h 550"/>
                <a:gd name="T10" fmla="*/ 36 w 463"/>
                <a:gd name="T11" fmla="*/ 98 h 550"/>
                <a:gd name="T12" fmla="*/ 36 w 463"/>
                <a:gd name="T13" fmla="*/ 19 h 550"/>
                <a:gd name="T14" fmla="*/ 222 w 463"/>
                <a:gd name="T15" fmla="*/ 0 h 550"/>
                <a:gd name="T16" fmla="*/ 463 w 463"/>
                <a:gd name="T17" fmla="*/ 175 h 550"/>
                <a:gd name="T18" fmla="*/ 463 w 463"/>
                <a:gd name="T19" fmla="*/ 538 h 550"/>
                <a:gd name="T20" fmla="*/ 232 w 463"/>
                <a:gd name="T21" fmla="*/ 550 h 550"/>
                <a:gd name="T22" fmla="*/ 364 w 463"/>
                <a:gd name="T23" fmla="*/ 290 h 550"/>
                <a:gd name="T24" fmla="*/ 274 w 463"/>
                <a:gd name="T25" fmla="*/ 287 h 550"/>
                <a:gd name="T26" fmla="*/ 104 w 463"/>
                <a:gd name="T27" fmla="*/ 380 h 550"/>
                <a:gd name="T28" fmla="*/ 265 w 463"/>
                <a:gd name="T29" fmla="*/ 478 h 550"/>
                <a:gd name="T30" fmla="*/ 364 w 463"/>
                <a:gd name="T31" fmla="*/ 473 h 550"/>
                <a:gd name="T32" fmla="*/ 364 w 463"/>
                <a:gd name="T33" fmla="*/ 29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3" h="550">
                  <a:moveTo>
                    <a:pt x="232" y="550"/>
                  </a:moveTo>
                  <a:cubicBezTo>
                    <a:pt x="95" y="550"/>
                    <a:pt x="0" y="520"/>
                    <a:pt x="0" y="377"/>
                  </a:cubicBezTo>
                  <a:cubicBezTo>
                    <a:pt x="0" y="213"/>
                    <a:pt x="167" y="212"/>
                    <a:pt x="277" y="212"/>
                  </a:cubicBezTo>
                  <a:cubicBezTo>
                    <a:pt x="300" y="212"/>
                    <a:pt x="328" y="215"/>
                    <a:pt x="363" y="215"/>
                  </a:cubicBezTo>
                  <a:cubicBezTo>
                    <a:pt x="363" y="104"/>
                    <a:pt x="358" y="77"/>
                    <a:pt x="211" y="77"/>
                  </a:cubicBezTo>
                  <a:cubicBezTo>
                    <a:pt x="155" y="77"/>
                    <a:pt x="92" y="88"/>
                    <a:pt x="36" y="98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100" y="6"/>
                    <a:pt x="162" y="0"/>
                    <a:pt x="222" y="0"/>
                  </a:cubicBezTo>
                  <a:cubicBezTo>
                    <a:pt x="369" y="0"/>
                    <a:pt x="463" y="20"/>
                    <a:pt x="463" y="175"/>
                  </a:cubicBezTo>
                  <a:cubicBezTo>
                    <a:pt x="463" y="538"/>
                    <a:pt x="463" y="538"/>
                    <a:pt x="463" y="538"/>
                  </a:cubicBezTo>
                  <a:cubicBezTo>
                    <a:pt x="374" y="548"/>
                    <a:pt x="304" y="550"/>
                    <a:pt x="232" y="550"/>
                  </a:cubicBezTo>
                  <a:moveTo>
                    <a:pt x="364" y="290"/>
                  </a:moveTo>
                  <a:cubicBezTo>
                    <a:pt x="321" y="289"/>
                    <a:pt x="289" y="287"/>
                    <a:pt x="274" y="287"/>
                  </a:cubicBezTo>
                  <a:cubicBezTo>
                    <a:pt x="169" y="287"/>
                    <a:pt x="104" y="303"/>
                    <a:pt x="104" y="380"/>
                  </a:cubicBezTo>
                  <a:cubicBezTo>
                    <a:pt x="104" y="469"/>
                    <a:pt x="185" y="478"/>
                    <a:pt x="265" y="478"/>
                  </a:cubicBezTo>
                  <a:cubicBezTo>
                    <a:pt x="292" y="478"/>
                    <a:pt x="313" y="476"/>
                    <a:pt x="364" y="473"/>
                  </a:cubicBezTo>
                  <a:lnTo>
                    <a:pt x="364" y="290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Freeform 142">
              <a:extLst>
                <a:ext uri="{FF2B5EF4-FFF2-40B4-BE49-F238E27FC236}">
                  <a16:creationId xmlns:a16="http://schemas.microsoft.com/office/drawing/2014/main" id="{0D89285A-32B3-41B5-B9BE-A44826FDFB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78725" y="4129088"/>
              <a:ext cx="158750" cy="184150"/>
            </a:xfrm>
            <a:custGeom>
              <a:avLst/>
              <a:gdLst>
                <a:gd name="T0" fmla="*/ 363 w 465"/>
                <a:gd name="T1" fmla="*/ 539 h 539"/>
                <a:gd name="T2" fmla="*/ 363 w 465"/>
                <a:gd name="T3" fmla="*/ 202 h 539"/>
                <a:gd name="T4" fmla="*/ 271 w 465"/>
                <a:gd name="T5" fmla="*/ 85 h 539"/>
                <a:gd name="T6" fmla="*/ 99 w 465"/>
                <a:gd name="T7" fmla="*/ 133 h 539"/>
                <a:gd name="T8" fmla="*/ 99 w 465"/>
                <a:gd name="T9" fmla="*/ 539 h 539"/>
                <a:gd name="T10" fmla="*/ 0 w 465"/>
                <a:gd name="T11" fmla="*/ 539 h 539"/>
                <a:gd name="T12" fmla="*/ 0 w 465"/>
                <a:gd name="T13" fmla="*/ 10 h 539"/>
                <a:gd name="T14" fmla="*/ 92 w 465"/>
                <a:gd name="T15" fmla="*/ 10 h 539"/>
                <a:gd name="T16" fmla="*/ 92 w 465"/>
                <a:gd name="T17" fmla="*/ 59 h 539"/>
                <a:gd name="T18" fmla="*/ 306 w 465"/>
                <a:gd name="T19" fmla="*/ 0 h 539"/>
                <a:gd name="T20" fmla="*/ 465 w 465"/>
                <a:gd name="T21" fmla="*/ 161 h 539"/>
                <a:gd name="T22" fmla="*/ 465 w 465"/>
                <a:gd name="T23" fmla="*/ 539 h 539"/>
                <a:gd name="T24" fmla="*/ 363 w 465"/>
                <a:gd name="T25" fmla="*/ 539 h 5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5" h="539">
                  <a:moveTo>
                    <a:pt x="363" y="539"/>
                  </a:moveTo>
                  <a:cubicBezTo>
                    <a:pt x="363" y="202"/>
                    <a:pt x="363" y="202"/>
                    <a:pt x="363" y="202"/>
                  </a:cubicBezTo>
                  <a:cubicBezTo>
                    <a:pt x="363" y="146"/>
                    <a:pt x="362" y="85"/>
                    <a:pt x="271" y="85"/>
                  </a:cubicBezTo>
                  <a:cubicBezTo>
                    <a:pt x="220" y="85"/>
                    <a:pt x="145" y="114"/>
                    <a:pt x="99" y="133"/>
                  </a:cubicBezTo>
                  <a:cubicBezTo>
                    <a:pt x="99" y="539"/>
                    <a:pt x="99" y="539"/>
                    <a:pt x="99" y="539"/>
                  </a:cubicBezTo>
                  <a:cubicBezTo>
                    <a:pt x="0" y="539"/>
                    <a:pt x="0" y="539"/>
                    <a:pt x="0" y="53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92" y="10"/>
                    <a:pt x="92" y="10"/>
                    <a:pt x="92" y="10"/>
                  </a:cubicBezTo>
                  <a:cubicBezTo>
                    <a:pt x="92" y="59"/>
                    <a:pt x="92" y="59"/>
                    <a:pt x="92" y="59"/>
                  </a:cubicBezTo>
                  <a:cubicBezTo>
                    <a:pt x="197" y="12"/>
                    <a:pt x="233" y="0"/>
                    <a:pt x="306" y="0"/>
                  </a:cubicBezTo>
                  <a:cubicBezTo>
                    <a:pt x="381" y="0"/>
                    <a:pt x="465" y="44"/>
                    <a:pt x="465" y="161"/>
                  </a:cubicBezTo>
                  <a:cubicBezTo>
                    <a:pt x="465" y="539"/>
                    <a:pt x="465" y="539"/>
                    <a:pt x="465" y="539"/>
                  </a:cubicBezTo>
                  <a:lnTo>
                    <a:pt x="363" y="539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Freeform 143">
              <a:extLst>
                <a:ext uri="{FF2B5EF4-FFF2-40B4-BE49-F238E27FC236}">
                  <a16:creationId xmlns:a16="http://schemas.microsoft.com/office/drawing/2014/main" id="{22104811-D8ED-4601-9590-F9A4409EC0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56525" y="4059238"/>
              <a:ext cx="165100" cy="258762"/>
            </a:xfrm>
            <a:custGeom>
              <a:avLst/>
              <a:gdLst>
                <a:gd name="T0" fmla="*/ 484 w 485"/>
                <a:gd name="T1" fmla="*/ 738 h 756"/>
                <a:gd name="T2" fmla="*/ 291 w 485"/>
                <a:gd name="T3" fmla="*/ 756 h 756"/>
                <a:gd name="T4" fmla="*/ 0 w 485"/>
                <a:gd name="T5" fmla="*/ 485 h 756"/>
                <a:gd name="T6" fmla="*/ 268 w 485"/>
                <a:gd name="T7" fmla="*/ 202 h 756"/>
                <a:gd name="T8" fmla="*/ 383 w 485"/>
                <a:gd name="T9" fmla="*/ 209 h 756"/>
                <a:gd name="T10" fmla="*/ 383 w 485"/>
                <a:gd name="T11" fmla="*/ 0 h 756"/>
                <a:gd name="T12" fmla="*/ 484 w 485"/>
                <a:gd name="T13" fmla="*/ 0 h 756"/>
                <a:gd name="T14" fmla="*/ 484 w 485"/>
                <a:gd name="T15" fmla="*/ 738 h 756"/>
                <a:gd name="T16" fmla="*/ 383 w 485"/>
                <a:gd name="T17" fmla="*/ 289 h 756"/>
                <a:gd name="T18" fmla="*/ 290 w 485"/>
                <a:gd name="T19" fmla="*/ 280 h 756"/>
                <a:gd name="T20" fmla="*/ 107 w 485"/>
                <a:gd name="T21" fmla="*/ 482 h 756"/>
                <a:gd name="T22" fmla="*/ 295 w 485"/>
                <a:gd name="T23" fmla="*/ 680 h 756"/>
                <a:gd name="T24" fmla="*/ 383 w 485"/>
                <a:gd name="T25" fmla="*/ 675 h 756"/>
                <a:gd name="T26" fmla="*/ 383 w 485"/>
                <a:gd name="T27" fmla="*/ 289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5" h="756">
                  <a:moveTo>
                    <a:pt x="484" y="738"/>
                  </a:moveTo>
                  <a:cubicBezTo>
                    <a:pt x="484" y="738"/>
                    <a:pt x="352" y="756"/>
                    <a:pt x="291" y="756"/>
                  </a:cubicBezTo>
                  <a:cubicBezTo>
                    <a:pt x="124" y="756"/>
                    <a:pt x="0" y="663"/>
                    <a:pt x="0" y="485"/>
                  </a:cubicBezTo>
                  <a:cubicBezTo>
                    <a:pt x="0" y="316"/>
                    <a:pt x="95" y="202"/>
                    <a:pt x="268" y="202"/>
                  </a:cubicBezTo>
                  <a:cubicBezTo>
                    <a:pt x="289" y="202"/>
                    <a:pt x="326" y="201"/>
                    <a:pt x="383" y="209"/>
                  </a:cubicBezTo>
                  <a:cubicBezTo>
                    <a:pt x="383" y="0"/>
                    <a:pt x="383" y="0"/>
                    <a:pt x="383" y="0"/>
                  </a:cubicBezTo>
                  <a:cubicBezTo>
                    <a:pt x="484" y="0"/>
                    <a:pt x="484" y="0"/>
                    <a:pt x="484" y="0"/>
                  </a:cubicBezTo>
                  <a:cubicBezTo>
                    <a:pt x="484" y="0"/>
                    <a:pt x="485" y="620"/>
                    <a:pt x="484" y="738"/>
                  </a:cubicBezTo>
                  <a:moveTo>
                    <a:pt x="383" y="289"/>
                  </a:moveTo>
                  <a:cubicBezTo>
                    <a:pt x="341" y="282"/>
                    <a:pt x="313" y="280"/>
                    <a:pt x="290" y="280"/>
                  </a:cubicBezTo>
                  <a:cubicBezTo>
                    <a:pt x="172" y="280"/>
                    <a:pt x="107" y="344"/>
                    <a:pt x="107" y="482"/>
                  </a:cubicBezTo>
                  <a:cubicBezTo>
                    <a:pt x="107" y="599"/>
                    <a:pt x="175" y="680"/>
                    <a:pt x="295" y="680"/>
                  </a:cubicBezTo>
                  <a:cubicBezTo>
                    <a:pt x="315" y="680"/>
                    <a:pt x="340" y="679"/>
                    <a:pt x="383" y="675"/>
                  </a:cubicBezTo>
                  <a:lnTo>
                    <a:pt x="383" y="289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" name="Freeform 144">
              <a:extLst>
                <a:ext uri="{FF2B5EF4-FFF2-40B4-BE49-F238E27FC236}">
                  <a16:creationId xmlns:a16="http://schemas.microsoft.com/office/drawing/2014/main" id="{5A4FEFF2-3C0B-4DDB-A968-95AC002A02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23225" y="4059238"/>
              <a:ext cx="163513" cy="258762"/>
            </a:xfrm>
            <a:custGeom>
              <a:avLst/>
              <a:gdLst>
                <a:gd name="T0" fmla="*/ 189 w 481"/>
                <a:gd name="T1" fmla="*/ 756 h 756"/>
                <a:gd name="T2" fmla="*/ 0 w 481"/>
                <a:gd name="T3" fmla="*/ 739 h 756"/>
                <a:gd name="T4" fmla="*/ 0 w 481"/>
                <a:gd name="T5" fmla="*/ 0 h 756"/>
                <a:gd name="T6" fmla="*/ 101 w 481"/>
                <a:gd name="T7" fmla="*/ 0 h 756"/>
                <a:gd name="T8" fmla="*/ 101 w 481"/>
                <a:gd name="T9" fmla="*/ 211 h 756"/>
                <a:gd name="T10" fmla="*/ 218 w 481"/>
                <a:gd name="T11" fmla="*/ 203 h 756"/>
                <a:gd name="T12" fmla="*/ 481 w 481"/>
                <a:gd name="T13" fmla="*/ 482 h 756"/>
                <a:gd name="T14" fmla="*/ 189 w 481"/>
                <a:gd name="T15" fmla="*/ 756 h 756"/>
                <a:gd name="T16" fmla="*/ 191 w 481"/>
                <a:gd name="T17" fmla="*/ 280 h 756"/>
                <a:gd name="T18" fmla="*/ 100 w 481"/>
                <a:gd name="T19" fmla="*/ 287 h 756"/>
                <a:gd name="T20" fmla="*/ 100 w 481"/>
                <a:gd name="T21" fmla="*/ 674 h 756"/>
                <a:gd name="T22" fmla="*/ 189 w 481"/>
                <a:gd name="T23" fmla="*/ 680 h 756"/>
                <a:gd name="T24" fmla="*/ 374 w 481"/>
                <a:gd name="T25" fmla="*/ 481 h 756"/>
                <a:gd name="T26" fmla="*/ 191 w 481"/>
                <a:gd name="T27" fmla="*/ 280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1" h="756">
                  <a:moveTo>
                    <a:pt x="189" y="756"/>
                  </a:moveTo>
                  <a:cubicBezTo>
                    <a:pt x="147" y="756"/>
                    <a:pt x="0" y="739"/>
                    <a:pt x="0" y="7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1" y="211"/>
                    <a:pt x="101" y="211"/>
                    <a:pt x="101" y="211"/>
                  </a:cubicBezTo>
                  <a:cubicBezTo>
                    <a:pt x="163" y="203"/>
                    <a:pt x="203" y="203"/>
                    <a:pt x="218" y="203"/>
                  </a:cubicBezTo>
                  <a:cubicBezTo>
                    <a:pt x="379" y="203"/>
                    <a:pt x="481" y="305"/>
                    <a:pt x="481" y="482"/>
                  </a:cubicBezTo>
                  <a:cubicBezTo>
                    <a:pt x="481" y="657"/>
                    <a:pt x="356" y="756"/>
                    <a:pt x="189" y="756"/>
                  </a:cubicBezTo>
                  <a:moveTo>
                    <a:pt x="191" y="280"/>
                  </a:moveTo>
                  <a:cubicBezTo>
                    <a:pt x="169" y="280"/>
                    <a:pt x="137" y="282"/>
                    <a:pt x="100" y="287"/>
                  </a:cubicBezTo>
                  <a:cubicBezTo>
                    <a:pt x="100" y="674"/>
                    <a:pt x="100" y="674"/>
                    <a:pt x="100" y="674"/>
                  </a:cubicBezTo>
                  <a:cubicBezTo>
                    <a:pt x="143" y="680"/>
                    <a:pt x="171" y="680"/>
                    <a:pt x="189" y="680"/>
                  </a:cubicBezTo>
                  <a:cubicBezTo>
                    <a:pt x="312" y="680"/>
                    <a:pt x="374" y="602"/>
                    <a:pt x="374" y="481"/>
                  </a:cubicBezTo>
                  <a:cubicBezTo>
                    <a:pt x="374" y="351"/>
                    <a:pt x="317" y="280"/>
                    <a:pt x="191" y="280"/>
                  </a:cubicBezTo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Freeform 145">
              <a:extLst>
                <a:ext uri="{FF2B5EF4-FFF2-40B4-BE49-F238E27FC236}">
                  <a16:creationId xmlns:a16="http://schemas.microsoft.com/office/drawing/2014/main" id="{2CB6439C-E89D-4100-93CF-64BA0FB0B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7213" y="4133850"/>
              <a:ext cx="180975" cy="223837"/>
            </a:xfrm>
            <a:custGeom>
              <a:avLst/>
              <a:gdLst>
                <a:gd name="T0" fmla="*/ 114 w 114"/>
                <a:gd name="T1" fmla="*/ 0 h 141"/>
                <a:gd name="T2" fmla="*/ 90 w 114"/>
                <a:gd name="T3" fmla="*/ 0 h 141"/>
                <a:gd name="T4" fmla="*/ 58 w 114"/>
                <a:gd name="T5" fmla="*/ 96 h 141"/>
                <a:gd name="T6" fmla="*/ 24 w 114"/>
                <a:gd name="T7" fmla="*/ 0 h 141"/>
                <a:gd name="T8" fmla="*/ 0 w 114"/>
                <a:gd name="T9" fmla="*/ 0 h 141"/>
                <a:gd name="T10" fmla="*/ 42 w 114"/>
                <a:gd name="T11" fmla="*/ 113 h 141"/>
                <a:gd name="T12" fmla="*/ 51 w 114"/>
                <a:gd name="T13" fmla="*/ 113 h 141"/>
                <a:gd name="T14" fmla="*/ 40 w 114"/>
                <a:gd name="T15" fmla="*/ 141 h 141"/>
                <a:gd name="T16" fmla="*/ 62 w 114"/>
                <a:gd name="T17" fmla="*/ 141 h 141"/>
                <a:gd name="T18" fmla="*/ 114 w 114"/>
                <a:gd name="T1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41">
                  <a:moveTo>
                    <a:pt x="114" y="0"/>
                  </a:moveTo>
                  <a:lnTo>
                    <a:pt x="90" y="0"/>
                  </a:lnTo>
                  <a:lnTo>
                    <a:pt x="58" y="96"/>
                  </a:lnTo>
                  <a:lnTo>
                    <a:pt x="24" y="0"/>
                  </a:lnTo>
                  <a:lnTo>
                    <a:pt x="0" y="0"/>
                  </a:lnTo>
                  <a:lnTo>
                    <a:pt x="42" y="113"/>
                  </a:lnTo>
                  <a:lnTo>
                    <a:pt x="51" y="113"/>
                  </a:lnTo>
                  <a:lnTo>
                    <a:pt x="40" y="141"/>
                  </a:lnTo>
                  <a:lnTo>
                    <a:pt x="62" y="141"/>
                  </a:lnTo>
                  <a:lnTo>
                    <a:pt x="114" y="0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" name="Freeform 146">
              <a:extLst>
                <a:ext uri="{FF2B5EF4-FFF2-40B4-BE49-F238E27FC236}">
                  <a16:creationId xmlns:a16="http://schemas.microsoft.com/office/drawing/2014/main" id="{57453506-D642-4203-A03E-5B13D94BFD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56600" y="4127500"/>
              <a:ext cx="177800" cy="230187"/>
            </a:xfrm>
            <a:custGeom>
              <a:avLst/>
              <a:gdLst>
                <a:gd name="T0" fmla="*/ 508 w 519"/>
                <a:gd name="T1" fmla="*/ 600 h 673"/>
                <a:gd name="T2" fmla="*/ 163 w 519"/>
                <a:gd name="T3" fmla="*/ 473 h 673"/>
                <a:gd name="T4" fmla="*/ 111 w 519"/>
                <a:gd name="T5" fmla="*/ 442 h 673"/>
                <a:gd name="T6" fmla="*/ 166 w 519"/>
                <a:gd name="T7" fmla="*/ 373 h 673"/>
                <a:gd name="T8" fmla="*/ 221 w 519"/>
                <a:gd name="T9" fmla="*/ 378 h 673"/>
                <a:gd name="T10" fmla="*/ 449 w 519"/>
                <a:gd name="T11" fmla="*/ 192 h 673"/>
                <a:gd name="T12" fmla="*/ 403 w 519"/>
                <a:gd name="T13" fmla="*/ 77 h 673"/>
                <a:gd name="T14" fmla="*/ 519 w 519"/>
                <a:gd name="T15" fmla="*/ 84 h 673"/>
                <a:gd name="T16" fmla="*/ 519 w 519"/>
                <a:gd name="T17" fmla="*/ 0 h 673"/>
                <a:gd name="T18" fmla="*/ 296 w 519"/>
                <a:gd name="T19" fmla="*/ 13 h 673"/>
                <a:gd name="T20" fmla="*/ 222 w 519"/>
                <a:gd name="T21" fmla="*/ 7 h 673"/>
                <a:gd name="T22" fmla="*/ 0 w 519"/>
                <a:gd name="T23" fmla="*/ 193 h 673"/>
                <a:gd name="T24" fmla="*/ 85 w 519"/>
                <a:gd name="T25" fmla="*/ 342 h 673"/>
                <a:gd name="T26" fmla="*/ 10 w 519"/>
                <a:gd name="T27" fmla="*/ 462 h 673"/>
                <a:gd name="T28" fmla="*/ 217 w 519"/>
                <a:gd name="T29" fmla="*/ 564 h 673"/>
                <a:gd name="T30" fmla="*/ 289 w 519"/>
                <a:gd name="T31" fmla="*/ 564 h 673"/>
                <a:gd name="T32" fmla="*/ 401 w 519"/>
                <a:gd name="T33" fmla="*/ 615 h 673"/>
                <a:gd name="T34" fmla="*/ 345 w 519"/>
                <a:gd name="T35" fmla="*/ 673 h 673"/>
                <a:gd name="T36" fmla="*/ 489 w 519"/>
                <a:gd name="T37" fmla="*/ 673 h 673"/>
                <a:gd name="T38" fmla="*/ 508 w 519"/>
                <a:gd name="T39" fmla="*/ 600 h 673"/>
                <a:gd name="T40" fmla="*/ 222 w 519"/>
                <a:gd name="T41" fmla="*/ 79 h 673"/>
                <a:gd name="T42" fmla="*/ 344 w 519"/>
                <a:gd name="T43" fmla="*/ 188 h 673"/>
                <a:gd name="T44" fmla="*/ 222 w 519"/>
                <a:gd name="T45" fmla="*/ 304 h 673"/>
                <a:gd name="T46" fmla="*/ 105 w 519"/>
                <a:gd name="T47" fmla="*/ 188 h 673"/>
                <a:gd name="T48" fmla="*/ 222 w 519"/>
                <a:gd name="T49" fmla="*/ 79 h 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19" h="673">
                  <a:moveTo>
                    <a:pt x="508" y="600"/>
                  </a:moveTo>
                  <a:cubicBezTo>
                    <a:pt x="508" y="436"/>
                    <a:pt x="266" y="484"/>
                    <a:pt x="163" y="473"/>
                  </a:cubicBezTo>
                  <a:cubicBezTo>
                    <a:pt x="125" y="468"/>
                    <a:pt x="111" y="458"/>
                    <a:pt x="111" y="442"/>
                  </a:cubicBezTo>
                  <a:cubicBezTo>
                    <a:pt x="111" y="413"/>
                    <a:pt x="143" y="388"/>
                    <a:pt x="166" y="373"/>
                  </a:cubicBezTo>
                  <a:cubicBezTo>
                    <a:pt x="184" y="376"/>
                    <a:pt x="203" y="378"/>
                    <a:pt x="221" y="378"/>
                  </a:cubicBezTo>
                  <a:cubicBezTo>
                    <a:pt x="404" y="378"/>
                    <a:pt x="449" y="272"/>
                    <a:pt x="449" y="192"/>
                  </a:cubicBezTo>
                  <a:cubicBezTo>
                    <a:pt x="449" y="142"/>
                    <a:pt x="430" y="103"/>
                    <a:pt x="403" y="77"/>
                  </a:cubicBezTo>
                  <a:cubicBezTo>
                    <a:pt x="441" y="80"/>
                    <a:pt x="497" y="84"/>
                    <a:pt x="519" y="84"/>
                  </a:cubicBezTo>
                  <a:cubicBezTo>
                    <a:pt x="519" y="0"/>
                    <a:pt x="519" y="0"/>
                    <a:pt x="519" y="0"/>
                  </a:cubicBezTo>
                  <a:cubicBezTo>
                    <a:pt x="296" y="13"/>
                    <a:pt x="296" y="13"/>
                    <a:pt x="296" y="13"/>
                  </a:cubicBezTo>
                  <a:cubicBezTo>
                    <a:pt x="276" y="10"/>
                    <a:pt x="254" y="7"/>
                    <a:pt x="222" y="7"/>
                  </a:cubicBezTo>
                  <a:cubicBezTo>
                    <a:pt x="95" y="7"/>
                    <a:pt x="0" y="69"/>
                    <a:pt x="0" y="193"/>
                  </a:cubicBezTo>
                  <a:cubicBezTo>
                    <a:pt x="0" y="282"/>
                    <a:pt x="49" y="322"/>
                    <a:pt x="85" y="342"/>
                  </a:cubicBezTo>
                  <a:cubicBezTo>
                    <a:pt x="36" y="377"/>
                    <a:pt x="10" y="412"/>
                    <a:pt x="10" y="462"/>
                  </a:cubicBezTo>
                  <a:cubicBezTo>
                    <a:pt x="10" y="556"/>
                    <a:pt x="113" y="565"/>
                    <a:pt x="217" y="564"/>
                  </a:cubicBezTo>
                  <a:cubicBezTo>
                    <a:pt x="289" y="564"/>
                    <a:pt x="289" y="564"/>
                    <a:pt x="289" y="564"/>
                  </a:cubicBezTo>
                  <a:cubicBezTo>
                    <a:pt x="324" y="565"/>
                    <a:pt x="401" y="564"/>
                    <a:pt x="401" y="615"/>
                  </a:cubicBezTo>
                  <a:cubicBezTo>
                    <a:pt x="401" y="638"/>
                    <a:pt x="380" y="658"/>
                    <a:pt x="345" y="673"/>
                  </a:cubicBezTo>
                  <a:cubicBezTo>
                    <a:pt x="489" y="673"/>
                    <a:pt x="489" y="673"/>
                    <a:pt x="489" y="673"/>
                  </a:cubicBezTo>
                  <a:cubicBezTo>
                    <a:pt x="501" y="652"/>
                    <a:pt x="508" y="628"/>
                    <a:pt x="508" y="600"/>
                  </a:cubicBezTo>
                  <a:moveTo>
                    <a:pt x="222" y="79"/>
                  </a:moveTo>
                  <a:cubicBezTo>
                    <a:pt x="296" y="79"/>
                    <a:pt x="344" y="118"/>
                    <a:pt x="344" y="188"/>
                  </a:cubicBezTo>
                  <a:cubicBezTo>
                    <a:pt x="344" y="270"/>
                    <a:pt x="303" y="304"/>
                    <a:pt x="222" y="304"/>
                  </a:cubicBezTo>
                  <a:cubicBezTo>
                    <a:pt x="154" y="304"/>
                    <a:pt x="105" y="269"/>
                    <a:pt x="105" y="188"/>
                  </a:cubicBezTo>
                  <a:cubicBezTo>
                    <a:pt x="105" y="121"/>
                    <a:pt x="148" y="79"/>
                    <a:pt x="222" y="79"/>
                  </a:cubicBezTo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" name="Rectangle 147">
              <a:extLst>
                <a:ext uri="{FF2B5EF4-FFF2-40B4-BE49-F238E27FC236}">
                  <a16:creationId xmlns:a16="http://schemas.microsoft.com/office/drawing/2014/main" id="{28110797-33C3-46BA-9ADA-E6924CC4CD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54963" y="4133850"/>
              <a:ext cx="34925" cy="179387"/>
            </a:xfrm>
            <a:prstGeom prst="rect">
              <a:avLst/>
            </a:pr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Freeform 148">
              <a:extLst>
                <a:ext uri="{FF2B5EF4-FFF2-40B4-BE49-F238E27FC236}">
                  <a16:creationId xmlns:a16="http://schemas.microsoft.com/office/drawing/2014/main" id="{464664F8-75C4-4AFA-BA06-18FEB4D2A0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54963" y="4059238"/>
              <a:ext cx="34925" cy="33337"/>
            </a:xfrm>
            <a:custGeom>
              <a:avLst/>
              <a:gdLst>
                <a:gd name="T0" fmla="*/ 22 w 22"/>
                <a:gd name="T1" fmla="*/ 21 h 21"/>
                <a:gd name="T2" fmla="*/ 0 w 22"/>
                <a:gd name="T3" fmla="*/ 21 h 21"/>
                <a:gd name="T4" fmla="*/ 0 w 22"/>
                <a:gd name="T5" fmla="*/ 0 h 21"/>
                <a:gd name="T6" fmla="*/ 22 w 22"/>
                <a:gd name="T7" fmla="*/ 0 h 21"/>
                <a:gd name="T8" fmla="*/ 22 w 22"/>
                <a:gd name="T9" fmla="*/ 21 h 21"/>
                <a:gd name="T10" fmla="*/ 4 w 22"/>
                <a:gd name="T11" fmla="*/ 18 h 21"/>
                <a:gd name="T12" fmla="*/ 19 w 22"/>
                <a:gd name="T13" fmla="*/ 18 h 21"/>
                <a:gd name="T14" fmla="*/ 19 w 22"/>
                <a:gd name="T15" fmla="*/ 4 h 21"/>
                <a:gd name="T16" fmla="*/ 4 w 22"/>
                <a:gd name="T17" fmla="*/ 4 h 21"/>
                <a:gd name="T18" fmla="*/ 4 w 22"/>
                <a:gd name="T19" fmla="*/ 1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21">
                  <a:moveTo>
                    <a:pt x="22" y="21"/>
                  </a:moveTo>
                  <a:lnTo>
                    <a:pt x="0" y="21"/>
                  </a:lnTo>
                  <a:lnTo>
                    <a:pt x="0" y="0"/>
                  </a:lnTo>
                  <a:lnTo>
                    <a:pt x="22" y="0"/>
                  </a:lnTo>
                  <a:lnTo>
                    <a:pt x="22" y="21"/>
                  </a:lnTo>
                  <a:close/>
                  <a:moveTo>
                    <a:pt x="4" y="18"/>
                  </a:moveTo>
                  <a:lnTo>
                    <a:pt x="19" y="18"/>
                  </a:lnTo>
                  <a:lnTo>
                    <a:pt x="19" y="4"/>
                  </a:lnTo>
                  <a:lnTo>
                    <a:pt x="4" y="4"/>
                  </a:lnTo>
                  <a:lnTo>
                    <a:pt x="4" y="18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" name="Freeform 149">
              <a:extLst>
                <a:ext uri="{FF2B5EF4-FFF2-40B4-BE49-F238E27FC236}">
                  <a16:creationId xmlns:a16="http://schemas.microsoft.com/office/drawing/2014/main" id="{09EE75D1-46DB-4BC0-926F-B37E16B38A0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45363" y="4416425"/>
              <a:ext cx="41275" cy="60325"/>
            </a:xfrm>
            <a:custGeom>
              <a:avLst/>
              <a:gdLst>
                <a:gd name="T0" fmla="*/ 0 w 26"/>
                <a:gd name="T1" fmla="*/ 5 h 38"/>
                <a:gd name="T2" fmla="*/ 10 w 26"/>
                <a:gd name="T3" fmla="*/ 5 h 38"/>
                <a:gd name="T4" fmla="*/ 10 w 26"/>
                <a:gd name="T5" fmla="*/ 38 h 38"/>
                <a:gd name="T6" fmla="*/ 16 w 26"/>
                <a:gd name="T7" fmla="*/ 38 h 38"/>
                <a:gd name="T8" fmla="*/ 16 w 26"/>
                <a:gd name="T9" fmla="*/ 5 h 38"/>
                <a:gd name="T10" fmla="*/ 26 w 26"/>
                <a:gd name="T11" fmla="*/ 5 h 38"/>
                <a:gd name="T12" fmla="*/ 26 w 26"/>
                <a:gd name="T13" fmla="*/ 0 h 38"/>
                <a:gd name="T14" fmla="*/ 0 w 26"/>
                <a:gd name="T15" fmla="*/ 0 h 38"/>
                <a:gd name="T16" fmla="*/ 0 w 26"/>
                <a:gd name="T17" fmla="*/ 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38">
                  <a:moveTo>
                    <a:pt x="0" y="5"/>
                  </a:moveTo>
                  <a:lnTo>
                    <a:pt x="10" y="5"/>
                  </a:lnTo>
                  <a:lnTo>
                    <a:pt x="10" y="38"/>
                  </a:lnTo>
                  <a:lnTo>
                    <a:pt x="16" y="38"/>
                  </a:lnTo>
                  <a:lnTo>
                    <a:pt x="16" y="5"/>
                  </a:lnTo>
                  <a:lnTo>
                    <a:pt x="26" y="5"/>
                  </a:lnTo>
                  <a:lnTo>
                    <a:pt x="26" y="0"/>
                  </a:lnTo>
                  <a:lnTo>
                    <a:pt x="0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" name="Freeform 150">
              <a:extLst>
                <a:ext uri="{FF2B5EF4-FFF2-40B4-BE49-F238E27FC236}">
                  <a16:creationId xmlns:a16="http://schemas.microsoft.com/office/drawing/2014/main" id="{96D96A86-C96B-4152-8465-DAF860585E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94575" y="4416425"/>
              <a:ext cx="71438" cy="60325"/>
            </a:xfrm>
            <a:custGeom>
              <a:avLst/>
              <a:gdLst>
                <a:gd name="T0" fmla="*/ 123 w 209"/>
                <a:gd name="T1" fmla="*/ 99 h 180"/>
                <a:gd name="T2" fmla="*/ 201 w 209"/>
                <a:gd name="T3" fmla="*/ 99 h 180"/>
                <a:gd name="T4" fmla="*/ 201 w 209"/>
                <a:gd name="T5" fmla="*/ 75 h 180"/>
                <a:gd name="T6" fmla="*/ 123 w 209"/>
                <a:gd name="T7" fmla="*/ 75 h 180"/>
                <a:gd name="T8" fmla="*/ 123 w 209"/>
                <a:gd name="T9" fmla="*/ 24 h 180"/>
                <a:gd name="T10" fmla="*/ 207 w 209"/>
                <a:gd name="T11" fmla="*/ 24 h 180"/>
                <a:gd name="T12" fmla="*/ 207 w 209"/>
                <a:gd name="T13" fmla="*/ 0 h 180"/>
                <a:gd name="T14" fmla="*/ 87 w 209"/>
                <a:gd name="T15" fmla="*/ 0 h 180"/>
                <a:gd name="T16" fmla="*/ 6 w 209"/>
                <a:gd name="T17" fmla="*/ 118 h 180"/>
                <a:gd name="T18" fmla="*/ 0 w 209"/>
                <a:gd name="T19" fmla="*/ 138 h 180"/>
                <a:gd name="T20" fmla="*/ 0 w 209"/>
                <a:gd name="T21" fmla="*/ 180 h 180"/>
                <a:gd name="T22" fmla="*/ 27 w 209"/>
                <a:gd name="T23" fmla="*/ 180 h 180"/>
                <a:gd name="T24" fmla="*/ 27 w 209"/>
                <a:gd name="T25" fmla="*/ 138 h 180"/>
                <a:gd name="T26" fmla="*/ 95 w 209"/>
                <a:gd name="T27" fmla="*/ 138 h 180"/>
                <a:gd name="T28" fmla="*/ 95 w 209"/>
                <a:gd name="T29" fmla="*/ 180 h 180"/>
                <a:gd name="T30" fmla="*/ 209 w 209"/>
                <a:gd name="T31" fmla="*/ 180 h 180"/>
                <a:gd name="T32" fmla="*/ 209 w 209"/>
                <a:gd name="T33" fmla="*/ 155 h 180"/>
                <a:gd name="T34" fmla="*/ 123 w 209"/>
                <a:gd name="T35" fmla="*/ 155 h 180"/>
                <a:gd name="T36" fmla="*/ 123 w 209"/>
                <a:gd name="T37" fmla="*/ 99 h 180"/>
                <a:gd name="T38" fmla="*/ 95 w 209"/>
                <a:gd name="T39" fmla="*/ 31 h 180"/>
                <a:gd name="T40" fmla="*/ 95 w 209"/>
                <a:gd name="T41" fmla="*/ 114 h 180"/>
                <a:gd name="T42" fmla="*/ 39 w 209"/>
                <a:gd name="T43" fmla="*/ 114 h 180"/>
                <a:gd name="T44" fmla="*/ 95 w 209"/>
                <a:gd name="T45" fmla="*/ 31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9" h="180">
                  <a:moveTo>
                    <a:pt x="123" y="99"/>
                  </a:moveTo>
                  <a:cubicBezTo>
                    <a:pt x="201" y="99"/>
                    <a:pt x="201" y="99"/>
                    <a:pt x="201" y="99"/>
                  </a:cubicBezTo>
                  <a:cubicBezTo>
                    <a:pt x="201" y="75"/>
                    <a:pt x="201" y="75"/>
                    <a:pt x="201" y="75"/>
                  </a:cubicBezTo>
                  <a:cubicBezTo>
                    <a:pt x="123" y="75"/>
                    <a:pt x="123" y="75"/>
                    <a:pt x="123" y="75"/>
                  </a:cubicBezTo>
                  <a:cubicBezTo>
                    <a:pt x="123" y="24"/>
                    <a:pt x="123" y="24"/>
                    <a:pt x="123" y="24"/>
                  </a:cubicBezTo>
                  <a:cubicBezTo>
                    <a:pt x="207" y="24"/>
                    <a:pt x="207" y="24"/>
                    <a:pt x="207" y="24"/>
                  </a:cubicBezTo>
                  <a:cubicBezTo>
                    <a:pt x="207" y="0"/>
                    <a:pt x="207" y="0"/>
                    <a:pt x="207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6" y="118"/>
                    <a:pt x="6" y="118"/>
                    <a:pt x="6" y="118"/>
                  </a:cubicBezTo>
                  <a:cubicBezTo>
                    <a:pt x="2" y="124"/>
                    <a:pt x="0" y="130"/>
                    <a:pt x="0" y="138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27" y="180"/>
                    <a:pt x="27" y="180"/>
                    <a:pt x="27" y="180"/>
                  </a:cubicBezTo>
                  <a:cubicBezTo>
                    <a:pt x="27" y="138"/>
                    <a:pt x="27" y="138"/>
                    <a:pt x="27" y="138"/>
                  </a:cubicBezTo>
                  <a:cubicBezTo>
                    <a:pt x="95" y="138"/>
                    <a:pt x="95" y="138"/>
                    <a:pt x="95" y="138"/>
                  </a:cubicBezTo>
                  <a:cubicBezTo>
                    <a:pt x="95" y="180"/>
                    <a:pt x="95" y="180"/>
                    <a:pt x="95" y="180"/>
                  </a:cubicBezTo>
                  <a:cubicBezTo>
                    <a:pt x="209" y="180"/>
                    <a:pt x="209" y="180"/>
                    <a:pt x="209" y="180"/>
                  </a:cubicBezTo>
                  <a:cubicBezTo>
                    <a:pt x="209" y="155"/>
                    <a:pt x="209" y="155"/>
                    <a:pt x="209" y="155"/>
                  </a:cubicBezTo>
                  <a:cubicBezTo>
                    <a:pt x="123" y="155"/>
                    <a:pt x="123" y="155"/>
                    <a:pt x="123" y="155"/>
                  </a:cubicBezTo>
                  <a:lnTo>
                    <a:pt x="123" y="99"/>
                  </a:lnTo>
                  <a:close/>
                  <a:moveTo>
                    <a:pt x="95" y="31"/>
                  </a:moveTo>
                  <a:cubicBezTo>
                    <a:pt x="95" y="114"/>
                    <a:pt x="95" y="114"/>
                    <a:pt x="95" y="114"/>
                  </a:cubicBezTo>
                  <a:cubicBezTo>
                    <a:pt x="39" y="114"/>
                    <a:pt x="39" y="114"/>
                    <a:pt x="39" y="114"/>
                  </a:cubicBezTo>
                  <a:lnTo>
                    <a:pt x="95" y="31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Freeform 151">
              <a:extLst>
                <a:ext uri="{FF2B5EF4-FFF2-40B4-BE49-F238E27FC236}">
                  <a16:creationId xmlns:a16="http://schemas.microsoft.com/office/drawing/2014/main" id="{19C48257-FCC7-46D5-9B92-2DAA6735BC66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5063" y="4416425"/>
              <a:ext cx="41275" cy="60325"/>
            </a:xfrm>
            <a:custGeom>
              <a:avLst/>
              <a:gdLst>
                <a:gd name="T0" fmla="*/ 21 w 26"/>
                <a:gd name="T1" fmla="*/ 27 h 38"/>
                <a:gd name="T2" fmla="*/ 5 w 26"/>
                <a:gd name="T3" fmla="*/ 0 h 38"/>
                <a:gd name="T4" fmla="*/ 0 w 26"/>
                <a:gd name="T5" fmla="*/ 0 h 38"/>
                <a:gd name="T6" fmla="*/ 0 w 26"/>
                <a:gd name="T7" fmla="*/ 38 h 38"/>
                <a:gd name="T8" fmla="*/ 5 w 26"/>
                <a:gd name="T9" fmla="*/ 38 h 38"/>
                <a:gd name="T10" fmla="*/ 5 w 26"/>
                <a:gd name="T11" fmla="*/ 11 h 38"/>
                <a:gd name="T12" fmla="*/ 21 w 26"/>
                <a:gd name="T13" fmla="*/ 38 h 38"/>
                <a:gd name="T14" fmla="*/ 21 w 26"/>
                <a:gd name="T15" fmla="*/ 38 h 38"/>
                <a:gd name="T16" fmla="*/ 26 w 26"/>
                <a:gd name="T17" fmla="*/ 38 h 38"/>
                <a:gd name="T18" fmla="*/ 26 w 26"/>
                <a:gd name="T19" fmla="*/ 0 h 38"/>
                <a:gd name="T20" fmla="*/ 21 w 26"/>
                <a:gd name="T21" fmla="*/ 0 h 38"/>
                <a:gd name="T22" fmla="*/ 21 w 26"/>
                <a:gd name="T23" fmla="*/ 27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8">
                  <a:moveTo>
                    <a:pt x="21" y="27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38"/>
                  </a:lnTo>
                  <a:lnTo>
                    <a:pt x="5" y="38"/>
                  </a:lnTo>
                  <a:lnTo>
                    <a:pt x="5" y="11"/>
                  </a:lnTo>
                  <a:lnTo>
                    <a:pt x="21" y="38"/>
                  </a:lnTo>
                  <a:lnTo>
                    <a:pt x="21" y="38"/>
                  </a:lnTo>
                  <a:lnTo>
                    <a:pt x="26" y="38"/>
                  </a:lnTo>
                  <a:lnTo>
                    <a:pt x="26" y="0"/>
                  </a:lnTo>
                  <a:lnTo>
                    <a:pt x="21" y="0"/>
                  </a:lnTo>
                  <a:lnTo>
                    <a:pt x="21" y="27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" name="Freeform 152">
              <a:extLst>
                <a:ext uri="{FF2B5EF4-FFF2-40B4-BE49-F238E27FC236}">
                  <a16:creationId xmlns:a16="http://schemas.microsoft.com/office/drawing/2014/main" id="{43F92B16-4E09-499E-9CA0-0ED252C40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8563" y="4416425"/>
              <a:ext cx="42863" cy="60325"/>
            </a:xfrm>
            <a:custGeom>
              <a:avLst/>
              <a:gdLst>
                <a:gd name="T0" fmla="*/ 84 w 124"/>
                <a:gd name="T1" fmla="*/ 87 h 180"/>
                <a:gd name="T2" fmla="*/ 117 w 124"/>
                <a:gd name="T3" fmla="*/ 55 h 180"/>
                <a:gd name="T4" fmla="*/ 124 w 124"/>
                <a:gd name="T5" fmla="*/ 38 h 180"/>
                <a:gd name="T6" fmla="*/ 124 w 124"/>
                <a:gd name="T7" fmla="*/ 0 h 180"/>
                <a:gd name="T8" fmla="*/ 97 w 124"/>
                <a:gd name="T9" fmla="*/ 0 h 180"/>
                <a:gd name="T10" fmla="*/ 97 w 124"/>
                <a:gd name="T11" fmla="*/ 32 h 180"/>
                <a:gd name="T12" fmla="*/ 94 w 124"/>
                <a:gd name="T13" fmla="*/ 43 h 180"/>
                <a:gd name="T14" fmla="*/ 61 w 124"/>
                <a:gd name="T15" fmla="*/ 75 h 180"/>
                <a:gd name="T16" fmla="*/ 29 w 124"/>
                <a:gd name="T17" fmla="*/ 75 h 180"/>
                <a:gd name="T18" fmla="*/ 29 w 124"/>
                <a:gd name="T19" fmla="*/ 0 h 180"/>
                <a:gd name="T20" fmla="*/ 0 w 124"/>
                <a:gd name="T21" fmla="*/ 0 h 180"/>
                <a:gd name="T22" fmla="*/ 0 w 124"/>
                <a:gd name="T23" fmla="*/ 180 h 180"/>
                <a:gd name="T24" fmla="*/ 29 w 124"/>
                <a:gd name="T25" fmla="*/ 180 h 180"/>
                <a:gd name="T26" fmla="*/ 29 w 124"/>
                <a:gd name="T27" fmla="*/ 99 h 180"/>
                <a:gd name="T28" fmla="*/ 59 w 124"/>
                <a:gd name="T29" fmla="*/ 99 h 180"/>
                <a:gd name="T30" fmla="*/ 93 w 124"/>
                <a:gd name="T31" fmla="*/ 138 h 180"/>
                <a:gd name="T32" fmla="*/ 96 w 124"/>
                <a:gd name="T33" fmla="*/ 148 h 180"/>
                <a:gd name="T34" fmla="*/ 96 w 124"/>
                <a:gd name="T35" fmla="*/ 180 h 180"/>
                <a:gd name="T36" fmla="*/ 124 w 124"/>
                <a:gd name="T37" fmla="*/ 180 h 180"/>
                <a:gd name="T38" fmla="*/ 124 w 124"/>
                <a:gd name="T39" fmla="*/ 142 h 180"/>
                <a:gd name="T40" fmla="*/ 119 w 124"/>
                <a:gd name="T41" fmla="*/ 127 h 180"/>
                <a:gd name="T42" fmla="*/ 84 w 124"/>
                <a:gd name="T43" fmla="*/ 87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24" h="180">
                  <a:moveTo>
                    <a:pt x="84" y="87"/>
                  </a:moveTo>
                  <a:cubicBezTo>
                    <a:pt x="117" y="55"/>
                    <a:pt x="117" y="55"/>
                    <a:pt x="117" y="55"/>
                  </a:cubicBezTo>
                  <a:cubicBezTo>
                    <a:pt x="122" y="50"/>
                    <a:pt x="124" y="44"/>
                    <a:pt x="124" y="38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7" y="32"/>
                    <a:pt x="97" y="32"/>
                    <a:pt x="97" y="32"/>
                  </a:cubicBezTo>
                  <a:cubicBezTo>
                    <a:pt x="97" y="37"/>
                    <a:pt x="96" y="41"/>
                    <a:pt x="94" y="43"/>
                  </a:cubicBezTo>
                  <a:cubicBezTo>
                    <a:pt x="61" y="75"/>
                    <a:pt x="61" y="75"/>
                    <a:pt x="61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29" y="180"/>
                    <a:pt x="29" y="180"/>
                    <a:pt x="29" y="180"/>
                  </a:cubicBezTo>
                  <a:cubicBezTo>
                    <a:pt x="29" y="99"/>
                    <a:pt x="29" y="99"/>
                    <a:pt x="29" y="99"/>
                  </a:cubicBezTo>
                  <a:cubicBezTo>
                    <a:pt x="59" y="99"/>
                    <a:pt x="59" y="99"/>
                    <a:pt x="59" y="99"/>
                  </a:cubicBezTo>
                  <a:cubicBezTo>
                    <a:pt x="93" y="138"/>
                    <a:pt x="93" y="138"/>
                    <a:pt x="93" y="138"/>
                  </a:cubicBezTo>
                  <a:cubicBezTo>
                    <a:pt x="95" y="140"/>
                    <a:pt x="96" y="143"/>
                    <a:pt x="96" y="148"/>
                  </a:cubicBezTo>
                  <a:cubicBezTo>
                    <a:pt x="96" y="180"/>
                    <a:pt x="96" y="180"/>
                    <a:pt x="96" y="180"/>
                  </a:cubicBezTo>
                  <a:cubicBezTo>
                    <a:pt x="124" y="180"/>
                    <a:pt x="124" y="180"/>
                    <a:pt x="124" y="180"/>
                  </a:cubicBezTo>
                  <a:cubicBezTo>
                    <a:pt x="124" y="142"/>
                    <a:pt x="124" y="142"/>
                    <a:pt x="124" y="142"/>
                  </a:cubicBezTo>
                  <a:cubicBezTo>
                    <a:pt x="124" y="136"/>
                    <a:pt x="123" y="131"/>
                    <a:pt x="119" y="127"/>
                  </a:cubicBezTo>
                  <a:lnTo>
                    <a:pt x="84" y="87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" name="Rectangle 153">
              <a:extLst>
                <a:ext uri="{FF2B5EF4-FFF2-40B4-BE49-F238E27FC236}">
                  <a16:creationId xmlns:a16="http://schemas.microsoft.com/office/drawing/2014/main" id="{59D0504F-2BB2-429E-B49A-A1064EA6F7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40638" y="4416425"/>
              <a:ext cx="9525" cy="60325"/>
            </a:xfrm>
            <a:prstGeom prst="rect">
              <a:avLst/>
            </a:pr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" name="Freeform 154">
              <a:extLst>
                <a:ext uri="{FF2B5EF4-FFF2-40B4-BE49-F238E27FC236}">
                  <a16:creationId xmlns:a16="http://schemas.microsoft.com/office/drawing/2014/main" id="{6478D3B0-F5BD-4326-90CA-F3528F92E9A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00963" y="4416425"/>
              <a:ext cx="42863" cy="60325"/>
            </a:xfrm>
            <a:custGeom>
              <a:avLst/>
              <a:gdLst>
                <a:gd name="T0" fmla="*/ 21 w 27"/>
                <a:gd name="T1" fmla="*/ 27 h 38"/>
                <a:gd name="T2" fmla="*/ 6 w 27"/>
                <a:gd name="T3" fmla="*/ 0 h 38"/>
                <a:gd name="T4" fmla="*/ 0 w 27"/>
                <a:gd name="T5" fmla="*/ 0 h 38"/>
                <a:gd name="T6" fmla="*/ 0 w 27"/>
                <a:gd name="T7" fmla="*/ 38 h 38"/>
                <a:gd name="T8" fmla="*/ 6 w 27"/>
                <a:gd name="T9" fmla="*/ 38 h 38"/>
                <a:gd name="T10" fmla="*/ 6 w 27"/>
                <a:gd name="T11" fmla="*/ 11 h 38"/>
                <a:gd name="T12" fmla="*/ 21 w 27"/>
                <a:gd name="T13" fmla="*/ 38 h 38"/>
                <a:gd name="T14" fmla="*/ 21 w 27"/>
                <a:gd name="T15" fmla="*/ 38 h 38"/>
                <a:gd name="T16" fmla="*/ 27 w 27"/>
                <a:gd name="T17" fmla="*/ 38 h 38"/>
                <a:gd name="T18" fmla="*/ 27 w 27"/>
                <a:gd name="T19" fmla="*/ 0 h 38"/>
                <a:gd name="T20" fmla="*/ 21 w 27"/>
                <a:gd name="T21" fmla="*/ 0 h 38"/>
                <a:gd name="T22" fmla="*/ 21 w 27"/>
                <a:gd name="T23" fmla="*/ 27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" h="38">
                  <a:moveTo>
                    <a:pt x="21" y="27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38"/>
                  </a:lnTo>
                  <a:lnTo>
                    <a:pt x="6" y="38"/>
                  </a:lnTo>
                  <a:lnTo>
                    <a:pt x="6" y="11"/>
                  </a:lnTo>
                  <a:lnTo>
                    <a:pt x="21" y="38"/>
                  </a:lnTo>
                  <a:lnTo>
                    <a:pt x="21" y="38"/>
                  </a:lnTo>
                  <a:lnTo>
                    <a:pt x="27" y="38"/>
                  </a:lnTo>
                  <a:lnTo>
                    <a:pt x="27" y="0"/>
                  </a:lnTo>
                  <a:lnTo>
                    <a:pt x="21" y="0"/>
                  </a:lnTo>
                  <a:lnTo>
                    <a:pt x="21" y="27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" name="Freeform 155">
              <a:extLst>
                <a:ext uri="{FF2B5EF4-FFF2-40B4-BE49-F238E27FC236}">
                  <a16:creationId xmlns:a16="http://schemas.microsoft.com/office/drawing/2014/main" id="{BF92FB1A-9060-4185-9672-42C4E774C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762875" y="4416425"/>
              <a:ext cx="41275" cy="60325"/>
            </a:xfrm>
            <a:custGeom>
              <a:avLst/>
              <a:gdLst>
                <a:gd name="T0" fmla="*/ 97 w 125"/>
                <a:gd name="T1" fmla="*/ 32 h 180"/>
                <a:gd name="T2" fmla="*/ 94 w 125"/>
                <a:gd name="T3" fmla="*/ 44 h 180"/>
                <a:gd name="T4" fmla="*/ 63 w 125"/>
                <a:gd name="T5" fmla="*/ 91 h 180"/>
                <a:gd name="T6" fmla="*/ 31 w 125"/>
                <a:gd name="T7" fmla="*/ 43 h 180"/>
                <a:gd name="T8" fmla="*/ 28 w 125"/>
                <a:gd name="T9" fmla="*/ 31 h 180"/>
                <a:gd name="T10" fmla="*/ 28 w 125"/>
                <a:gd name="T11" fmla="*/ 0 h 180"/>
                <a:gd name="T12" fmla="*/ 0 w 125"/>
                <a:gd name="T13" fmla="*/ 0 h 180"/>
                <a:gd name="T14" fmla="*/ 0 w 125"/>
                <a:gd name="T15" fmla="*/ 34 h 180"/>
                <a:gd name="T16" fmla="*/ 5 w 125"/>
                <a:gd name="T17" fmla="*/ 51 h 180"/>
                <a:gd name="T18" fmla="*/ 48 w 125"/>
                <a:gd name="T19" fmla="*/ 117 h 180"/>
                <a:gd name="T20" fmla="*/ 48 w 125"/>
                <a:gd name="T21" fmla="*/ 180 h 180"/>
                <a:gd name="T22" fmla="*/ 77 w 125"/>
                <a:gd name="T23" fmla="*/ 180 h 180"/>
                <a:gd name="T24" fmla="*/ 77 w 125"/>
                <a:gd name="T25" fmla="*/ 116 h 180"/>
                <a:gd name="T26" fmla="*/ 120 w 125"/>
                <a:gd name="T27" fmla="*/ 51 h 180"/>
                <a:gd name="T28" fmla="*/ 125 w 125"/>
                <a:gd name="T29" fmla="*/ 34 h 180"/>
                <a:gd name="T30" fmla="*/ 125 w 125"/>
                <a:gd name="T31" fmla="*/ 0 h 180"/>
                <a:gd name="T32" fmla="*/ 97 w 125"/>
                <a:gd name="T33" fmla="*/ 0 h 180"/>
                <a:gd name="T34" fmla="*/ 97 w 125"/>
                <a:gd name="T35" fmla="*/ 3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5" h="180">
                  <a:moveTo>
                    <a:pt x="97" y="32"/>
                  </a:moveTo>
                  <a:cubicBezTo>
                    <a:pt x="97" y="37"/>
                    <a:pt x="96" y="41"/>
                    <a:pt x="94" y="44"/>
                  </a:cubicBezTo>
                  <a:cubicBezTo>
                    <a:pt x="63" y="91"/>
                    <a:pt x="63" y="91"/>
                    <a:pt x="63" y="91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29" y="40"/>
                    <a:pt x="28" y="36"/>
                    <a:pt x="28" y="31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41"/>
                    <a:pt x="2" y="47"/>
                    <a:pt x="5" y="51"/>
                  </a:cubicBezTo>
                  <a:cubicBezTo>
                    <a:pt x="48" y="117"/>
                    <a:pt x="48" y="117"/>
                    <a:pt x="48" y="117"/>
                  </a:cubicBezTo>
                  <a:cubicBezTo>
                    <a:pt x="48" y="180"/>
                    <a:pt x="48" y="180"/>
                    <a:pt x="48" y="180"/>
                  </a:cubicBezTo>
                  <a:cubicBezTo>
                    <a:pt x="77" y="180"/>
                    <a:pt x="77" y="180"/>
                    <a:pt x="77" y="180"/>
                  </a:cubicBezTo>
                  <a:cubicBezTo>
                    <a:pt x="77" y="116"/>
                    <a:pt x="77" y="116"/>
                    <a:pt x="77" y="116"/>
                  </a:cubicBezTo>
                  <a:cubicBezTo>
                    <a:pt x="120" y="51"/>
                    <a:pt x="120" y="51"/>
                    <a:pt x="120" y="51"/>
                  </a:cubicBezTo>
                  <a:cubicBezTo>
                    <a:pt x="123" y="46"/>
                    <a:pt x="125" y="40"/>
                    <a:pt x="125" y="34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97" y="0"/>
                    <a:pt x="97" y="0"/>
                    <a:pt x="97" y="0"/>
                  </a:cubicBezTo>
                  <a:lnTo>
                    <a:pt x="97" y="32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Freeform 156">
              <a:extLst>
                <a:ext uri="{FF2B5EF4-FFF2-40B4-BE49-F238E27FC236}">
                  <a16:creationId xmlns:a16="http://schemas.microsoft.com/office/drawing/2014/main" id="{9D2B14FF-E6D9-436F-B58D-68609D4CFAB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3200" y="4416425"/>
              <a:ext cx="38100" cy="60325"/>
            </a:xfrm>
            <a:custGeom>
              <a:avLst/>
              <a:gdLst>
                <a:gd name="T0" fmla="*/ 6 w 24"/>
                <a:gd name="T1" fmla="*/ 21 h 38"/>
                <a:gd name="T2" fmla="*/ 23 w 24"/>
                <a:gd name="T3" fmla="*/ 21 h 38"/>
                <a:gd name="T4" fmla="*/ 23 w 24"/>
                <a:gd name="T5" fmla="*/ 16 h 38"/>
                <a:gd name="T6" fmla="*/ 6 w 24"/>
                <a:gd name="T7" fmla="*/ 16 h 38"/>
                <a:gd name="T8" fmla="*/ 6 w 24"/>
                <a:gd name="T9" fmla="*/ 5 h 38"/>
                <a:gd name="T10" fmla="*/ 24 w 24"/>
                <a:gd name="T11" fmla="*/ 5 h 38"/>
                <a:gd name="T12" fmla="*/ 24 w 24"/>
                <a:gd name="T13" fmla="*/ 0 h 38"/>
                <a:gd name="T14" fmla="*/ 0 w 24"/>
                <a:gd name="T15" fmla="*/ 0 h 38"/>
                <a:gd name="T16" fmla="*/ 0 w 24"/>
                <a:gd name="T17" fmla="*/ 38 h 38"/>
                <a:gd name="T18" fmla="*/ 24 w 24"/>
                <a:gd name="T19" fmla="*/ 38 h 38"/>
                <a:gd name="T20" fmla="*/ 24 w 24"/>
                <a:gd name="T21" fmla="*/ 33 h 38"/>
                <a:gd name="T22" fmla="*/ 6 w 24"/>
                <a:gd name="T23" fmla="*/ 33 h 38"/>
                <a:gd name="T24" fmla="*/ 6 w 24"/>
                <a:gd name="T25" fmla="*/ 2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38">
                  <a:moveTo>
                    <a:pt x="6" y="21"/>
                  </a:moveTo>
                  <a:lnTo>
                    <a:pt x="23" y="21"/>
                  </a:lnTo>
                  <a:lnTo>
                    <a:pt x="23" y="16"/>
                  </a:lnTo>
                  <a:lnTo>
                    <a:pt x="6" y="16"/>
                  </a:lnTo>
                  <a:lnTo>
                    <a:pt x="6" y="5"/>
                  </a:lnTo>
                  <a:lnTo>
                    <a:pt x="24" y="5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38"/>
                  </a:lnTo>
                  <a:lnTo>
                    <a:pt x="24" y="38"/>
                  </a:lnTo>
                  <a:lnTo>
                    <a:pt x="24" y="33"/>
                  </a:lnTo>
                  <a:lnTo>
                    <a:pt x="6" y="33"/>
                  </a:lnTo>
                  <a:lnTo>
                    <a:pt x="6" y="21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" name="Freeform 157">
              <a:extLst>
                <a:ext uri="{FF2B5EF4-FFF2-40B4-BE49-F238E27FC236}">
                  <a16:creationId xmlns:a16="http://schemas.microsoft.com/office/drawing/2014/main" id="{B6CEF719-79A4-438D-9BC3-6EA35E10A1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10513" y="4416425"/>
              <a:ext cx="41275" cy="60325"/>
            </a:xfrm>
            <a:custGeom>
              <a:avLst/>
              <a:gdLst>
                <a:gd name="T0" fmla="*/ 118 w 119"/>
                <a:gd name="T1" fmla="*/ 71 h 180"/>
                <a:gd name="T2" fmla="*/ 118 w 119"/>
                <a:gd name="T3" fmla="*/ 39 h 180"/>
                <a:gd name="T4" fmla="*/ 79 w 119"/>
                <a:gd name="T5" fmla="*/ 0 h 180"/>
                <a:gd name="T6" fmla="*/ 0 w 119"/>
                <a:gd name="T7" fmla="*/ 0 h 180"/>
                <a:gd name="T8" fmla="*/ 0 w 119"/>
                <a:gd name="T9" fmla="*/ 180 h 180"/>
                <a:gd name="T10" fmla="*/ 28 w 119"/>
                <a:gd name="T11" fmla="*/ 180 h 180"/>
                <a:gd name="T12" fmla="*/ 28 w 119"/>
                <a:gd name="T13" fmla="*/ 109 h 180"/>
                <a:gd name="T14" fmla="*/ 65 w 119"/>
                <a:gd name="T15" fmla="*/ 109 h 180"/>
                <a:gd name="T16" fmla="*/ 89 w 119"/>
                <a:gd name="T17" fmla="*/ 179 h 180"/>
                <a:gd name="T18" fmla="*/ 89 w 119"/>
                <a:gd name="T19" fmla="*/ 180 h 180"/>
                <a:gd name="T20" fmla="*/ 119 w 119"/>
                <a:gd name="T21" fmla="*/ 180 h 180"/>
                <a:gd name="T22" fmla="*/ 94 w 119"/>
                <a:gd name="T23" fmla="*/ 108 h 180"/>
                <a:gd name="T24" fmla="*/ 118 w 119"/>
                <a:gd name="T25" fmla="*/ 71 h 180"/>
                <a:gd name="T26" fmla="*/ 28 w 119"/>
                <a:gd name="T27" fmla="*/ 24 h 180"/>
                <a:gd name="T28" fmla="*/ 77 w 119"/>
                <a:gd name="T29" fmla="*/ 24 h 180"/>
                <a:gd name="T30" fmla="*/ 90 w 119"/>
                <a:gd name="T31" fmla="*/ 37 h 180"/>
                <a:gd name="T32" fmla="*/ 90 w 119"/>
                <a:gd name="T33" fmla="*/ 72 h 180"/>
                <a:gd name="T34" fmla="*/ 77 w 119"/>
                <a:gd name="T35" fmla="*/ 85 h 180"/>
                <a:gd name="T36" fmla="*/ 28 w 119"/>
                <a:gd name="T37" fmla="*/ 85 h 180"/>
                <a:gd name="T38" fmla="*/ 28 w 119"/>
                <a:gd name="T39" fmla="*/ 2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9" h="180">
                  <a:moveTo>
                    <a:pt x="118" y="71"/>
                  </a:moveTo>
                  <a:cubicBezTo>
                    <a:pt x="118" y="39"/>
                    <a:pt x="118" y="39"/>
                    <a:pt x="118" y="39"/>
                  </a:cubicBezTo>
                  <a:cubicBezTo>
                    <a:pt x="118" y="13"/>
                    <a:pt x="105" y="0"/>
                    <a:pt x="7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28" y="180"/>
                    <a:pt x="28" y="180"/>
                    <a:pt x="28" y="180"/>
                  </a:cubicBezTo>
                  <a:cubicBezTo>
                    <a:pt x="28" y="109"/>
                    <a:pt x="28" y="109"/>
                    <a:pt x="28" y="109"/>
                  </a:cubicBezTo>
                  <a:cubicBezTo>
                    <a:pt x="65" y="109"/>
                    <a:pt x="65" y="109"/>
                    <a:pt x="65" y="109"/>
                  </a:cubicBezTo>
                  <a:cubicBezTo>
                    <a:pt x="89" y="179"/>
                    <a:pt x="89" y="179"/>
                    <a:pt x="89" y="179"/>
                  </a:cubicBezTo>
                  <a:cubicBezTo>
                    <a:pt x="89" y="180"/>
                    <a:pt x="89" y="180"/>
                    <a:pt x="89" y="180"/>
                  </a:cubicBezTo>
                  <a:cubicBezTo>
                    <a:pt x="119" y="180"/>
                    <a:pt x="119" y="180"/>
                    <a:pt x="119" y="180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110" y="103"/>
                    <a:pt x="118" y="91"/>
                    <a:pt x="118" y="71"/>
                  </a:cubicBezTo>
                  <a:close/>
                  <a:moveTo>
                    <a:pt x="28" y="24"/>
                  </a:moveTo>
                  <a:cubicBezTo>
                    <a:pt x="77" y="24"/>
                    <a:pt x="77" y="24"/>
                    <a:pt x="77" y="24"/>
                  </a:cubicBezTo>
                  <a:cubicBezTo>
                    <a:pt x="86" y="24"/>
                    <a:pt x="90" y="28"/>
                    <a:pt x="90" y="37"/>
                  </a:cubicBezTo>
                  <a:cubicBezTo>
                    <a:pt x="90" y="72"/>
                    <a:pt x="90" y="72"/>
                    <a:pt x="90" y="72"/>
                  </a:cubicBezTo>
                  <a:cubicBezTo>
                    <a:pt x="90" y="80"/>
                    <a:pt x="86" y="85"/>
                    <a:pt x="77" y="85"/>
                  </a:cubicBezTo>
                  <a:cubicBezTo>
                    <a:pt x="28" y="85"/>
                    <a:pt x="28" y="85"/>
                    <a:pt x="28" y="85"/>
                  </a:cubicBezTo>
                  <a:lnTo>
                    <a:pt x="28" y="24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" name="Freeform 158">
              <a:extLst>
                <a:ext uri="{FF2B5EF4-FFF2-40B4-BE49-F238E27FC236}">
                  <a16:creationId xmlns:a16="http://schemas.microsoft.com/office/drawing/2014/main" id="{47840794-6CBC-43D4-8417-5EB43E2665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67663" y="4414838"/>
              <a:ext cx="42863" cy="61912"/>
            </a:xfrm>
            <a:custGeom>
              <a:avLst/>
              <a:gdLst>
                <a:gd name="T0" fmla="*/ 78 w 127"/>
                <a:gd name="T1" fmla="*/ 1 h 181"/>
                <a:gd name="T2" fmla="*/ 78 w 127"/>
                <a:gd name="T3" fmla="*/ 0 h 181"/>
                <a:gd name="T4" fmla="*/ 49 w 127"/>
                <a:gd name="T5" fmla="*/ 0 h 181"/>
                <a:gd name="T6" fmla="*/ 3 w 127"/>
                <a:gd name="T7" fmla="*/ 123 h 181"/>
                <a:gd name="T8" fmla="*/ 0 w 127"/>
                <a:gd name="T9" fmla="*/ 139 h 181"/>
                <a:gd name="T10" fmla="*/ 0 w 127"/>
                <a:gd name="T11" fmla="*/ 181 h 181"/>
                <a:gd name="T12" fmla="*/ 27 w 127"/>
                <a:gd name="T13" fmla="*/ 181 h 181"/>
                <a:gd name="T14" fmla="*/ 27 w 127"/>
                <a:gd name="T15" fmla="*/ 139 h 181"/>
                <a:gd name="T16" fmla="*/ 99 w 127"/>
                <a:gd name="T17" fmla="*/ 139 h 181"/>
                <a:gd name="T18" fmla="*/ 99 w 127"/>
                <a:gd name="T19" fmla="*/ 142 h 181"/>
                <a:gd name="T20" fmla="*/ 99 w 127"/>
                <a:gd name="T21" fmla="*/ 181 h 181"/>
                <a:gd name="T22" fmla="*/ 127 w 127"/>
                <a:gd name="T23" fmla="*/ 181 h 181"/>
                <a:gd name="T24" fmla="*/ 127 w 127"/>
                <a:gd name="T25" fmla="*/ 139 h 181"/>
                <a:gd name="T26" fmla="*/ 124 w 127"/>
                <a:gd name="T27" fmla="*/ 123 h 181"/>
                <a:gd name="T28" fmla="*/ 78 w 127"/>
                <a:gd name="T29" fmla="*/ 1 h 181"/>
                <a:gd name="T30" fmla="*/ 92 w 127"/>
                <a:gd name="T31" fmla="*/ 115 h 181"/>
                <a:gd name="T32" fmla="*/ 34 w 127"/>
                <a:gd name="T33" fmla="*/ 115 h 181"/>
                <a:gd name="T34" fmla="*/ 63 w 127"/>
                <a:gd name="T35" fmla="*/ 32 h 181"/>
                <a:gd name="T36" fmla="*/ 92 w 127"/>
                <a:gd name="T37" fmla="*/ 115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7" h="181">
                  <a:moveTo>
                    <a:pt x="78" y="1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3" y="123"/>
                    <a:pt x="3" y="123"/>
                    <a:pt x="3" y="123"/>
                  </a:cubicBezTo>
                  <a:cubicBezTo>
                    <a:pt x="1" y="128"/>
                    <a:pt x="0" y="133"/>
                    <a:pt x="0" y="139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27" y="181"/>
                    <a:pt x="27" y="181"/>
                    <a:pt x="27" y="181"/>
                  </a:cubicBezTo>
                  <a:cubicBezTo>
                    <a:pt x="27" y="139"/>
                    <a:pt x="27" y="139"/>
                    <a:pt x="27" y="139"/>
                  </a:cubicBezTo>
                  <a:cubicBezTo>
                    <a:pt x="99" y="139"/>
                    <a:pt x="99" y="139"/>
                    <a:pt x="99" y="139"/>
                  </a:cubicBezTo>
                  <a:cubicBezTo>
                    <a:pt x="99" y="140"/>
                    <a:pt x="99" y="141"/>
                    <a:pt x="99" y="142"/>
                  </a:cubicBezTo>
                  <a:cubicBezTo>
                    <a:pt x="99" y="181"/>
                    <a:pt x="99" y="181"/>
                    <a:pt x="99" y="181"/>
                  </a:cubicBezTo>
                  <a:cubicBezTo>
                    <a:pt x="127" y="181"/>
                    <a:pt x="127" y="181"/>
                    <a:pt x="127" y="181"/>
                  </a:cubicBezTo>
                  <a:cubicBezTo>
                    <a:pt x="127" y="139"/>
                    <a:pt x="127" y="139"/>
                    <a:pt x="127" y="139"/>
                  </a:cubicBezTo>
                  <a:cubicBezTo>
                    <a:pt x="127" y="132"/>
                    <a:pt x="126" y="127"/>
                    <a:pt x="124" y="123"/>
                  </a:cubicBezTo>
                  <a:lnTo>
                    <a:pt x="78" y="1"/>
                  </a:lnTo>
                  <a:close/>
                  <a:moveTo>
                    <a:pt x="92" y="115"/>
                  </a:moveTo>
                  <a:cubicBezTo>
                    <a:pt x="34" y="115"/>
                    <a:pt x="34" y="115"/>
                    <a:pt x="34" y="115"/>
                  </a:cubicBezTo>
                  <a:cubicBezTo>
                    <a:pt x="63" y="32"/>
                    <a:pt x="63" y="32"/>
                    <a:pt x="63" y="32"/>
                  </a:cubicBezTo>
                  <a:lnTo>
                    <a:pt x="92" y="115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" name="Freeform 159">
              <a:extLst>
                <a:ext uri="{FF2B5EF4-FFF2-40B4-BE49-F238E27FC236}">
                  <a16:creationId xmlns:a16="http://schemas.microsoft.com/office/drawing/2014/main" id="{E8BC3FA1-1981-4BCB-A105-1032ADADD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8029575" y="4416425"/>
              <a:ext cx="50800" cy="60325"/>
            </a:xfrm>
            <a:custGeom>
              <a:avLst/>
              <a:gdLst>
                <a:gd name="T0" fmla="*/ 16 w 32"/>
                <a:gd name="T1" fmla="*/ 19 h 38"/>
                <a:gd name="T2" fmla="*/ 6 w 32"/>
                <a:gd name="T3" fmla="*/ 0 h 38"/>
                <a:gd name="T4" fmla="*/ 6 w 32"/>
                <a:gd name="T5" fmla="*/ 0 h 38"/>
                <a:gd name="T6" fmla="*/ 0 w 32"/>
                <a:gd name="T7" fmla="*/ 0 h 38"/>
                <a:gd name="T8" fmla="*/ 0 w 32"/>
                <a:gd name="T9" fmla="*/ 38 h 38"/>
                <a:gd name="T10" fmla="*/ 6 w 32"/>
                <a:gd name="T11" fmla="*/ 38 h 38"/>
                <a:gd name="T12" fmla="*/ 6 w 32"/>
                <a:gd name="T13" fmla="*/ 11 h 38"/>
                <a:gd name="T14" fmla="*/ 14 w 32"/>
                <a:gd name="T15" fmla="*/ 26 h 38"/>
                <a:gd name="T16" fmla="*/ 18 w 32"/>
                <a:gd name="T17" fmla="*/ 26 h 38"/>
                <a:gd name="T18" fmla="*/ 26 w 32"/>
                <a:gd name="T19" fmla="*/ 11 h 38"/>
                <a:gd name="T20" fmla="*/ 26 w 32"/>
                <a:gd name="T21" fmla="*/ 38 h 38"/>
                <a:gd name="T22" fmla="*/ 32 w 32"/>
                <a:gd name="T23" fmla="*/ 38 h 38"/>
                <a:gd name="T24" fmla="*/ 32 w 32"/>
                <a:gd name="T25" fmla="*/ 0 h 38"/>
                <a:gd name="T26" fmla="*/ 26 w 32"/>
                <a:gd name="T27" fmla="*/ 0 h 38"/>
                <a:gd name="T28" fmla="*/ 16 w 32"/>
                <a:gd name="T29" fmla="*/ 1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38">
                  <a:moveTo>
                    <a:pt x="16" y="19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8"/>
                  </a:lnTo>
                  <a:lnTo>
                    <a:pt x="6" y="38"/>
                  </a:lnTo>
                  <a:lnTo>
                    <a:pt x="6" y="11"/>
                  </a:lnTo>
                  <a:lnTo>
                    <a:pt x="14" y="26"/>
                  </a:lnTo>
                  <a:lnTo>
                    <a:pt x="18" y="26"/>
                  </a:lnTo>
                  <a:lnTo>
                    <a:pt x="26" y="11"/>
                  </a:lnTo>
                  <a:lnTo>
                    <a:pt x="26" y="38"/>
                  </a:lnTo>
                  <a:lnTo>
                    <a:pt x="32" y="38"/>
                  </a:lnTo>
                  <a:lnTo>
                    <a:pt x="32" y="0"/>
                  </a:lnTo>
                  <a:lnTo>
                    <a:pt x="26" y="0"/>
                  </a:lnTo>
                  <a:lnTo>
                    <a:pt x="16" y="19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" name="Freeform 160">
              <a:extLst>
                <a:ext uri="{FF2B5EF4-FFF2-40B4-BE49-F238E27FC236}">
                  <a16:creationId xmlns:a16="http://schemas.microsoft.com/office/drawing/2014/main" id="{6EA20D56-09F5-4821-A586-1663EB80473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2600" y="4416425"/>
              <a:ext cx="50800" cy="60325"/>
            </a:xfrm>
            <a:custGeom>
              <a:avLst/>
              <a:gdLst>
                <a:gd name="T0" fmla="*/ 16 w 32"/>
                <a:gd name="T1" fmla="*/ 19 h 38"/>
                <a:gd name="T2" fmla="*/ 6 w 32"/>
                <a:gd name="T3" fmla="*/ 0 h 38"/>
                <a:gd name="T4" fmla="*/ 6 w 32"/>
                <a:gd name="T5" fmla="*/ 0 h 38"/>
                <a:gd name="T6" fmla="*/ 0 w 32"/>
                <a:gd name="T7" fmla="*/ 0 h 38"/>
                <a:gd name="T8" fmla="*/ 0 w 32"/>
                <a:gd name="T9" fmla="*/ 38 h 38"/>
                <a:gd name="T10" fmla="*/ 5 w 32"/>
                <a:gd name="T11" fmla="*/ 38 h 38"/>
                <a:gd name="T12" fmla="*/ 5 w 32"/>
                <a:gd name="T13" fmla="*/ 11 h 38"/>
                <a:gd name="T14" fmla="*/ 14 w 32"/>
                <a:gd name="T15" fmla="*/ 26 h 38"/>
                <a:gd name="T16" fmla="*/ 18 w 32"/>
                <a:gd name="T17" fmla="*/ 26 h 38"/>
                <a:gd name="T18" fmla="*/ 26 w 32"/>
                <a:gd name="T19" fmla="*/ 11 h 38"/>
                <a:gd name="T20" fmla="*/ 26 w 32"/>
                <a:gd name="T21" fmla="*/ 38 h 38"/>
                <a:gd name="T22" fmla="*/ 32 w 32"/>
                <a:gd name="T23" fmla="*/ 38 h 38"/>
                <a:gd name="T24" fmla="*/ 32 w 32"/>
                <a:gd name="T25" fmla="*/ 0 h 38"/>
                <a:gd name="T26" fmla="*/ 26 w 32"/>
                <a:gd name="T27" fmla="*/ 0 h 38"/>
                <a:gd name="T28" fmla="*/ 16 w 32"/>
                <a:gd name="T29" fmla="*/ 1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38">
                  <a:moveTo>
                    <a:pt x="16" y="19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8"/>
                  </a:lnTo>
                  <a:lnTo>
                    <a:pt x="5" y="38"/>
                  </a:lnTo>
                  <a:lnTo>
                    <a:pt x="5" y="11"/>
                  </a:lnTo>
                  <a:lnTo>
                    <a:pt x="14" y="26"/>
                  </a:lnTo>
                  <a:lnTo>
                    <a:pt x="18" y="26"/>
                  </a:lnTo>
                  <a:lnTo>
                    <a:pt x="26" y="11"/>
                  </a:lnTo>
                  <a:lnTo>
                    <a:pt x="26" y="38"/>
                  </a:lnTo>
                  <a:lnTo>
                    <a:pt x="32" y="38"/>
                  </a:lnTo>
                  <a:lnTo>
                    <a:pt x="32" y="0"/>
                  </a:lnTo>
                  <a:lnTo>
                    <a:pt x="26" y="0"/>
                  </a:lnTo>
                  <a:lnTo>
                    <a:pt x="16" y="19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8" name="Freeform 161">
              <a:extLst>
                <a:ext uri="{FF2B5EF4-FFF2-40B4-BE49-F238E27FC236}">
                  <a16:creationId xmlns:a16="http://schemas.microsoft.com/office/drawing/2014/main" id="{DB751062-FCDA-44FF-A8CD-5F99952CE935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5625" y="4416425"/>
              <a:ext cx="38100" cy="60325"/>
            </a:xfrm>
            <a:custGeom>
              <a:avLst/>
              <a:gdLst>
                <a:gd name="T0" fmla="*/ 6 w 24"/>
                <a:gd name="T1" fmla="*/ 21 h 38"/>
                <a:gd name="T2" fmla="*/ 22 w 24"/>
                <a:gd name="T3" fmla="*/ 21 h 38"/>
                <a:gd name="T4" fmla="*/ 22 w 24"/>
                <a:gd name="T5" fmla="*/ 16 h 38"/>
                <a:gd name="T6" fmla="*/ 6 w 24"/>
                <a:gd name="T7" fmla="*/ 16 h 38"/>
                <a:gd name="T8" fmla="*/ 6 w 24"/>
                <a:gd name="T9" fmla="*/ 5 h 38"/>
                <a:gd name="T10" fmla="*/ 24 w 24"/>
                <a:gd name="T11" fmla="*/ 5 h 38"/>
                <a:gd name="T12" fmla="*/ 24 w 24"/>
                <a:gd name="T13" fmla="*/ 0 h 38"/>
                <a:gd name="T14" fmla="*/ 0 w 24"/>
                <a:gd name="T15" fmla="*/ 0 h 38"/>
                <a:gd name="T16" fmla="*/ 0 w 24"/>
                <a:gd name="T17" fmla="*/ 38 h 38"/>
                <a:gd name="T18" fmla="*/ 24 w 24"/>
                <a:gd name="T19" fmla="*/ 38 h 38"/>
                <a:gd name="T20" fmla="*/ 24 w 24"/>
                <a:gd name="T21" fmla="*/ 33 h 38"/>
                <a:gd name="T22" fmla="*/ 6 w 24"/>
                <a:gd name="T23" fmla="*/ 33 h 38"/>
                <a:gd name="T24" fmla="*/ 6 w 24"/>
                <a:gd name="T25" fmla="*/ 2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38">
                  <a:moveTo>
                    <a:pt x="6" y="21"/>
                  </a:moveTo>
                  <a:lnTo>
                    <a:pt x="22" y="21"/>
                  </a:lnTo>
                  <a:lnTo>
                    <a:pt x="22" y="16"/>
                  </a:lnTo>
                  <a:lnTo>
                    <a:pt x="6" y="16"/>
                  </a:lnTo>
                  <a:lnTo>
                    <a:pt x="6" y="5"/>
                  </a:lnTo>
                  <a:lnTo>
                    <a:pt x="24" y="5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38"/>
                  </a:lnTo>
                  <a:lnTo>
                    <a:pt x="24" y="38"/>
                  </a:lnTo>
                  <a:lnTo>
                    <a:pt x="24" y="33"/>
                  </a:lnTo>
                  <a:lnTo>
                    <a:pt x="6" y="33"/>
                  </a:lnTo>
                  <a:lnTo>
                    <a:pt x="6" y="21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9" name="Freeform 162">
              <a:extLst>
                <a:ext uri="{FF2B5EF4-FFF2-40B4-BE49-F238E27FC236}">
                  <a16:creationId xmlns:a16="http://schemas.microsoft.com/office/drawing/2014/main" id="{3AFA3C94-BA78-4715-B07B-DC465F7FEE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32775" y="4416425"/>
              <a:ext cx="41275" cy="60325"/>
            </a:xfrm>
            <a:custGeom>
              <a:avLst/>
              <a:gdLst>
                <a:gd name="T0" fmla="*/ 94 w 120"/>
                <a:gd name="T1" fmla="*/ 108 h 180"/>
                <a:gd name="T2" fmla="*/ 119 w 120"/>
                <a:gd name="T3" fmla="*/ 71 h 180"/>
                <a:gd name="T4" fmla="*/ 119 w 120"/>
                <a:gd name="T5" fmla="*/ 39 h 180"/>
                <a:gd name="T6" fmla="*/ 80 w 120"/>
                <a:gd name="T7" fmla="*/ 0 h 180"/>
                <a:gd name="T8" fmla="*/ 0 w 120"/>
                <a:gd name="T9" fmla="*/ 0 h 180"/>
                <a:gd name="T10" fmla="*/ 0 w 120"/>
                <a:gd name="T11" fmla="*/ 180 h 180"/>
                <a:gd name="T12" fmla="*/ 28 w 120"/>
                <a:gd name="T13" fmla="*/ 180 h 180"/>
                <a:gd name="T14" fmla="*/ 28 w 120"/>
                <a:gd name="T15" fmla="*/ 109 h 180"/>
                <a:gd name="T16" fmla="*/ 66 w 120"/>
                <a:gd name="T17" fmla="*/ 109 h 180"/>
                <a:gd name="T18" fmla="*/ 89 w 120"/>
                <a:gd name="T19" fmla="*/ 179 h 180"/>
                <a:gd name="T20" fmla="*/ 89 w 120"/>
                <a:gd name="T21" fmla="*/ 180 h 180"/>
                <a:gd name="T22" fmla="*/ 120 w 120"/>
                <a:gd name="T23" fmla="*/ 180 h 180"/>
                <a:gd name="T24" fmla="*/ 94 w 120"/>
                <a:gd name="T25" fmla="*/ 108 h 180"/>
                <a:gd name="T26" fmla="*/ 28 w 120"/>
                <a:gd name="T27" fmla="*/ 24 h 180"/>
                <a:gd name="T28" fmla="*/ 78 w 120"/>
                <a:gd name="T29" fmla="*/ 24 h 180"/>
                <a:gd name="T30" fmla="*/ 90 w 120"/>
                <a:gd name="T31" fmla="*/ 37 h 180"/>
                <a:gd name="T32" fmla="*/ 90 w 120"/>
                <a:gd name="T33" fmla="*/ 72 h 180"/>
                <a:gd name="T34" fmla="*/ 78 w 120"/>
                <a:gd name="T35" fmla="*/ 85 h 180"/>
                <a:gd name="T36" fmla="*/ 28 w 120"/>
                <a:gd name="T37" fmla="*/ 85 h 180"/>
                <a:gd name="T38" fmla="*/ 28 w 120"/>
                <a:gd name="T39" fmla="*/ 2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0" h="180">
                  <a:moveTo>
                    <a:pt x="94" y="108"/>
                  </a:moveTo>
                  <a:cubicBezTo>
                    <a:pt x="110" y="103"/>
                    <a:pt x="119" y="91"/>
                    <a:pt x="119" y="71"/>
                  </a:cubicBezTo>
                  <a:cubicBezTo>
                    <a:pt x="119" y="39"/>
                    <a:pt x="119" y="39"/>
                    <a:pt x="119" y="39"/>
                  </a:cubicBezTo>
                  <a:cubicBezTo>
                    <a:pt x="119" y="13"/>
                    <a:pt x="105" y="0"/>
                    <a:pt x="8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28" y="180"/>
                    <a:pt x="28" y="180"/>
                    <a:pt x="28" y="180"/>
                  </a:cubicBezTo>
                  <a:cubicBezTo>
                    <a:pt x="28" y="109"/>
                    <a:pt x="28" y="109"/>
                    <a:pt x="28" y="109"/>
                  </a:cubicBezTo>
                  <a:cubicBezTo>
                    <a:pt x="66" y="109"/>
                    <a:pt x="66" y="109"/>
                    <a:pt x="66" y="109"/>
                  </a:cubicBezTo>
                  <a:cubicBezTo>
                    <a:pt x="89" y="179"/>
                    <a:pt x="89" y="179"/>
                    <a:pt x="89" y="179"/>
                  </a:cubicBezTo>
                  <a:cubicBezTo>
                    <a:pt x="89" y="180"/>
                    <a:pt x="89" y="180"/>
                    <a:pt x="89" y="180"/>
                  </a:cubicBezTo>
                  <a:cubicBezTo>
                    <a:pt x="120" y="180"/>
                    <a:pt x="120" y="180"/>
                    <a:pt x="120" y="180"/>
                  </a:cubicBezTo>
                  <a:lnTo>
                    <a:pt x="94" y="108"/>
                  </a:lnTo>
                  <a:close/>
                  <a:moveTo>
                    <a:pt x="28" y="24"/>
                  </a:moveTo>
                  <a:cubicBezTo>
                    <a:pt x="78" y="24"/>
                    <a:pt x="78" y="24"/>
                    <a:pt x="78" y="24"/>
                  </a:cubicBezTo>
                  <a:cubicBezTo>
                    <a:pt x="86" y="24"/>
                    <a:pt x="90" y="28"/>
                    <a:pt x="90" y="37"/>
                  </a:cubicBezTo>
                  <a:cubicBezTo>
                    <a:pt x="90" y="72"/>
                    <a:pt x="90" y="72"/>
                    <a:pt x="90" y="72"/>
                  </a:cubicBezTo>
                  <a:cubicBezTo>
                    <a:pt x="90" y="80"/>
                    <a:pt x="86" y="85"/>
                    <a:pt x="78" y="85"/>
                  </a:cubicBezTo>
                  <a:cubicBezTo>
                    <a:pt x="28" y="85"/>
                    <a:pt x="28" y="85"/>
                    <a:pt x="28" y="85"/>
                  </a:cubicBezTo>
                  <a:lnTo>
                    <a:pt x="28" y="24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346EDABD-1AF2-48D5-854A-C50F3976D88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34567465"/>
              </p:ext>
            </p:extLst>
          </p:nvPr>
        </p:nvGraphicFramePr>
        <p:xfrm>
          <a:off x="8538805" y="2636912"/>
          <a:ext cx="3282552" cy="28968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79" name="Tekstboks 1">
            <a:extLst>
              <a:ext uri="{FF2B5EF4-FFF2-40B4-BE49-F238E27FC236}">
                <a16:creationId xmlns:a16="http://schemas.microsoft.com/office/drawing/2014/main" id="{F40C28E5-E3E4-4CD7-BA05-C0800F83BBC9}"/>
              </a:ext>
            </a:extLst>
          </p:cNvPr>
          <p:cNvSpPr txBox="1"/>
          <p:nvPr/>
        </p:nvSpPr>
        <p:spPr>
          <a:xfrm>
            <a:off x="8578290" y="2701152"/>
            <a:ext cx="1198321" cy="113611"/>
          </a:xfrm>
          <a:prstGeom prst="rect">
            <a:avLst/>
          </a:prstGeom>
        </p:spPr>
        <p:txBody>
          <a:bodyPr wrap="square" rtlCol="0" anchor="b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a-DK" sz="700" dirty="0">
                <a:solidFill>
                  <a:sysClr val="windowText" lastClr="000000"/>
                </a:solidFill>
                <a:latin typeface="Graphik Semibold" pitchFamily="34" charset="0"/>
                <a:ea typeface="Verdana" panose="020B0604030504040204" pitchFamily="34" charset="0"/>
                <a:cs typeface="Arial" panose="020B0604020202020204" pitchFamily="34" charset="0"/>
              </a:rPr>
              <a:t>Mio. kr.</a:t>
            </a:r>
          </a:p>
        </p:txBody>
      </p:sp>
      <p:sp>
        <p:nvSpPr>
          <p:cNvPr id="30" name="Tekstboks 1">
            <a:extLst>
              <a:ext uri="{FF2B5EF4-FFF2-40B4-BE49-F238E27FC236}">
                <a16:creationId xmlns:a16="http://schemas.microsoft.com/office/drawing/2014/main" id="{1F81A592-5AAE-4B36-83AA-91557924F479}"/>
              </a:ext>
            </a:extLst>
          </p:cNvPr>
          <p:cNvSpPr txBox="1"/>
          <p:nvPr/>
        </p:nvSpPr>
        <p:spPr>
          <a:xfrm>
            <a:off x="839416" y="2628900"/>
            <a:ext cx="1202789" cy="187568"/>
          </a:xfrm>
          <a:prstGeom prst="rect">
            <a:avLst/>
          </a:prstGeom>
        </p:spPr>
        <p:txBody>
          <a:bodyPr wrap="square" rtlCol="0" anchor="b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a-DK" sz="700" dirty="0">
                <a:solidFill>
                  <a:sysClr val="windowText" lastClr="000000"/>
                </a:solidFill>
                <a:latin typeface="Graphik Semibold" pitchFamily="34" charset="0"/>
                <a:ea typeface="Verdana" panose="020B0604030504040204" pitchFamily="34" charset="0"/>
                <a:cs typeface="Arial" panose="020B0604020202020204" pitchFamily="34" charset="0"/>
              </a:rPr>
              <a:t>Mio. kr.</a:t>
            </a:r>
          </a:p>
        </p:txBody>
      </p:sp>
      <p:graphicFrame>
        <p:nvGraphicFramePr>
          <p:cNvPr id="100" name="Diagram 99">
            <a:extLst>
              <a:ext uri="{FF2B5EF4-FFF2-40B4-BE49-F238E27FC236}">
                <a16:creationId xmlns:a16="http://schemas.microsoft.com/office/drawing/2014/main" id="{0A005CE5-A6DA-45C2-AFFA-0499D005026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89123343"/>
              </p:ext>
            </p:extLst>
          </p:nvPr>
        </p:nvGraphicFramePr>
        <p:xfrm>
          <a:off x="822676" y="2753541"/>
          <a:ext cx="3577267" cy="20814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cxnSp>
        <p:nvCxnSpPr>
          <p:cNvPr id="103" name="Lige forbindelse 102">
            <a:extLst>
              <a:ext uri="{FF2B5EF4-FFF2-40B4-BE49-F238E27FC236}">
                <a16:creationId xmlns:a16="http://schemas.microsoft.com/office/drawing/2014/main" id="{49D13F3B-BC99-4455-B87A-6C7C18E5641C}"/>
              </a:ext>
            </a:extLst>
          </p:cNvPr>
          <p:cNvCxnSpPr>
            <a:cxnSpLocks/>
          </p:cNvCxnSpPr>
          <p:nvPr/>
        </p:nvCxnSpPr>
        <p:spPr>
          <a:xfrm>
            <a:off x="4583832" y="2529100"/>
            <a:ext cx="0" cy="2196000"/>
          </a:xfrm>
          <a:prstGeom prst="line">
            <a:avLst/>
          </a:prstGeom>
          <a:ln w="28575">
            <a:solidFill>
              <a:schemeClr val="tx2"/>
            </a:solidFill>
            <a:miter lim="800000"/>
            <a:tailEnd type="none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Lige forbindelse 103">
            <a:extLst>
              <a:ext uri="{FF2B5EF4-FFF2-40B4-BE49-F238E27FC236}">
                <a16:creationId xmlns:a16="http://schemas.microsoft.com/office/drawing/2014/main" id="{C0F709E8-4112-47AB-9CCF-CA4A7DECB750}"/>
              </a:ext>
            </a:extLst>
          </p:cNvPr>
          <p:cNvCxnSpPr>
            <a:cxnSpLocks/>
          </p:cNvCxnSpPr>
          <p:nvPr/>
        </p:nvCxnSpPr>
        <p:spPr>
          <a:xfrm>
            <a:off x="7640289" y="2529100"/>
            <a:ext cx="3883" cy="2196000"/>
          </a:xfrm>
          <a:prstGeom prst="line">
            <a:avLst/>
          </a:prstGeom>
          <a:ln w="28575">
            <a:solidFill>
              <a:schemeClr val="tx2"/>
            </a:solidFill>
            <a:miter lim="800000"/>
            <a:tailEnd type="none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Billede 2">
            <a:extLst>
              <a:ext uri="{FF2B5EF4-FFF2-40B4-BE49-F238E27FC236}">
                <a16:creationId xmlns:a16="http://schemas.microsoft.com/office/drawing/2014/main" id="{C7DDDB78-BC9A-4372-92B8-38DC22FCCC2D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844548" y="4687752"/>
            <a:ext cx="765589" cy="246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76359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" name="Diagram 108">
            <a:extLst>
              <a:ext uri="{FF2B5EF4-FFF2-40B4-BE49-F238E27FC236}">
                <a16:creationId xmlns:a16="http://schemas.microsoft.com/office/drawing/2014/main" id="{92F2028F-D980-4091-B88B-842EF87FB36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37625122"/>
              </p:ext>
            </p:extLst>
          </p:nvPr>
        </p:nvGraphicFramePr>
        <p:xfrm>
          <a:off x="8538084" y="2636912"/>
          <a:ext cx="3016764" cy="30603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5" name="Rektangel 24">
            <a:extLst>
              <a:ext uri="{FF2B5EF4-FFF2-40B4-BE49-F238E27FC236}">
                <a16:creationId xmlns:a16="http://schemas.microsoft.com/office/drawing/2014/main" id="{64FF5F82-C977-49DB-9BC2-1FDDFA189081}"/>
              </a:ext>
            </a:extLst>
          </p:cNvPr>
          <p:cNvSpPr/>
          <p:nvPr/>
        </p:nvSpPr>
        <p:spPr>
          <a:xfrm>
            <a:off x="684213" y="4977172"/>
            <a:ext cx="6948310" cy="10164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33350" indent="-133350">
              <a:lnSpc>
                <a:spcPct val="113000"/>
              </a:lnSpc>
              <a:spcAft>
                <a:spcPts val="600"/>
              </a:spcAft>
              <a:buFont typeface="Symbol" panose="05050102010706020507" pitchFamily="18" charset="2"/>
              <a:buChar char=""/>
            </a:pPr>
            <a:r>
              <a:rPr lang="da-DK" sz="1700" dirty="0">
                <a:solidFill>
                  <a:srgbClr val="58595B"/>
                </a:solidFill>
              </a:rPr>
              <a:t>Endelige, ubetingede ordrer: 12,0 mia. kr.  </a:t>
            </a:r>
          </a:p>
          <a:p>
            <a:pPr marL="133350" indent="-133350">
              <a:lnSpc>
                <a:spcPct val="113000"/>
              </a:lnSpc>
              <a:spcAft>
                <a:spcPts val="600"/>
              </a:spcAft>
              <a:buFont typeface="Symbol" panose="05050102010706020507" pitchFamily="18" charset="2"/>
              <a:buChar char=""/>
            </a:pPr>
            <a:r>
              <a:rPr lang="da-DK" sz="1700" dirty="0">
                <a:solidFill>
                  <a:srgbClr val="58595B"/>
                </a:solidFill>
              </a:rPr>
              <a:t>Vundne, men endnu ikke kontraherede projekter: 2,8 mia. kr.</a:t>
            </a:r>
          </a:p>
          <a:p>
            <a:pPr marL="133350" indent="-133350">
              <a:lnSpc>
                <a:spcPct val="113000"/>
              </a:lnSpc>
              <a:spcAft>
                <a:spcPts val="600"/>
              </a:spcAft>
              <a:buFont typeface="Symbol" panose="05050102010706020507" pitchFamily="18" charset="2"/>
              <a:buChar char=""/>
            </a:pPr>
            <a:r>
              <a:rPr lang="da-DK" sz="1700" dirty="0">
                <a:solidFill>
                  <a:srgbClr val="58595B"/>
                </a:solidFill>
              </a:rPr>
              <a:t>Fremtidig aktivitet i strategiske partnerskaber: Potentielt 6-7 mia. kr. </a:t>
            </a:r>
          </a:p>
        </p:txBody>
      </p:sp>
      <p:sp>
        <p:nvSpPr>
          <p:cNvPr id="77" name="Tekstboks 46">
            <a:extLst>
              <a:ext uri="{FF2B5EF4-FFF2-40B4-BE49-F238E27FC236}">
                <a16:creationId xmlns:a16="http://schemas.microsoft.com/office/drawing/2014/main" id="{F6A47D8A-8BDC-42A3-AC27-22FB234BF091}"/>
              </a:ext>
            </a:extLst>
          </p:cNvPr>
          <p:cNvSpPr txBox="1"/>
          <p:nvPr/>
        </p:nvSpPr>
        <p:spPr>
          <a:xfrm>
            <a:off x="695401" y="2204864"/>
            <a:ext cx="3897016" cy="2250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dirty="0" err="1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vartalsvis</a:t>
            </a:r>
            <a:r>
              <a:rPr kumimoji="0" lang="en-US" sz="1400" b="1" i="0" u="none" strike="noStrike" kern="1200" cap="none" spc="0" normalizeH="0" baseline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dirty="0" err="1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drebeholdning</a:t>
            </a:r>
            <a:endParaRPr kumimoji="0" lang="en-US" sz="1400" b="1" i="0" u="none" strike="noStrike" kern="1200" cap="none" spc="0" normalizeH="0" baseline="0" dirty="0">
              <a:ln>
                <a:noFill/>
              </a:ln>
              <a:solidFill>
                <a:srgbClr val="58595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1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3000" b="1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26% vækst i ordrebeholdningen i 1. halvår </a:t>
            </a:r>
            <a:endParaRPr lang="en-US" dirty="0"/>
          </a:p>
        </p:txBody>
      </p:sp>
      <p:sp>
        <p:nvSpPr>
          <p:cNvPr id="47" name="Tekstboks 46"/>
          <p:cNvSpPr txBox="1"/>
          <p:nvPr/>
        </p:nvSpPr>
        <p:spPr>
          <a:xfrm>
            <a:off x="4603603" y="2205708"/>
            <a:ext cx="3051756" cy="2250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drebeholdning 30.06 </a:t>
            </a: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28E424BB-584B-497A-A6DC-1680026261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4613" y="403550"/>
            <a:ext cx="342899" cy="146519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da-DK" smtClean="0"/>
              <a:pPr>
                <a:spcAft>
                  <a:spcPts val="600"/>
                </a:spcAft>
              </a:pPr>
              <a:t>5</a:t>
            </a:fld>
            <a:endParaRPr lang="da-DK" dirty="0"/>
          </a:p>
        </p:txBody>
      </p:sp>
      <p:sp>
        <p:nvSpPr>
          <p:cNvPr id="26" name="Tekstboks 46">
            <a:extLst>
              <a:ext uri="{FF2B5EF4-FFF2-40B4-BE49-F238E27FC236}">
                <a16:creationId xmlns:a16="http://schemas.microsoft.com/office/drawing/2014/main" id="{1070A464-0F19-4D70-AB49-0C479EECE3B8}"/>
              </a:ext>
            </a:extLst>
          </p:cNvPr>
          <p:cNvSpPr txBox="1"/>
          <p:nvPr/>
        </p:nvSpPr>
        <p:spPr>
          <a:xfrm>
            <a:off x="7666545" y="2205708"/>
            <a:ext cx="3849255" cy="2250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retningsenhedernes ordrebøger 30.6</a:t>
            </a:r>
          </a:p>
        </p:txBody>
      </p:sp>
      <p:pic>
        <p:nvPicPr>
          <p:cNvPr id="32" name="Grafik 31">
            <a:extLst>
              <a:ext uri="{FF2B5EF4-FFF2-40B4-BE49-F238E27FC236}">
                <a16:creationId xmlns:a16="http://schemas.microsoft.com/office/drawing/2014/main" id="{9239295B-DB63-460F-B736-F56A7F120850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757446" y="2811812"/>
            <a:ext cx="901702" cy="414914"/>
          </a:xfrm>
          <a:prstGeom prst="rect">
            <a:avLst/>
          </a:prstGeom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0D6B2C9E-9634-44AD-952C-45CA4DBEF6D5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752184" y="4228187"/>
            <a:ext cx="901702" cy="414914"/>
          </a:xfrm>
          <a:prstGeom prst="rect">
            <a:avLst/>
          </a:prstGeom>
        </p:spPr>
      </p:pic>
      <p:grpSp>
        <p:nvGrpSpPr>
          <p:cNvPr id="42" name="Gruppe 41">
            <a:extLst>
              <a:ext uri="{FF2B5EF4-FFF2-40B4-BE49-F238E27FC236}">
                <a16:creationId xmlns:a16="http://schemas.microsoft.com/office/drawing/2014/main" id="{91E271BA-31CD-4632-B367-EA69D7F4D7E3}"/>
              </a:ext>
            </a:extLst>
          </p:cNvPr>
          <p:cNvGrpSpPr>
            <a:grpSpLocks noChangeAspect="1"/>
          </p:cNvGrpSpPr>
          <p:nvPr/>
        </p:nvGrpSpPr>
        <p:grpSpPr>
          <a:xfrm>
            <a:off x="7838178" y="3400514"/>
            <a:ext cx="502896" cy="189869"/>
            <a:chOff x="5514975" y="4845050"/>
            <a:chExt cx="1555751" cy="587375"/>
          </a:xfrm>
        </p:grpSpPr>
        <p:sp>
          <p:nvSpPr>
            <p:cNvPr id="43" name="Rectangle 116">
              <a:extLst>
                <a:ext uri="{FF2B5EF4-FFF2-40B4-BE49-F238E27FC236}">
                  <a16:creationId xmlns:a16="http://schemas.microsoft.com/office/drawing/2014/main" id="{180B4A9E-7EB3-4F4E-A0B2-FCBF204F56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38800" y="5257800"/>
              <a:ext cx="42863" cy="68262"/>
            </a:xfrm>
            <a:prstGeom prst="rect">
              <a:avLst/>
            </a:prstGeom>
            <a:solidFill>
              <a:srgbClr val="7479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Rectangle 117">
              <a:extLst>
                <a:ext uri="{FF2B5EF4-FFF2-40B4-BE49-F238E27FC236}">
                  <a16:creationId xmlns:a16="http://schemas.microsoft.com/office/drawing/2014/main" id="{4C2AC949-C50A-420B-B59D-1649F44F86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61038" y="5257800"/>
              <a:ext cx="41275" cy="68262"/>
            </a:xfrm>
            <a:prstGeom prst="rect">
              <a:avLst/>
            </a:prstGeom>
            <a:solidFill>
              <a:srgbClr val="7479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Freeform 118">
              <a:extLst>
                <a:ext uri="{FF2B5EF4-FFF2-40B4-BE49-F238E27FC236}">
                  <a16:creationId xmlns:a16="http://schemas.microsoft.com/office/drawing/2014/main" id="{EC2F27D4-4DE6-4C10-A081-024A6C1876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14975" y="4845050"/>
              <a:ext cx="412750" cy="587375"/>
            </a:xfrm>
            <a:custGeom>
              <a:avLst/>
              <a:gdLst>
                <a:gd name="T0" fmla="*/ 130 w 260"/>
                <a:gd name="T1" fmla="*/ 0 h 370"/>
                <a:gd name="T2" fmla="*/ 0 w 260"/>
                <a:gd name="T3" fmla="*/ 106 h 370"/>
                <a:gd name="T4" fmla="*/ 0 w 260"/>
                <a:gd name="T5" fmla="*/ 238 h 370"/>
                <a:gd name="T6" fmla="*/ 0 w 260"/>
                <a:gd name="T7" fmla="*/ 370 h 370"/>
                <a:gd name="T8" fmla="*/ 130 w 260"/>
                <a:gd name="T9" fmla="*/ 370 h 370"/>
                <a:gd name="T10" fmla="*/ 260 w 260"/>
                <a:gd name="T11" fmla="*/ 370 h 370"/>
                <a:gd name="T12" fmla="*/ 260 w 260"/>
                <a:gd name="T13" fmla="*/ 238 h 370"/>
                <a:gd name="T14" fmla="*/ 260 w 260"/>
                <a:gd name="T15" fmla="*/ 106 h 370"/>
                <a:gd name="T16" fmla="*/ 130 w 260"/>
                <a:gd name="T17" fmla="*/ 0 h 370"/>
                <a:gd name="T18" fmla="*/ 26 w 260"/>
                <a:gd name="T19" fmla="*/ 122 h 370"/>
                <a:gd name="T20" fmla="*/ 116 w 260"/>
                <a:gd name="T21" fmla="*/ 50 h 370"/>
                <a:gd name="T22" fmla="*/ 116 w 260"/>
                <a:gd name="T23" fmla="*/ 137 h 370"/>
                <a:gd name="T24" fmla="*/ 26 w 260"/>
                <a:gd name="T25" fmla="*/ 209 h 370"/>
                <a:gd name="T26" fmla="*/ 26 w 260"/>
                <a:gd name="T27" fmla="*/ 122 h 370"/>
                <a:gd name="T28" fmla="*/ 233 w 260"/>
                <a:gd name="T29" fmla="*/ 344 h 370"/>
                <a:gd name="T30" fmla="*/ 130 w 260"/>
                <a:gd name="T31" fmla="*/ 344 h 370"/>
                <a:gd name="T32" fmla="*/ 26 w 260"/>
                <a:gd name="T33" fmla="*/ 344 h 370"/>
                <a:gd name="T34" fmla="*/ 26 w 260"/>
                <a:gd name="T35" fmla="*/ 242 h 370"/>
                <a:gd name="T36" fmla="*/ 130 w 260"/>
                <a:gd name="T37" fmla="*/ 161 h 370"/>
                <a:gd name="T38" fmla="*/ 233 w 260"/>
                <a:gd name="T39" fmla="*/ 242 h 370"/>
                <a:gd name="T40" fmla="*/ 233 w 260"/>
                <a:gd name="T41" fmla="*/ 344 h 370"/>
                <a:gd name="T42" fmla="*/ 233 w 260"/>
                <a:gd name="T43" fmla="*/ 209 h 370"/>
                <a:gd name="T44" fmla="*/ 143 w 260"/>
                <a:gd name="T45" fmla="*/ 136 h 370"/>
                <a:gd name="T46" fmla="*/ 143 w 260"/>
                <a:gd name="T47" fmla="*/ 49 h 370"/>
                <a:gd name="T48" fmla="*/ 233 w 260"/>
                <a:gd name="T49" fmla="*/ 123 h 370"/>
                <a:gd name="T50" fmla="*/ 233 w 260"/>
                <a:gd name="T51" fmla="*/ 209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0" h="370">
                  <a:moveTo>
                    <a:pt x="130" y="0"/>
                  </a:moveTo>
                  <a:lnTo>
                    <a:pt x="0" y="106"/>
                  </a:lnTo>
                  <a:lnTo>
                    <a:pt x="0" y="238"/>
                  </a:lnTo>
                  <a:lnTo>
                    <a:pt x="0" y="370"/>
                  </a:lnTo>
                  <a:lnTo>
                    <a:pt x="130" y="370"/>
                  </a:lnTo>
                  <a:lnTo>
                    <a:pt x="260" y="370"/>
                  </a:lnTo>
                  <a:lnTo>
                    <a:pt x="260" y="238"/>
                  </a:lnTo>
                  <a:lnTo>
                    <a:pt x="260" y="106"/>
                  </a:lnTo>
                  <a:lnTo>
                    <a:pt x="130" y="0"/>
                  </a:lnTo>
                  <a:close/>
                  <a:moveTo>
                    <a:pt x="26" y="122"/>
                  </a:moveTo>
                  <a:lnTo>
                    <a:pt x="116" y="50"/>
                  </a:lnTo>
                  <a:lnTo>
                    <a:pt x="116" y="137"/>
                  </a:lnTo>
                  <a:lnTo>
                    <a:pt x="26" y="209"/>
                  </a:lnTo>
                  <a:lnTo>
                    <a:pt x="26" y="122"/>
                  </a:lnTo>
                  <a:close/>
                  <a:moveTo>
                    <a:pt x="233" y="344"/>
                  </a:moveTo>
                  <a:lnTo>
                    <a:pt x="130" y="344"/>
                  </a:lnTo>
                  <a:lnTo>
                    <a:pt x="26" y="344"/>
                  </a:lnTo>
                  <a:lnTo>
                    <a:pt x="26" y="242"/>
                  </a:lnTo>
                  <a:lnTo>
                    <a:pt x="130" y="161"/>
                  </a:lnTo>
                  <a:lnTo>
                    <a:pt x="233" y="242"/>
                  </a:lnTo>
                  <a:lnTo>
                    <a:pt x="233" y="344"/>
                  </a:lnTo>
                  <a:close/>
                  <a:moveTo>
                    <a:pt x="233" y="209"/>
                  </a:moveTo>
                  <a:lnTo>
                    <a:pt x="143" y="136"/>
                  </a:lnTo>
                  <a:lnTo>
                    <a:pt x="143" y="49"/>
                  </a:lnTo>
                  <a:lnTo>
                    <a:pt x="233" y="123"/>
                  </a:lnTo>
                  <a:lnTo>
                    <a:pt x="233" y="209"/>
                  </a:lnTo>
                  <a:close/>
                </a:path>
              </a:pathLst>
            </a:custGeom>
            <a:solidFill>
              <a:srgbClr val="7479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Freeform 119">
              <a:extLst>
                <a:ext uri="{FF2B5EF4-FFF2-40B4-BE49-F238E27FC236}">
                  <a16:creationId xmlns:a16="http://schemas.microsoft.com/office/drawing/2014/main" id="{517B452D-4CC1-439B-A0BC-1414F9571F1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8688" y="5091113"/>
              <a:ext cx="93663" cy="123825"/>
            </a:xfrm>
            <a:custGeom>
              <a:avLst/>
              <a:gdLst>
                <a:gd name="T0" fmla="*/ 58 w 59"/>
                <a:gd name="T1" fmla="*/ 14 h 78"/>
                <a:gd name="T2" fmla="*/ 16 w 59"/>
                <a:gd name="T3" fmla="*/ 14 h 78"/>
                <a:gd name="T4" fmla="*/ 16 w 59"/>
                <a:gd name="T5" fmla="*/ 30 h 78"/>
                <a:gd name="T6" fmla="*/ 54 w 59"/>
                <a:gd name="T7" fmla="*/ 30 h 78"/>
                <a:gd name="T8" fmla="*/ 54 w 59"/>
                <a:gd name="T9" fmla="*/ 44 h 78"/>
                <a:gd name="T10" fmla="*/ 16 w 59"/>
                <a:gd name="T11" fmla="*/ 44 h 78"/>
                <a:gd name="T12" fmla="*/ 16 w 59"/>
                <a:gd name="T13" fmla="*/ 65 h 78"/>
                <a:gd name="T14" fmla="*/ 59 w 59"/>
                <a:gd name="T15" fmla="*/ 65 h 78"/>
                <a:gd name="T16" fmla="*/ 59 w 59"/>
                <a:gd name="T17" fmla="*/ 78 h 78"/>
                <a:gd name="T18" fmla="*/ 0 w 59"/>
                <a:gd name="T19" fmla="*/ 78 h 78"/>
                <a:gd name="T20" fmla="*/ 0 w 59"/>
                <a:gd name="T21" fmla="*/ 0 h 78"/>
                <a:gd name="T22" fmla="*/ 58 w 59"/>
                <a:gd name="T23" fmla="*/ 0 h 78"/>
                <a:gd name="T24" fmla="*/ 58 w 59"/>
                <a:gd name="T25" fmla="*/ 14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9" h="78">
                  <a:moveTo>
                    <a:pt x="58" y="14"/>
                  </a:moveTo>
                  <a:lnTo>
                    <a:pt x="16" y="14"/>
                  </a:lnTo>
                  <a:lnTo>
                    <a:pt x="16" y="30"/>
                  </a:lnTo>
                  <a:lnTo>
                    <a:pt x="54" y="30"/>
                  </a:lnTo>
                  <a:lnTo>
                    <a:pt x="54" y="44"/>
                  </a:lnTo>
                  <a:lnTo>
                    <a:pt x="16" y="44"/>
                  </a:lnTo>
                  <a:lnTo>
                    <a:pt x="16" y="65"/>
                  </a:lnTo>
                  <a:lnTo>
                    <a:pt x="59" y="65"/>
                  </a:lnTo>
                  <a:lnTo>
                    <a:pt x="59" y="78"/>
                  </a:lnTo>
                  <a:lnTo>
                    <a:pt x="0" y="78"/>
                  </a:lnTo>
                  <a:lnTo>
                    <a:pt x="0" y="0"/>
                  </a:lnTo>
                  <a:lnTo>
                    <a:pt x="58" y="0"/>
                  </a:lnTo>
                  <a:lnTo>
                    <a:pt x="58" y="14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Freeform 120">
              <a:extLst>
                <a:ext uri="{FF2B5EF4-FFF2-40B4-BE49-F238E27FC236}">
                  <a16:creationId xmlns:a16="http://schemas.microsoft.com/office/drawing/2014/main" id="{F8E9BB5D-B5C7-48F0-B3BE-17A883B2C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2988" y="5121275"/>
              <a:ext cx="82550" cy="93662"/>
            </a:xfrm>
            <a:custGeom>
              <a:avLst/>
              <a:gdLst>
                <a:gd name="T0" fmla="*/ 244 w 244"/>
                <a:gd name="T1" fmla="*/ 277 h 277"/>
                <a:gd name="T2" fmla="*/ 173 w 244"/>
                <a:gd name="T3" fmla="*/ 277 h 277"/>
                <a:gd name="T4" fmla="*/ 173 w 244"/>
                <a:gd name="T5" fmla="*/ 113 h 277"/>
                <a:gd name="T6" fmla="*/ 127 w 244"/>
                <a:gd name="T7" fmla="*/ 60 h 277"/>
                <a:gd name="T8" fmla="*/ 71 w 244"/>
                <a:gd name="T9" fmla="*/ 122 h 277"/>
                <a:gd name="T10" fmla="*/ 71 w 244"/>
                <a:gd name="T11" fmla="*/ 277 h 277"/>
                <a:gd name="T12" fmla="*/ 0 w 244"/>
                <a:gd name="T13" fmla="*/ 277 h 277"/>
                <a:gd name="T14" fmla="*/ 0 w 244"/>
                <a:gd name="T15" fmla="*/ 7 h 277"/>
                <a:gd name="T16" fmla="*/ 68 w 244"/>
                <a:gd name="T17" fmla="*/ 7 h 277"/>
                <a:gd name="T18" fmla="*/ 68 w 244"/>
                <a:gd name="T19" fmla="*/ 46 h 277"/>
                <a:gd name="T20" fmla="*/ 69 w 244"/>
                <a:gd name="T21" fmla="*/ 46 h 277"/>
                <a:gd name="T22" fmla="*/ 150 w 244"/>
                <a:gd name="T23" fmla="*/ 0 h 277"/>
                <a:gd name="T24" fmla="*/ 244 w 244"/>
                <a:gd name="T25" fmla="*/ 90 h 277"/>
                <a:gd name="T26" fmla="*/ 244 w 244"/>
                <a:gd name="T27" fmla="*/ 27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4" h="277">
                  <a:moveTo>
                    <a:pt x="244" y="277"/>
                  </a:moveTo>
                  <a:cubicBezTo>
                    <a:pt x="173" y="277"/>
                    <a:pt x="173" y="277"/>
                    <a:pt x="173" y="277"/>
                  </a:cubicBezTo>
                  <a:cubicBezTo>
                    <a:pt x="173" y="113"/>
                    <a:pt x="173" y="113"/>
                    <a:pt x="173" y="113"/>
                  </a:cubicBezTo>
                  <a:cubicBezTo>
                    <a:pt x="173" y="93"/>
                    <a:pt x="172" y="60"/>
                    <a:pt x="127" y="60"/>
                  </a:cubicBezTo>
                  <a:cubicBezTo>
                    <a:pt x="95" y="60"/>
                    <a:pt x="71" y="81"/>
                    <a:pt x="71" y="122"/>
                  </a:cubicBezTo>
                  <a:cubicBezTo>
                    <a:pt x="71" y="277"/>
                    <a:pt x="71" y="277"/>
                    <a:pt x="71" y="277"/>
                  </a:cubicBezTo>
                  <a:cubicBezTo>
                    <a:pt x="0" y="277"/>
                    <a:pt x="0" y="277"/>
                    <a:pt x="0" y="27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68" y="7"/>
                    <a:pt x="68" y="7"/>
                    <a:pt x="68" y="7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9" y="46"/>
                    <a:pt x="69" y="46"/>
                    <a:pt x="69" y="46"/>
                  </a:cubicBezTo>
                  <a:cubicBezTo>
                    <a:pt x="78" y="30"/>
                    <a:pt x="99" y="0"/>
                    <a:pt x="150" y="0"/>
                  </a:cubicBezTo>
                  <a:cubicBezTo>
                    <a:pt x="203" y="0"/>
                    <a:pt x="244" y="31"/>
                    <a:pt x="244" y="90"/>
                  </a:cubicBezTo>
                  <a:lnTo>
                    <a:pt x="244" y="277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Freeform 121">
              <a:extLst>
                <a:ext uri="{FF2B5EF4-FFF2-40B4-BE49-F238E27FC236}">
                  <a16:creationId xmlns:a16="http://schemas.microsoft.com/office/drawing/2014/main" id="{65202967-C6A4-41E5-9A99-A0F027964F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23000" y="5121275"/>
              <a:ext cx="87313" cy="96837"/>
            </a:xfrm>
            <a:custGeom>
              <a:avLst/>
              <a:gdLst>
                <a:gd name="T0" fmla="*/ 73 w 257"/>
                <a:gd name="T1" fmla="*/ 115 h 285"/>
                <a:gd name="T2" fmla="*/ 129 w 257"/>
                <a:gd name="T3" fmla="*/ 58 h 285"/>
                <a:gd name="T4" fmla="*/ 184 w 257"/>
                <a:gd name="T5" fmla="*/ 115 h 285"/>
                <a:gd name="T6" fmla="*/ 73 w 257"/>
                <a:gd name="T7" fmla="*/ 115 h 285"/>
                <a:gd name="T8" fmla="*/ 181 w 257"/>
                <a:gd name="T9" fmla="*/ 198 h 285"/>
                <a:gd name="T10" fmla="*/ 135 w 257"/>
                <a:gd name="T11" fmla="*/ 228 h 285"/>
                <a:gd name="T12" fmla="*/ 71 w 257"/>
                <a:gd name="T13" fmla="*/ 161 h 285"/>
                <a:gd name="T14" fmla="*/ 257 w 257"/>
                <a:gd name="T15" fmla="*/ 161 h 285"/>
                <a:gd name="T16" fmla="*/ 257 w 257"/>
                <a:gd name="T17" fmla="*/ 149 h 285"/>
                <a:gd name="T18" fmla="*/ 130 w 257"/>
                <a:gd name="T19" fmla="*/ 0 h 285"/>
                <a:gd name="T20" fmla="*/ 0 w 257"/>
                <a:gd name="T21" fmla="*/ 136 h 285"/>
                <a:gd name="T22" fmla="*/ 135 w 257"/>
                <a:gd name="T23" fmla="*/ 285 h 285"/>
                <a:gd name="T24" fmla="*/ 254 w 257"/>
                <a:gd name="T25" fmla="*/ 198 h 285"/>
                <a:gd name="T26" fmla="*/ 181 w 257"/>
                <a:gd name="T27" fmla="*/ 198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7" h="285">
                  <a:moveTo>
                    <a:pt x="73" y="115"/>
                  </a:moveTo>
                  <a:cubicBezTo>
                    <a:pt x="77" y="79"/>
                    <a:pt x="95" y="58"/>
                    <a:pt x="129" y="58"/>
                  </a:cubicBezTo>
                  <a:cubicBezTo>
                    <a:pt x="152" y="58"/>
                    <a:pt x="180" y="71"/>
                    <a:pt x="184" y="115"/>
                  </a:cubicBezTo>
                  <a:lnTo>
                    <a:pt x="73" y="115"/>
                  </a:lnTo>
                  <a:close/>
                  <a:moveTo>
                    <a:pt x="181" y="198"/>
                  </a:moveTo>
                  <a:cubicBezTo>
                    <a:pt x="175" y="217"/>
                    <a:pt x="155" y="228"/>
                    <a:pt x="135" y="228"/>
                  </a:cubicBezTo>
                  <a:cubicBezTo>
                    <a:pt x="77" y="228"/>
                    <a:pt x="73" y="182"/>
                    <a:pt x="71" y="161"/>
                  </a:cubicBezTo>
                  <a:cubicBezTo>
                    <a:pt x="257" y="161"/>
                    <a:pt x="257" y="161"/>
                    <a:pt x="257" y="161"/>
                  </a:cubicBezTo>
                  <a:cubicBezTo>
                    <a:pt x="257" y="149"/>
                    <a:pt x="257" y="149"/>
                    <a:pt x="257" y="149"/>
                  </a:cubicBezTo>
                  <a:cubicBezTo>
                    <a:pt x="257" y="25"/>
                    <a:pt x="183" y="0"/>
                    <a:pt x="130" y="0"/>
                  </a:cubicBezTo>
                  <a:cubicBezTo>
                    <a:pt x="11" y="0"/>
                    <a:pt x="0" y="104"/>
                    <a:pt x="0" y="136"/>
                  </a:cubicBezTo>
                  <a:cubicBezTo>
                    <a:pt x="0" y="248"/>
                    <a:pt x="59" y="285"/>
                    <a:pt x="135" y="285"/>
                  </a:cubicBezTo>
                  <a:cubicBezTo>
                    <a:pt x="181" y="285"/>
                    <a:pt x="235" y="263"/>
                    <a:pt x="254" y="198"/>
                  </a:cubicBezTo>
                  <a:lnTo>
                    <a:pt x="181" y="198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Freeform 122">
              <a:extLst>
                <a:ext uri="{FF2B5EF4-FFF2-40B4-BE49-F238E27FC236}">
                  <a16:creationId xmlns:a16="http://schemas.microsoft.com/office/drawing/2014/main" id="{1C6B885A-25F6-4816-A219-BBC735AF5D0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7775" y="5121275"/>
              <a:ext cx="131763" cy="93662"/>
            </a:xfrm>
            <a:custGeom>
              <a:avLst/>
              <a:gdLst>
                <a:gd name="T0" fmla="*/ 388 w 388"/>
                <a:gd name="T1" fmla="*/ 277 h 277"/>
                <a:gd name="T2" fmla="*/ 316 w 388"/>
                <a:gd name="T3" fmla="*/ 277 h 277"/>
                <a:gd name="T4" fmla="*/ 316 w 388"/>
                <a:gd name="T5" fmla="*/ 113 h 277"/>
                <a:gd name="T6" fmla="*/ 278 w 388"/>
                <a:gd name="T7" fmla="*/ 60 h 277"/>
                <a:gd name="T8" fmla="*/ 229 w 388"/>
                <a:gd name="T9" fmla="*/ 115 h 277"/>
                <a:gd name="T10" fmla="*/ 229 w 388"/>
                <a:gd name="T11" fmla="*/ 277 h 277"/>
                <a:gd name="T12" fmla="*/ 158 w 388"/>
                <a:gd name="T13" fmla="*/ 277 h 277"/>
                <a:gd name="T14" fmla="*/ 158 w 388"/>
                <a:gd name="T15" fmla="*/ 115 h 277"/>
                <a:gd name="T16" fmla="*/ 115 w 388"/>
                <a:gd name="T17" fmla="*/ 60 h 277"/>
                <a:gd name="T18" fmla="*/ 71 w 388"/>
                <a:gd name="T19" fmla="*/ 113 h 277"/>
                <a:gd name="T20" fmla="*/ 71 w 388"/>
                <a:gd name="T21" fmla="*/ 277 h 277"/>
                <a:gd name="T22" fmla="*/ 0 w 388"/>
                <a:gd name="T23" fmla="*/ 277 h 277"/>
                <a:gd name="T24" fmla="*/ 0 w 388"/>
                <a:gd name="T25" fmla="*/ 7 h 277"/>
                <a:gd name="T26" fmla="*/ 68 w 388"/>
                <a:gd name="T27" fmla="*/ 7 h 277"/>
                <a:gd name="T28" fmla="*/ 68 w 388"/>
                <a:gd name="T29" fmla="*/ 46 h 277"/>
                <a:gd name="T30" fmla="*/ 69 w 388"/>
                <a:gd name="T31" fmla="*/ 46 h 277"/>
                <a:gd name="T32" fmla="*/ 146 w 388"/>
                <a:gd name="T33" fmla="*/ 0 h 277"/>
                <a:gd name="T34" fmla="*/ 221 w 388"/>
                <a:gd name="T35" fmla="*/ 43 h 277"/>
                <a:gd name="T36" fmla="*/ 294 w 388"/>
                <a:gd name="T37" fmla="*/ 0 h 277"/>
                <a:gd name="T38" fmla="*/ 388 w 388"/>
                <a:gd name="T39" fmla="*/ 90 h 277"/>
                <a:gd name="T40" fmla="*/ 388 w 388"/>
                <a:gd name="T41" fmla="*/ 27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8" h="277">
                  <a:moveTo>
                    <a:pt x="388" y="277"/>
                  </a:moveTo>
                  <a:cubicBezTo>
                    <a:pt x="316" y="277"/>
                    <a:pt x="316" y="277"/>
                    <a:pt x="316" y="277"/>
                  </a:cubicBezTo>
                  <a:cubicBezTo>
                    <a:pt x="316" y="113"/>
                    <a:pt x="316" y="113"/>
                    <a:pt x="316" y="113"/>
                  </a:cubicBezTo>
                  <a:cubicBezTo>
                    <a:pt x="316" y="73"/>
                    <a:pt x="299" y="60"/>
                    <a:pt x="278" y="60"/>
                  </a:cubicBezTo>
                  <a:cubicBezTo>
                    <a:pt x="242" y="60"/>
                    <a:pt x="229" y="83"/>
                    <a:pt x="229" y="115"/>
                  </a:cubicBezTo>
                  <a:cubicBezTo>
                    <a:pt x="229" y="277"/>
                    <a:pt x="229" y="277"/>
                    <a:pt x="229" y="277"/>
                  </a:cubicBezTo>
                  <a:cubicBezTo>
                    <a:pt x="158" y="277"/>
                    <a:pt x="158" y="277"/>
                    <a:pt x="158" y="277"/>
                  </a:cubicBezTo>
                  <a:cubicBezTo>
                    <a:pt x="158" y="115"/>
                    <a:pt x="158" y="115"/>
                    <a:pt x="158" y="115"/>
                  </a:cubicBezTo>
                  <a:cubicBezTo>
                    <a:pt x="158" y="92"/>
                    <a:pt x="158" y="60"/>
                    <a:pt x="115" y="60"/>
                  </a:cubicBezTo>
                  <a:cubicBezTo>
                    <a:pt x="82" y="60"/>
                    <a:pt x="71" y="83"/>
                    <a:pt x="71" y="113"/>
                  </a:cubicBezTo>
                  <a:cubicBezTo>
                    <a:pt x="71" y="277"/>
                    <a:pt x="71" y="277"/>
                    <a:pt x="71" y="277"/>
                  </a:cubicBezTo>
                  <a:cubicBezTo>
                    <a:pt x="0" y="277"/>
                    <a:pt x="0" y="277"/>
                    <a:pt x="0" y="27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68" y="7"/>
                    <a:pt x="68" y="7"/>
                    <a:pt x="68" y="7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9" y="46"/>
                    <a:pt x="69" y="46"/>
                    <a:pt x="69" y="46"/>
                  </a:cubicBezTo>
                  <a:cubicBezTo>
                    <a:pt x="78" y="29"/>
                    <a:pt x="98" y="0"/>
                    <a:pt x="146" y="0"/>
                  </a:cubicBezTo>
                  <a:cubicBezTo>
                    <a:pt x="185" y="0"/>
                    <a:pt x="203" y="14"/>
                    <a:pt x="221" y="43"/>
                  </a:cubicBezTo>
                  <a:cubicBezTo>
                    <a:pt x="230" y="30"/>
                    <a:pt x="250" y="0"/>
                    <a:pt x="294" y="0"/>
                  </a:cubicBezTo>
                  <a:cubicBezTo>
                    <a:pt x="346" y="0"/>
                    <a:pt x="388" y="31"/>
                    <a:pt x="388" y="90"/>
                  </a:cubicBezTo>
                  <a:lnTo>
                    <a:pt x="388" y="277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Freeform 123">
              <a:extLst>
                <a:ext uri="{FF2B5EF4-FFF2-40B4-BE49-F238E27FC236}">
                  <a16:creationId xmlns:a16="http://schemas.microsoft.com/office/drawing/2014/main" id="{424E8BEE-EEFD-460F-989E-7A3F0EEF47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77000" y="5121275"/>
              <a:ext cx="144463" cy="96837"/>
            </a:xfrm>
            <a:custGeom>
              <a:avLst/>
              <a:gdLst>
                <a:gd name="T0" fmla="*/ 170 w 422"/>
                <a:gd name="T1" fmla="*/ 182 h 286"/>
                <a:gd name="T2" fmla="*/ 111 w 422"/>
                <a:gd name="T3" fmla="*/ 234 h 286"/>
                <a:gd name="T4" fmla="*/ 71 w 422"/>
                <a:gd name="T5" fmla="*/ 202 h 286"/>
                <a:gd name="T6" fmla="*/ 117 w 422"/>
                <a:gd name="T7" fmla="*/ 163 h 286"/>
                <a:gd name="T8" fmla="*/ 170 w 422"/>
                <a:gd name="T9" fmla="*/ 148 h 286"/>
                <a:gd name="T10" fmla="*/ 170 w 422"/>
                <a:gd name="T11" fmla="*/ 182 h 286"/>
                <a:gd name="T12" fmla="*/ 345 w 422"/>
                <a:gd name="T13" fmla="*/ 198 h 286"/>
                <a:gd name="T14" fmla="*/ 300 w 422"/>
                <a:gd name="T15" fmla="*/ 228 h 286"/>
                <a:gd name="T16" fmla="*/ 236 w 422"/>
                <a:gd name="T17" fmla="*/ 161 h 286"/>
                <a:gd name="T18" fmla="*/ 422 w 422"/>
                <a:gd name="T19" fmla="*/ 161 h 286"/>
                <a:gd name="T20" fmla="*/ 422 w 422"/>
                <a:gd name="T21" fmla="*/ 149 h 286"/>
                <a:gd name="T22" fmla="*/ 295 w 422"/>
                <a:gd name="T23" fmla="*/ 0 h 286"/>
                <a:gd name="T24" fmla="*/ 215 w 422"/>
                <a:gd name="T25" fmla="*/ 30 h 286"/>
                <a:gd name="T26" fmla="*/ 132 w 422"/>
                <a:gd name="T27" fmla="*/ 0 h 286"/>
                <a:gd name="T28" fmla="*/ 10 w 422"/>
                <a:gd name="T29" fmla="*/ 95 h 286"/>
                <a:gd name="T30" fmla="*/ 79 w 422"/>
                <a:gd name="T31" fmla="*/ 95 h 286"/>
                <a:gd name="T32" fmla="*/ 122 w 422"/>
                <a:gd name="T33" fmla="*/ 57 h 286"/>
                <a:gd name="T34" fmla="*/ 172 w 422"/>
                <a:gd name="T35" fmla="*/ 87 h 286"/>
                <a:gd name="T36" fmla="*/ 135 w 422"/>
                <a:gd name="T37" fmla="*/ 113 h 286"/>
                <a:gd name="T38" fmla="*/ 69 w 422"/>
                <a:gd name="T39" fmla="*/ 124 h 286"/>
                <a:gd name="T40" fmla="*/ 0 w 422"/>
                <a:gd name="T41" fmla="*/ 202 h 286"/>
                <a:gd name="T42" fmla="*/ 96 w 422"/>
                <a:gd name="T43" fmla="*/ 285 h 286"/>
                <a:gd name="T44" fmla="*/ 198 w 422"/>
                <a:gd name="T45" fmla="*/ 241 h 286"/>
                <a:gd name="T46" fmla="*/ 300 w 422"/>
                <a:gd name="T47" fmla="*/ 285 h 286"/>
                <a:gd name="T48" fmla="*/ 419 w 422"/>
                <a:gd name="T49" fmla="*/ 198 h 286"/>
                <a:gd name="T50" fmla="*/ 345 w 422"/>
                <a:gd name="T51" fmla="*/ 198 h 286"/>
                <a:gd name="T52" fmla="*/ 238 w 422"/>
                <a:gd name="T53" fmla="*/ 115 h 286"/>
                <a:gd name="T54" fmla="*/ 294 w 422"/>
                <a:gd name="T55" fmla="*/ 58 h 286"/>
                <a:gd name="T56" fmla="*/ 349 w 422"/>
                <a:gd name="T57" fmla="*/ 115 h 286"/>
                <a:gd name="T58" fmla="*/ 238 w 422"/>
                <a:gd name="T59" fmla="*/ 115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22" h="286">
                  <a:moveTo>
                    <a:pt x="170" y="182"/>
                  </a:moveTo>
                  <a:cubicBezTo>
                    <a:pt x="170" y="211"/>
                    <a:pt x="139" y="234"/>
                    <a:pt x="111" y="234"/>
                  </a:cubicBezTo>
                  <a:cubicBezTo>
                    <a:pt x="87" y="234"/>
                    <a:pt x="71" y="223"/>
                    <a:pt x="71" y="202"/>
                  </a:cubicBezTo>
                  <a:cubicBezTo>
                    <a:pt x="71" y="172"/>
                    <a:pt x="89" y="167"/>
                    <a:pt x="117" y="163"/>
                  </a:cubicBezTo>
                  <a:cubicBezTo>
                    <a:pt x="156" y="157"/>
                    <a:pt x="164" y="153"/>
                    <a:pt x="170" y="148"/>
                  </a:cubicBezTo>
                  <a:lnTo>
                    <a:pt x="170" y="182"/>
                  </a:lnTo>
                  <a:close/>
                  <a:moveTo>
                    <a:pt x="345" y="198"/>
                  </a:moveTo>
                  <a:cubicBezTo>
                    <a:pt x="340" y="217"/>
                    <a:pt x="319" y="228"/>
                    <a:pt x="300" y="228"/>
                  </a:cubicBezTo>
                  <a:cubicBezTo>
                    <a:pt x="242" y="228"/>
                    <a:pt x="238" y="182"/>
                    <a:pt x="236" y="161"/>
                  </a:cubicBezTo>
                  <a:cubicBezTo>
                    <a:pt x="422" y="161"/>
                    <a:pt x="422" y="161"/>
                    <a:pt x="422" y="161"/>
                  </a:cubicBezTo>
                  <a:cubicBezTo>
                    <a:pt x="422" y="149"/>
                    <a:pt x="422" y="149"/>
                    <a:pt x="422" y="149"/>
                  </a:cubicBezTo>
                  <a:cubicBezTo>
                    <a:pt x="422" y="25"/>
                    <a:pt x="348" y="0"/>
                    <a:pt x="295" y="0"/>
                  </a:cubicBezTo>
                  <a:cubicBezTo>
                    <a:pt x="252" y="1"/>
                    <a:pt x="231" y="17"/>
                    <a:pt x="215" y="30"/>
                  </a:cubicBezTo>
                  <a:cubicBezTo>
                    <a:pt x="202" y="18"/>
                    <a:pt x="175" y="0"/>
                    <a:pt x="132" y="0"/>
                  </a:cubicBezTo>
                  <a:cubicBezTo>
                    <a:pt x="77" y="0"/>
                    <a:pt x="16" y="15"/>
                    <a:pt x="10" y="95"/>
                  </a:cubicBezTo>
                  <a:cubicBezTo>
                    <a:pt x="79" y="95"/>
                    <a:pt x="79" y="95"/>
                    <a:pt x="79" y="95"/>
                  </a:cubicBezTo>
                  <a:cubicBezTo>
                    <a:pt x="79" y="83"/>
                    <a:pt x="83" y="57"/>
                    <a:pt x="122" y="57"/>
                  </a:cubicBezTo>
                  <a:cubicBezTo>
                    <a:pt x="172" y="57"/>
                    <a:pt x="172" y="76"/>
                    <a:pt x="172" y="87"/>
                  </a:cubicBezTo>
                  <a:cubicBezTo>
                    <a:pt x="172" y="104"/>
                    <a:pt x="168" y="107"/>
                    <a:pt x="135" y="113"/>
                  </a:cubicBezTo>
                  <a:cubicBezTo>
                    <a:pt x="69" y="124"/>
                    <a:pt x="69" y="124"/>
                    <a:pt x="69" y="124"/>
                  </a:cubicBezTo>
                  <a:cubicBezTo>
                    <a:pt x="16" y="133"/>
                    <a:pt x="0" y="169"/>
                    <a:pt x="0" y="202"/>
                  </a:cubicBezTo>
                  <a:cubicBezTo>
                    <a:pt x="0" y="273"/>
                    <a:pt x="57" y="285"/>
                    <a:pt x="96" y="285"/>
                  </a:cubicBezTo>
                  <a:cubicBezTo>
                    <a:pt x="141" y="285"/>
                    <a:pt x="181" y="268"/>
                    <a:pt x="198" y="241"/>
                  </a:cubicBezTo>
                  <a:cubicBezTo>
                    <a:pt x="214" y="260"/>
                    <a:pt x="234" y="286"/>
                    <a:pt x="300" y="285"/>
                  </a:cubicBezTo>
                  <a:cubicBezTo>
                    <a:pt x="346" y="285"/>
                    <a:pt x="400" y="263"/>
                    <a:pt x="419" y="198"/>
                  </a:cubicBezTo>
                  <a:lnTo>
                    <a:pt x="345" y="198"/>
                  </a:lnTo>
                  <a:close/>
                  <a:moveTo>
                    <a:pt x="238" y="115"/>
                  </a:moveTo>
                  <a:cubicBezTo>
                    <a:pt x="242" y="79"/>
                    <a:pt x="260" y="58"/>
                    <a:pt x="294" y="58"/>
                  </a:cubicBezTo>
                  <a:cubicBezTo>
                    <a:pt x="316" y="58"/>
                    <a:pt x="344" y="71"/>
                    <a:pt x="349" y="115"/>
                  </a:cubicBezTo>
                  <a:lnTo>
                    <a:pt x="238" y="115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Freeform 124">
              <a:extLst>
                <a:ext uri="{FF2B5EF4-FFF2-40B4-BE49-F238E27FC236}">
                  <a16:creationId xmlns:a16="http://schemas.microsoft.com/office/drawing/2014/main" id="{1C12F9E6-DC38-4168-A0E1-E65B187BC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7338" y="5121275"/>
              <a:ext cx="53975" cy="93662"/>
            </a:xfrm>
            <a:custGeom>
              <a:avLst/>
              <a:gdLst>
                <a:gd name="T0" fmla="*/ 0 w 158"/>
                <a:gd name="T1" fmla="*/ 7 h 277"/>
                <a:gd name="T2" fmla="*/ 69 w 158"/>
                <a:gd name="T3" fmla="*/ 7 h 277"/>
                <a:gd name="T4" fmla="*/ 69 w 158"/>
                <a:gd name="T5" fmla="*/ 54 h 277"/>
                <a:gd name="T6" fmla="*/ 70 w 158"/>
                <a:gd name="T7" fmla="*/ 54 h 277"/>
                <a:gd name="T8" fmla="*/ 144 w 158"/>
                <a:gd name="T9" fmla="*/ 0 h 277"/>
                <a:gd name="T10" fmla="*/ 158 w 158"/>
                <a:gd name="T11" fmla="*/ 1 h 277"/>
                <a:gd name="T12" fmla="*/ 158 w 158"/>
                <a:gd name="T13" fmla="*/ 73 h 277"/>
                <a:gd name="T14" fmla="*/ 137 w 158"/>
                <a:gd name="T15" fmla="*/ 72 h 277"/>
                <a:gd name="T16" fmla="*/ 72 w 158"/>
                <a:gd name="T17" fmla="*/ 136 h 277"/>
                <a:gd name="T18" fmla="*/ 72 w 158"/>
                <a:gd name="T19" fmla="*/ 277 h 277"/>
                <a:gd name="T20" fmla="*/ 0 w 158"/>
                <a:gd name="T21" fmla="*/ 277 h 277"/>
                <a:gd name="T22" fmla="*/ 0 w 158"/>
                <a:gd name="T23" fmla="*/ 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8" h="277">
                  <a:moveTo>
                    <a:pt x="0" y="7"/>
                  </a:moveTo>
                  <a:cubicBezTo>
                    <a:pt x="69" y="7"/>
                    <a:pt x="69" y="7"/>
                    <a:pt x="69" y="7"/>
                  </a:cubicBezTo>
                  <a:cubicBezTo>
                    <a:pt x="69" y="54"/>
                    <a:pt x="69" y="54"/>
                    <a:pt x="69" y="54"/>
                  </a:cubicBezTo>
                  <a:cubicBezTo>
                    <a:pt x="70" y="54"/>
                    <a:pt x="70" y="54"/>
                    <a:pt x="70" y="54"/>
                  </a:cubicBezTo>
                  <a:cubicBezTo>
                    <a:pt x="84" y="26"/>
                    <a:pt x="101" y="0"/>
                    <a:pt x="144" y="0"/>
                  </a:cubicBezTo>
                  <a:cubicBezTo>
                    <a:pt x="148" y="0"/>
                    <a:pt x="153" y="0"/>
                    <a:pt x="158" y="1"/>
                  </a:cubicBezTo>
                  <a:cubicBezTo>
                    <a:pt x="158" y="73"/>
                    <a:pt x="158" y="73"/>
                    <a:pt x="158" y="73"/>
                  </a:cubicBezTo>
                  <a:cubicBezTo>
                    <a:pt x="152" y="72"/>
                    <a:pt x="144" y="72"/>
                    <a:pt x="137" y="72"/>
                  </a:cubicBezTo>
                  <a:cubicBezTo>
                    <a:pt x="82" y="72"/>
                    <a:pt x="72" y="106"/>
                    <a:pt x="72" y="136"/>
                  </a:cubicBezTo>
                  <a:cubicBezTo>
                    <a:pt x="72" y="277"/>
                    <a:pt x="72" y="277"/>
                    <a:pt x="72" y="277"/>
                  </a:cubicBezTo>
                  <a:cubicBezTo>
                    <a:pt x="0" y="277"/>
                    <a:pt x="0" y="277"/>
                    <a:pt x="0" y="277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4" name="Freeform 125">
              <a:extLst>
                <a:ext uri="{FF2B5EF4-FFF2-40B4-BE49-F238E27FC236}">
                  <a16:creationId xmlns:a16="http://schemas.microsoft.com/office/drawing/2014/main" id="{0D8E1710-47F5-45C5-9166-9FEF971558D6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7188" y="5091113"/>
              <a:ext cx="85725" cy="123825"/>
            </a:xfrm>
            <a:custGeom>
              <a:avLst/>
              <a:gdLst>
                <a:gd name="T0" fmla="*/ 16 w 54"/>
                <a:gd name="T1" fmla="*/ 78 h 78"/>
                <a:gd name="T2" fmla="*/ 0 w 54"/>
                <a:gd name="T3" fmla="*/ 78 h 78"/>
                <a:gd name="T4" fmla="*/ 0 w 54"/>
                <a:gd name="T5" fmla="*/ 0 h 78"/>
                <a:gd name="T6" fmla="*/ 16 w 54"/>
                <a:gd name="T7" fmla="*/ 0 h 78"/>
                <a:gd name="T8" fmla="*/ 16 w 54"/>
                <a:gd name="T9" fmla="*/ 42 h 78"/>
                <a:gd name="T10" fmla="*/ 35 w 54"/>
                <a:gd name="T11" fmla="*/ 20 h 78"/>
                <a:gd name="T12" fmla="*/ 54 w 54"/>
                <a:gd name="T13" fmla="*/ 20 h 78"/>
                <a:gd name="T14" fmla="*/ 33 w 54"/>
                <a:gd name="T15" fmla="*/ 43 h 78"/>
                <a:gd name="T16" fmla="*/ 54 w 54"/>
                <a:gd name="T17" fmla="*/ 78 h 78"/>
                <a:gd name="T18" fmla="*/ 36 w 54"/>
                <a:gd name="T19" fmla="*/ 78 h 78"/>
                <a:gd name="T20" fmla="*/ 22 w 54"/>
                <a:gd name="T21" fmla="*/ 53 h 78"/>
                <a:gd name="T22" fmla="*/ 16 w 54"/>
                <a:gd name="T23" fmla="*/ 60 h 78"/>
                <a:gd name="T24" fmla="*/ 16 w 5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4" h="78">
                  <a:moveTo>
                    <a:pt x="16" y="78"/>
                  </a:moveTo>
                  <a:lnTo>
                    <a:pt x="0" y="78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42"/>
                  </a:lnTo>
                  <a:lnTo>
                    <a:pt x="35" y="20"/>
                  </a:lnTo>
                  <a:lnTo>
                    <a:pt x="54" y="20"/>
                  </a:lnTo>
                  <a:lnTo>
                    <a:pt x="33" y="43"/>
                  </a:lnTo>
                  <a:lnTo>
                    <a:pt x="54" y="78"/>
                  </a:lnTo>
                  <a:lnTo>
                    <a:pt x="36" y="78"/>
                  </a:lnTo>
                  <a:lnTo>
                    <a:pt x="22" y="53"/>
                  </a:lnTo>
                  <a:lnTo>
                    <a:pt x="16" y="60"/>
                  </a:lnTo>
                  <a:lnTo>
                    <a:pt x="16" y="78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Freeform 126">
              <a:extLst>
                <a:ext uri="{FF2B5EF4-FFF2-40B4-BE49-F238E27FC236}">
                  <a16:creationId xmlns:a16="http://schemas.microsoft.com/office/drawing/2014/main" id="{455ED3C7-E8D2-49DC-B7F7-68FD84C848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97675" y="5121275"/>
              <a:ext cx="87313" cy="96837"/>
            </a:xfrm>
            <a:custGeom>
              <a:avLst/>
              <a:gdLst>
                <a:gd name="T0" fmla="*/ 73 w 257"/>
                <a:gd name="T1" fmla="*/ 115 h 285"/>
                <a:gd name="T2" fmla="*/ 129 w 257"/>
                <a:gd name="T3" fmla="*/ 58 h 285"/>
                <a:gd name="T4" fmla="*/ 184 w 257"/>
                <a:gd name="T5" fmla="*/ 115 h 285"/>
                <a:gd name="T6" fmla="*/ 73 w 257"/>
                <a:gd name="T7" fmla="*/ 115 h 285"/>
                <a:gd name="T8" fmla="*/ 181 w 257"/>
                <a:gd name="T9" fmla="*/ 198 h 285"/>
                <a:gd name="T10" fmla="*/ 135 w 257"/>
                <a:gd name="T11" fmla="*/ 228 h 285"/>
                <a:gd name="T12" fmla="*/ 71 w 257"/>
                <a:gd name="T13" fmla="*/ 161 h 285"/>
                <a:gd name="T14" fmla="*/ 257 w 257"/>
                <a:gd name="T15" fmla="*/ 161 h 285"/>
                <a:gd name="T16" fmla="*/ 257 w 257"/>
                <a:gd name="T17" fmla="*/ 149 h 285"/>
                <a:gd name="T18" fmla="*/ 130 w 257"/>
                <a:gd name="T19" fmla="*/ 0 h 285"/>
                <a:gd name="T20" fmla="*/ 0 w 257"/>
                <a:gd name="T21" fmla="*/ 136 h 285"/>
                <a:gd name="T22" fmla="*/ 135 w 257"/>
                <a:gd name="T23" fmla="*/ 285 h 285"/>
                <a:gd name="T24" fmla="*/ 254 w 257"/>
                <a:gd name="T25" fmla="*/ 198 h 285"/>
                <a:gd name="T26" fmla="*/ 181 w 257"/>
                <a:gd name="T27" fmla="*/ 198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7" h="285">
                  <a:moveTo>
                    <a:pt x="73" y="115"/>
                  </a:moveTo>
                  <a:cubicBezTo>
                    <a:pt x="77" y="79"/>
                    <a:pt x="95" y="58"/>
                    <a:pt x="129" y="58"/>
                  </a:cubicBezTo>
                  <a:cubicBezTo>
                    <a:pt x="152" y="58"/>
                    <a:pt x="180" y="71"/>
                    <a:pt x="184" y="115"/>
                  </a:cubicBezTo>
                  <a:lnTo>
                    <a:pt x="73" y="115"/>
                  </a:lnTo>
                  <a:close/>
                  <a:moveTo>
                    <a:pt x="181" y="198"/>
                  </a:moveTo>
                  <a:cubicBezTo>
                    <a:pt x="175" y="217"/>
                    <a:pt x="155" y="228"/>
                    <a:pt x="135" y="228"/>
                  </a:cubicBezTo>
                  <a:cubicBezTo>
                    <a:pt x="77" y="228"/>
                    <a:pt x="73" y="182"/>
                    <a:pt x="71" y="161"/>
                  </a:cubicBezTo>
                  <a:cubicBezTo>
                    <a:pt x="257" y="161"/>
                    <a:pt x="257" y="161"/>
                    <a:pt x="257" y="161"/>
                  </a:cubicBezTo>
                  <a:cubicBezTo>
                    <a:pt x="257" y="149"/>
                    <a:pt x="257" y="149"/>
                    <a:pt x="257" y="149"/>
                  </a:cubicBezTo>
                  <a:cubicBezTo>
                    <a:pt x="257" y="25"/>
                    <a:pt x="183" y="0"/>
                    <a:pt x="130" y="0"/>
                  </a:cubicBezTo>
                  <a:cubicBezTo>
                    <a:pt x="11" y="0"/>
                    <a:pt x="0" y="104"/>
                    <a:pt x="0" y="136"/>
                  </a:cubicBezTo>
                  <a:cubicBezTo>
                    <a:pt x="0" y="248"/>
                    <a:pt x="59" y="285"/>
                    <a:pt x="135" y="285"/>
                  </a:cubicBezTo>
                  <a:cubicBezTo>
                    <a:pt x="181" y="285"/>
                    <a:pt x="235" y="263"/>
                    <a:pt x="254" y="198"/>
                  </a:cubicBezTo>
                  <a:lnTo>
                    <a:pt x="181" y="198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Freeform 127">
              <a:extLst>
                <a:ext uri="{FF2B5EF4-FFF2-40B4-BE49-F238E27FC236}">
                  <a16:creationId xmlns:a16="http://schemas.microsoft.com/office/drawing/2014/main" id="{4D825171-1EDB-495D-862D-A66E2B7E13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58013" y="5091113"/>
              <a:ext cx="112713" cy="127000"/>
            </a:xfrm>
            <a:custGeom>
              <a:avLst/>
              <a:gdLst>
                <a:gd name="T0" fmla="*/ 170 w 329"/>
                <a:gd name="T1" fmla="*/ 84 h 375"/>
                <a:gd name="T2" fmla="*/ 136 w 329"/>
                <a:gd name="T3" fmla="*/ 129 h 375"/>
                <a:gd name="T4" fmla="*/ 110 w 329"/>
                <a:gd name="T5" fmla="*/ 84 h 375"/>
                <a:gd name="T6" fmla="*/ 139 w 329"/>
                <a:gd name="T7" fmla="*/ 54 h 375"/>
                <a:gd name="T8" fmla="*/ 170 w 329"/>
                <a:gd name="T9" fmla="*/ 84 h 375"/>
                <a:gd name="T10" fmla="*/ 263 w 329"/>
                <a:gd name="T11" fmla="*/ 286 h 375"/>
                <a:gd name="T12" fmla="*/ 305 w 329"/>
                <a:gd name="T13" fmla="*/ 176 h 375"/>
                <a:gd name="T14" fmla="*/ 242 w 329"/>
                <a:gd name="T15" fmla="*/ 176 h 375"/>
                <a:gd name="T16" fmla="*/ 223 w 329"/>
                <a:gd name="T17" fmla="*/ 236 h 375"/>
                <a:gd name="T18" fmla="*/ 171 w 329"/>
                <a:gd name="T19" fmla="*/ 172 h 375"/>
                <a:gd name="T20" fmla="*/ 231 w 329"/>
                <a:gd name="T21" fmla="*/ 85 h 375"/>
                <a:gd name="T22" fmla="*/ 142 w 329"/>
                <a:gd name="T23" fmla="*/ 0 h 375"/>
                <a:gd name="T24" fmla="*/ 45 w 329"/>
                <a:gd name="T25" fmla="*/ 84 h 375"/>
                <a:gd name="T26" fmla="*/ 78 w 329"/>
                <a:gd name="T27" fmla="*/ 160 h 375"/>
                <a:gd name="T28" fmla="*/ 70 w 329"/>
                <a:gd name="T29" fmla="*/ 165 h 375"/>
                <a:gd name="T30" fmla="*/ 0 w 329"/>
                <a:gd name="T31" fmla="*/ 271 h 375"/>
                <a:gd name="T32" fmla="*/ 114 w 329"/>
                <a:gd name="T33" fmla="*/ 375 h 375"/>
                <a:gd name="T34" fmla="*/ 218 w 329"/>
                <a:gd name="T35" fmla="*/ 334 h 375"/>
                <a:gd name="T36" fmla="*/ 243 w 329"/>
                <a:gd name="T37" fmla="*/ 365 h 375"/>
                <a:gd name="T38" fmla="*/ 329 w 329"/>
                <a:gd name="T39" fmla="*/ 365 h 375"/>
                <a:gd name="T40" fmla="*/ 263 w 329"/>
                <a:gd name="T41" fmla="*/ 286 h 375"/>
                <a:gd name="T42" fmla="*/ 181 w 329"/>
                <a:gd name="T43" fmla="*/ 290 h 375"/>
                <a:gd name="T44" fmla="*/ 125 w 329"/>
                <a:gd name="T45" fmla="*/ 315 h 375"/>
                <a:gd name="T46" fmla="*/ 71 w 329"/>
                <a:gd name="T47" fmla="*/ 267 h 375"/>
                <a:gd name="T48" fmla="*/ 114 w 329"/>
                <a:gd name="T49" fmla="*/ 206 h 375"/>
                <a:gd name="T50" fmla="*/ 181 w 329"/>
                <a:gd name="T51" fmla="*/ 29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29" h="375">
                  <a:moveTo>
                    <a:pt x="170" y="84"/>
                  </a:moveTo>
                  <a:cubicBezTo>
                    <a:pt x="170" y="103"/>
                    <a:pt x="156" y="117"/>
                    <a:pt x="136" y="129"/>
                  </a:cubicBezTo>
                  <a:cubicBezTo>
                    <a:pt x="119" y="110"/>
                    <a:pt x="110" y="96"/>
                    <a:pt x="110" y="84"/>
                  </a:cubicBezTo>
                  <a:cubicBezTo>
                    <a:pt x="110" y="64"/>
                    <a:pt x="123" y="54"/>
                    <a:pt x="139" y="54"/>
                  </a:cubicBezTo>
                  <a:cubicBezTo>
                    <a:pt x="157" y="54"/>
                    <a:pt x="170" y="64"/>
                    <a:pt x="170" y="84"/>
                  </a:cubicBezTo>
                  <a:close/>
                  <a:moveTo>
                    <a:pt x="263" y="286"/>
                  </a:moveTo>
                  <a:cubicBezTo>
                    <a:pt x="287" y="253"/>
                    <a:pt x="300" y="225"/>
                    <a:pt x="305" y="176"/>
                  </a:cubicBezTo>
                  <a:cubicBezTo>
                    <a:pt x="242" y="176"/>
                    <a:pt x="242" y="176"/>
                    <a:pt x="242" y="176"/>
                  </a:cubicBezTo>
                  <a:cubicBezTo>
                    <a:pt x="239" y="204"/>
                    <a:pt x="232" y="221"/>
                    <a:pt x="223" y="236"/>
                  </a:cubicBezTo>
                  <a:cubicBezTo>
                    <a:pt x="171" y="172"/>
                    <a:pt x="171" y="172"/>
                    <a:pt x="171" y="172"/>
                  </a:cubicBezTo>
                  <a:cubicBezTo>
                    <a:pt x="186" y="163"/>
                    <a:pt x="231" y="136"/>
                    <a:pt x="231" y="85"/>
                  </a:cubicBezTo>
                  <a:cubicBezTo>
                    <a:pt x="231" y="26"/>
                    <a:pt x="182" y="0"/>
                    <a:pt x="142" y="0"/>
                  </a:cubicBezTo>
                  <a:cubicBezTo>
                    <a:pt x="85" y="0"/>
                    <a:pt x="45" y="34"/>
                    <a:pt x="45" y="84"/>
                  </a:cubicBezTo>
                  <a:cubicBezTo>
                    <a:pt x="45" y="116"/>
                    <a:pt x="62" y="143"/>
                    <a:pt x="78" y="160"/>
                  </a:cubicBezTo>
                  <a:cubicBezTo>
                    <a:pt x="70" y="165"/>
                    <a:pt x="70" y="165"/>
                    <a:pt x="70" y="165"/>
                  </a:cubicBezTo>
                  <a:cubicBezTo>
                    <a:pt x="9" y="202"/>
                    <a:pt x="0" y="236"/>
                    <a:pt x="0" y="271"/>
                  </a:cubicBezTo>
                  <a:cubicBezTo>
                    <a:pt x="0" y="326"/>
                    <a:pt x="44" y="375"/>
                    <a:pt x="114" y="375"/>
                  </a:cubicBezTo>
                  <a:cubicBezTo>
                    <a:pt x="169" y="375"/>
                    <a:pt x="197" y="356"/>
                    <a:pt x="218" y="334"/>
                  </a:cubicBezTo>
                  <a:cubicBezTo>
                    <a:pt x="243" y="365"/>
                    <a:pt x="243" y="365"/>
                    <a:pt x="243" y="365"/>
                  </a:cubicBezTo>
                  <a:cubicBezTo>
                    <a:pt x="329" y="365"/>
                    <a:pt x="329" y="365"/>
                    <a:pt x="329" y="365"/>
                  </a:cubicBezTo>
                  <a:lnTo>
                    <a:pt x="263" y="286"/>
                  </a:lnTo>
                  <a:close/>
                  <a:moveTo>
                    <a:pt x="181" y="290"/>
                  </a:moveTo>
                  <a:cubicBezTo>
                    <a:pt x="169" y="301"/>
                    <a:pt x="148" y="315"/>
                    <a:pt x="125" y="315"/>
                  </a:cubicBezTo>
                  <a:cubicBezTo>
                    <a:pt x="82" y="315"/>
                    <a:pt x="71" y="281"/>
                    <a:pt x="71" y="267"/>
                  </a:cubicBezTo>
                  <a:cubicBezTo>
                    <a:pt x="71" y="238"/>
                    <a:pt x="84" y="228"/>
                    <a:pt x="114" y="206"/>
                  </a:cubicBezTo>
                  <a:lnTo>
                    <a:pt x="181" y="290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Freeform 128">
              <a:extLst>
                <a:ext uri="{FF2B5EF4-FFF2-40B4-BE49-F238E27FC236}">
                  <a16:creationId xmlns:a16="http://schemas.microsoft.com/office/drawing/2014/main" id="{610F3F42-2BAF-475A-BFCE-3470A88F9F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08688" y="5300663"/>
              <a:ext cx="95250" cy="123825"/>
            </a:xfrm>
            <a:custGeom>
              <a:avLst/>
              <a:gdLst>
                <a:gd name="T0" fmla="*/ 76 w 281"/>
                <a:gd name="T1" fmla="*/ 171 h 366"/>
                <a:gd name="T2" fmla="*/ 76 w 281"/>
                <a:gd name="T3" fmla="*/ 63 h 366"/>
                <a:gd name="T4" fmla="*/ 137 w 281"/>
                <a:gd name="T5" fmla="*/ 63 h 366"/>
                <a:gd name="T6" fmla="*/ 204 w 281"/>
                <a:gd name="T7" fmla="*/ 114 h 366"/>
                <a:gd name="T8" fmla="*/ 147 w 281"/>
                <a:gd name="T9" fmla="*/ 171 h 366"/>
                <a:gd name="T10" fmla="*/ 76 w 281"/>
                <a:gd name="T11" fmla="*/ 171 h 366"/>
                <a:gd name="T12" fmla="*/ 76 w 281"/>
                <a:gd name="T13" fmla="*/ 234 h 366"/>
                <a:gd name="T14" fmla="*/ 164 w 281"/>
                <a:gd name="T15" fmla="*/ 234 h 366"/>
                <a:gd name="T16" fmla="*/ 281 w 281"/>
                <a:gd name="T17" fmla="*/ 117 h 366"/>
                <a:gd name="T18" fmla="*/ 167 w 281"/>
                <a:gd name="T19" fmla="*/ 0 h 366"/>
                <a:gd name="T20" fmla="*/ 0 w 281"/>
                <a:gd name="T21" fmla="*/ 0 h 366"/>
                <a:gd name="T22" fmla="*/ 0 w 281"/>
                <a:gd name="T23" fmla="*/ 366 h 366"/>
                <a:gd name="T24" fmla="*/ 76 w 281"/>
                <a:gd name="T25" fmla="*/ 366 h 366"/>
                <a:gd name="T26" fmla="*/ 76 w 281"/>
                <a:gd name="T27" fmla="*/ 234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1" h="366">
                  <a:moveTo>
                    <a:pt x="76" y="171"/>
                  </a:moveTo>
                  <a:cubicBezTo>
                    <a:pt x="76" y="63"/>
                    <a:pt x="76" y="63"/>
                    <a:pt x="76" y="63"/>
                  </a:cubicBezTo>
                  <a:cubicBezTo>
                    <a:pt x="137" y="63"/>
                    <a:pt x="137" y="63"/>
                    <a:pt x="137" y="63"/>
                  </a:cubicBezTo>
                  <a:cubicBezTo>
                    <a:pt x="184" y="63"/>
                    <a:pt x="204" y="78"/>
                    <a:pt x="204" y="114"/>
                  </a:cubicBezTo>
                  <a:cubicBezTo>
                    <a:pt x="204" y="130"/>
                    <a:pt x="204" y="171"/>
                    <a:pt x="147" y="171"/>
                  </a:cubicBezTo>
                  <a:lnTo>
                    <a:pt x="76" y="171"/>
                  </a:lnTo>
                  <a:close/>
                  <a:moveTo>
                    <a:pt x="76" y="234"/>
                  </a:moveTo>
                  <a:cubicBezTo>
                    <a:pt x="164" y="234"/>
                    <a:pt x="164" y="234"/>
                    <a:pt x="164" y="234"/>
                  </a:cubicBezTo>
                  <a:cubicBezTo>
                    <a:pt x="262" y="234"/>
                    <a:pt x="281" y="150"/>
                    <a:pt x="281" y="117"/>
                  </a:cubicBezTo>
                  <a:cubicBezTo>
                    <a:pt x="281" y="46"/>
                    <a:pt x="238" y="0"/>
                    <a:pt x="16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66"/>
                    <a:pt x="0" y="366"/>
                    <a:pt x="0" y="366"/>
                  </a:cubicBezTo>
                  <a:cubicBezTo>
                    <a:pt x="76" y="366"/>
                    <a:pt x="76" y="366"/>
                    <a:pt x="76" y="366"/>
                  </a:cubicBezTo>
                  <a:lnTo>
                    <a:pt x="76" y="234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Freeform 129">
              <a:extLst>
                <a:ext uri="{FF2B5EF4-FFF2-40B4-BE49-F238E27FC236}">
                  <a16:creationId xmlns:a16="http://schemas.microsoft.com/office/drawing/2014/main" id="{F2A0D05B-A493-49B2-BA3E-C346DD625B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15050" y="5330825"/>
              <a:ext cx="87313" cy="96837"/>
            </a:xfrm>
            <a:custGeom>
              <a:avLst/>
              <a:gdLst>
                <a:gd name="T0" fmla="*/ 73 w 257"/>
                <a:gd name="T1" fmla="*/ 115 h 285"/>
                <a:gd name="T2" fmla="*/ 129 w 257"/>
                <a:gd name="T3" fmla="*/ 58 h 285"/>
                <a:gd name="T4" fmla="*/ 184 w 257"/>
                <a:gd name="T5" fmla="*/ 115 h 285"/>
                <a:gd name="T6" fmla="*/ 73 w 257"/>
                <a:gd name="T7" fmla="*/ 115 h 285"/>
                <a:gd name="T8" fmla="*/ 181 w 257"/>
                <a:gd name="T9" fmla="*/ 198 h 285"/>
                <a:gd name="T10" fmla="*/ 135 w 257"/>
                <a:gd name="T11" fmla="*/ 228 h 285"/>
                <a:gd name="T12" fmla="*/ 71 w 257"/>
                <a:gd name="T13" fmla="*/ 162 h 285"/>
                <a:gd name="T14" fmla="*/ 257 w 257"/>
                <a:gd name="T15" fmla="*/ 162 h 285"/>
                <a:gd name="T16" fmla="*/ 257 w 257"/>
                <a:gd name="T17" fmla="*/ 149 h 285"/>
                <a:gd name="T18" fmla="*/ 130 w 257"/>
                <a:gd name="T19" fmla="*/ 0 h 285"/>
                <a:gd name="T20" fmla="*/ 0 w 257"/>
                <a:gd name="T21" fmla="*/ 137 h 285"/>
                <a:gd name="T22" fmla="*/ 135 w 257"/>
                <a:gd name="T23" fmla="*/ 285 h 285"/>
                <a:gd name="T24" fmla="*/ 254 w 257"/>
                <a:gd name="T25" fmla="*/ 198 h 285"/>
                <a:gd name="T26" fmla="*/ 181 w 257"/>
                <a:gd name="T27" fmla="*/ 198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7" h="285">
                  <a:moveTo>
                    <a:pt x="73" y="115"/>
                  </a:moveTo>
                  <a:cubicBezTo>
                    <a:pt x="77" y="80"/>
                    <a:pt x="95" y="58"/>
                    <a:pt x="129" y="58"/>
                  </a:cubicBezTo>
                  <a:cubicBezTo>
                    <a:pt x="152" y="58"/>
                    <a:pt x="180" y="72"/>
                    <a:pt x="184" y="115"/>
                  </a:cubicBezTo>
                  <a:lnTo>
                    <a:pt x="73" y="115"/>
                  </a:lnTo>
                  <a:close/>
                  <a:moveTo>
                    <a:pt x="181" y="198"/>
                  </a:moveTo>
                  <a:cubicBezTo>
                    <a:pt x="175" y="218"/>
                    <a:pt x="155" y="228"/>
                    <a:pt x="135" y="228"/>
                  </a:cubicBezTo>
                  <a:cubicBezTo>
                    <a:pt x="77" y="228"/>
                    <a:pt x="73" y="182"/>
                    <a:pt x="71" y="162"/>
                  </a:cubicBezTo>
                  <a:cubicBezTo>
                    <a:pt x="257" y="162"/>
                    <a:pt x="257" y="162"/>
                    <a:pt x="257" y="162"/>
                  </a:cubicBezTo>
                  <a:cubicBezTo>
                    <a:pt x="257" y="149"/>
                    <a:pt x="257" y="149"/>
                    <a:pt x="257" y="149"/>
                  </a:cubicBezTo>
                  <a:cubicBezTo>
                    <a:pt x="257" y="25"/>
                    <a:pt x="183" y="0"/>
                    <a:pt x="130" y="0"/>
                  </a:cubicBezTo>
                  <a:cubicBezTo>
                    <a:pt x="11" y="0"/>
                    <a:pt x="0" y="104"/>
                    <a:pt x="0" y="137"/>
                  </a:cubicBezTo>
                  <a:cubicBezTo>
                    <a:pt x="0" y="248"/>
                    <a:pt x="59" y="285"/>
                    <a:pt x="135" y="285"/>
                  </a:cubicBezTo>
                  <a:cubicBezTo>
                    <a:pt x="181" y="285"/>
                    <a:pt x="235" y="263"/>
                    <a:pt x="254" y="198"/>
                  </a:cubicBezTo>
                  <a:lnTo>
                    <a:pt x="181" y="198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Freeform 130">
              <a:extLst>
                <a:ext uri="{FF2B5EF4-FFF2-40B4-BE49-F238E27FC236}">
                  <a16:creationId xmlns:a16="http://schemas.microsoft.com/office/drawing/2014/main" id="{38A452C3-2967-48B4-9DFC-0C384FAC974D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1888" y="5308600"/>
              <a:ext cx="52388" cy="117475"/>
            </a:xfrm>
            <a:custGeom>
              <a:avLst/>
              <a:gdLst>
                <a:gd name="T0" fmla="*/ 108 w 152"/>
                <a:gd name="T1" fmla="*/ 73 h 347"/>
                <a:gd name="T2" fmla="*/ 152 w 152"/>
                <a:gd name="T3" fmla="*/ 73 h 347"/>
                <a:gd name="T4" fmla="*/ 152 w 152"/>
                <a:gd name="T5" fmla="*/ 124 h 347"/>
                <a:gd name="T6" fmla="*/ 108 w 152"/>
                <a:gd name="T7" fmla="*/ 124 h 347"/>
                <a:gd name="T8" fmla="*/ 108 w 152"/>
                <a:gd name="T9" fmla="*/ 271 h 347"/>
                <a:gd name="T10" fmla="*/ 137 w 152"/>
                <a:gd name="T11" fmla="*/ 293 h 347"/>
                <a:gd name="T12" fmla="*/ 152 w 152"/>
                <a:gd name="T13" fmla="*/ 292 h 347"/>
                <a:gd name="T14" fmla="*/ 152 w 152"/>
                <a:gd name="T15" fmla="*/ 346 h 347"/>
                <a:gd name="T16" fmla="*/ 119 w 152"/>
                <a:gd name="T17" fmla="*/ 347 h 347"/>
                <a:gd name="T18" fmla="*/ 109 w 152"/>
                <a:gd name="T19" fmla="*/ 347 h 347"/>
                <a:gd name="T20" fmla="*/ 37 w 152"/>
                <a:gd name="T21" fmla="*/ 288 h 347"/>
                <a:gd name="T22" fmla="*/ 37 w 152"/>
                <a:gd name="T23" fmla="*/ 124 h 347"/>
                <a:gd name="T24" fmla="*/ 0 w 152"/>
                <a:gd name="T25" fmla="*/ 124 h 347"/>
                <a:gd name="T26" fmla="*/ 0 w 152"/>
                <a:gd name="T27" fmla="*/ 73 h 347"/>
                <a:gd name="T28" fmla="*/ 37 w 152"/>
                <a:gd name="T29" fmla="*/ 73 h 347"/>
                <a:gd name="T30" fmla="*/ 37 w 152"/>
                <a:gd name="T31" fmla="*/ 0 h 347"/>
                <a:gd name="T32" fmla="*/ 108 w 152"/>
                <a:gd name="T33" fmla="*/ 0 h 347"/>
                <a:gd name="T34" fmla="*/ 108 w 152"/>
                <a:gd name="T35" fmla="*/ 73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347">
                  <a:moveTo>
                    <a:pt x="108" y="73"/>
                  </a:moveTo>
                  <a:cubicBezTo>
                    <a:pt x="152" y="73"/>
                    <a:pt x="152" y="73"/>
                    <a:pt x="152" y="73"/>
                  </a:cubicBezTo>
                  <a:cubicBezTo>
                    <a:pt x="152" y="124"/>
                    <a:pt x="152" y="124"/>
                    <a:pt x="152" y="124"/>
                  </a:cubicBezTo>
                  <a:cubicBezTo>
                    <a:pt x="108" y="124"/>
                    <a:pt x="108" y="124"/>
                    <a:pt x="108" y="124"/>
                  </a:cubicBezTo>
                  <a:cubicBezTo>
                    <a:pt x="108" y="271"/>
                    <a:pt x="108" y="271"/>
                    <a:pt x="108" y="271"/>
                  </a:cubicBezTo>
                  <a:cubicBezTo>
                    <a:pt x="108" y="287"/>
                    <a:pt x="108" y="293"/>
                    <a:pt x="137" y="293"/>
                  </a:cubicBezTo>
                  <a:cubicBezTo>
                    <a:pt x="142" y="293"/>
                    <a:pt x="147" y="292"/>
                    <a:pt x="152" y="292"/>
                  </a:cubicBezTo>
                  <a:cubicBezTo>
                    <a:pt x="152" y="346"/>
                    <a:pt x="152" y="346"/>
                    <a:pt x="152" y="346"/>
                  </a:cubicBezTo>
                  <a:cubicBezTo>
                    <a:pt x="141" y="346"/>
                    <a:pt x="130" y="347"/>
                    <a:pt x="119" y="347"/>
                  </a:cubicBezTo>
                  <a:cubicBezTo>
                    <a:pt x="109" y="347"/>
                    <a:pt x="109" y="347"/>
                    <a:pt x="109" y="347"/>
                  </a:cubicBezTo>
                  <a:cubicBezTo>
                    <a:pt x="48" y="347"/>
                    <a:pt x="37" y="323"/>
                    <a:pt x="37" y="288"/>
                  </a:cubicBezTo>
                  <a:cubicBezTo>
                    <a:pt x="37" y="124"/>
                    <a:pt x="37" y="124"/>
                    <a:pt x="37" y="124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37" y="73"/>
                    <a:pt x="37" y="73"/>
                    <a:pt x="37" y="73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08" y="0"/>
                    <a:pt x="108" y="0"/>
                    <a:pt x="108" y="0"/>
                  </a:cubicBezTo>
                  <a:lnTo>
                    <a:pt x="108" y="73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Freeform 131">
              <a:extLst>
                <a:ext uri="{FF2B5EF4-FFF2-40B4-BE49-F238E27FC236}">
                  <a16:creationId xmlns:a16="http://schemas.microsoft.com/office/drawing/2014/main" id="{510CD4A1-A422-4881-BD3E-8961D5E0BD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73800" y="5330825"/>
              <a:ext cx="87313" cy="96837"/>
            </a:xfrm>
            <a:custGeom>
              <a:avLst/>
              <a:gdLst>
                <a:gd name="T0" fmla="*/ 73 w 257"/>
                <a:gd name="T1" fmla="*/ 115 h 285"/>
                <a:gd name="T2" fmla="*/ 129 w 257"/>
                <a:gd name="T3" fmla="*/ 58 h 285"/>
                <a:gd name="T4" fmla="*/ 184 w 257"/>
                <a:gd name="T5" fmla="*/ 115 h 285"/>
                <a:gd name="T6" fmla="*/ 73 w 257"/>
                <a:gd name="T7" fmla="*/ 115 h 285"/>
                <a:gd name="T8" fmla="*/ 181 w 257"/>
                <a:gd name="T9" fmla="*/ 198 h 285"/>
                <a:gd name="T10" fmla="*/ 135 w 257"/>
                <a:gd name="T11" fmla="*/ 228 h 285"/>
                <a:gd name="T12" fmla="*/ 71 w 257"/>
                <a:gd name="T13" fmla="*/ 162 h 285"/>
                <a:gd name="T14" fmla="*/ 257 w 257"/>
                <a:gd name="T15" fmla="*/ 162 h 285"/>
                <a:gd name="T16" fmla="*/ 257 w 257"/>
                <a:gd name="T17" fmla="*/ 149 h 285"/>
                <a:gd name="T18" fmla="*/ 130 w 257"/>
                <a:gd name="T19" fmla="*/ 0 h 285"/>
                <a:gd name="T20" fmla="*/ 0 w 257"/>
                <a:gd name="T21" fmla="*/ 137 h 285"/>
                <a:gd name="T22" fmla="*/ 135 w 257"/>
                <a:gd name="T23" fmla="*/ 285 h 285"/>
                <a:gd name="T24" fmla="*/ 254 w 257"/>
                <a:gd name="T25" fmla="*/ 198 h 285"/>
                <a:gd name="T26" fmla="*/ 181 w 257"/>
                <a:gd name="T27" fmla="*/ 198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7" h="285">
                  <a:moveTo>
                    <a:pt x="73" y="115"/>
                  </a:moveTo>
                  <a:cubicBezTo>
                    <a:pt x="78" y="80"/>
                    <a:pt x="95" y="58"/>
                    <a:pt x="129" y="58"/>
                  </a:cubicBezTo>
                  <a:cubicBezTo>
                    <a:pt x="152" y="58"/>
                    <a:pt x="180" y="72"/>
                    <a:pt x="184" y="115"/>
                  </a:cubicBezTo>
                  <a:lnTo>
                    <a:pt x="73" y="115"/>
                  </a:lnTo>
                  <a:close/>
                  <a:moveTo>
                    <a:pt x="181" y="198"/>
                  </a:moveTo>
                  <a:cubicBezTo>
                    <a:pt x="175" y="218"/>
                    <a:pt x="155" y="228"/>
                    <a:pt x="135" y="228"/>
                  </a:cubicBezTo>
                  <a:cubicBezTo>
                    <a:pt x="78" y="228"/>
                    <a:pt x="73" y="182"/>
                    <a:pt x="71" y="162"/>
                  </a:cubicBezTo>
                  <a:cubicBezTo>
                    <a:pt x="257" y="162"/>
                    <a:pt x="257" y="162"/>
                    <a:pt x="257" y="162"/>
                  </a:cubicBezTo>
                  <a:cubicBezTo>
                    <a:pt x="257" y="149"/>
                    <a:pt x="257" y="149"/>
                    <a:pt x="257" y="149"/>
                  </a:cubicBezTo>
                  <a:cubicBezTo>
                    <a:pt x="257" y="25"/>
                    <a:pt x="183" y="0"/>
                    <a:pt x="130" y="0"/>
                  </a:cubicBezTo>
                  <a:cubicBezTo>
                    <a:pt x="11" y="0"/>
                    <a:pt x="0" y="104"/>
                    <a:pt x="0" y="137"/>
                  </a:cubicBezTo>
                  <a:cubicBezTo>
                    <a:pt x="0" y="248"/>
                    <a:pt x="59" y="285"/>
                    <a:pt x="135" y="285"/>
                  </a:cubicBezTo>
                  <a:cubicBezTo>
                    <a:pt x="181" y="285"/>
                    <a:pt x="235" y="263"/>
                    <a:pt x="254" y="198"/>
                  </a:cubicBezTo>
                  <a:lnTo>
                    <a:pt x="181" y="198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Freeform 132">
              <a:extLst>
                <a:ext uri="{FF2B5EF4-FFF2-40B4-BE49-F238E27FC236}">
                  <a16:creationId xmlns:a16="http://schemas.microsoft.com/office/drawing/2014/main" id="{6A6665B1-076D-402E-8CD3-95D4CEFEECD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8575" y="5330825"/>
              <a:ext cx="53975" cy="93662"/>
            </a:xfrm>
            <a:custGeom>
              <a:avLst/>
              <a:gdLst>
                <a:gd name="T0" fmla="*/ 0 w 157"/>
                <a:gd name="T1" fmla="*/ 7 h 278"/>
                <a:gd name="T2" fmla="*/ 68 w 157"/>
                <a:gd name="T3" fmla="*/ 7 h 278"/>
                <a:gd name="T4" fmla="*/ 68 w 157"/>
                <a:gd name="T5" fmla="*/ 54 h 278"/>
                <a:gd name="T6" fmla="*/ 69 w 157"/>
                <a:gd name="T7" fmla="*/ 54 h 278"/>
                <a:gd name="T8" fmla="*/ 143 w 157"/>
                <a:gd name="T9" fmla="*/ 0 h 278"/>
                <a:gd name="T10" fmla="*/ 157 w 157"/>
                <a:gd name="T11" fmla="*/ 1 h 278"/>
                <a:gd name="T12" fmla="*/ 157 w 157"/>
                <a:gd name="T13" fmla="*/ 73 h 278"/>
                <a:gd name="T14" fmla="*/ 136 w 157"/>
                <a:gd name="T15" fmla="*/ 72 h 278"/>
                <a:gd name="T16" fmla="*/ 71 w 157"/>
                <a:gd name="T17" fmla="*/ 137 h 278"/>
                <a:gd name="T18" fmla="*/ 71 w 157"/>
                <a:gd name="T19" fmla="*/ 278 h 278"/>
                <a:gd name="T20" fmla="*/ 0 w 157"/>
                <a:gd name="T21" fmla="*/ 278 h 278"/>
                <a:gd name="T22" fmla="*/ 0 w 157"/>
                <a:gd name="T23" fmla="*/ 7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7" h="278">
                  <a:moveTo>
                    <a:pt x="0" y="7"/>
                  </a:moveTo>
                  <a:cubicBezTo>
                    <a:pt x="68" y="7"/>
                    <a:pt x="68" y="7"/>
                    <a:pt x="68" y="7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9" y="54"/>
                    <a:pt x="69" y="54"/>
                    <a:pt x="69" y="54"/>
                  </a:cubicBezTo>
                  <a:cubicBezTo>
                    <a:pt x="84" y="26"/>
                    <a:pt x="100" y="0"/>
                    <a:pt x="143" y="0"/>
                  </a:cubicBezTo>
                  <a:cubicBezTo>
                    <a:pt x="148" y="0"/>
                    <a:pt x="152" y="0"/>
                    <a:pt x="157" y="1"/>
                  </a:cubicBezTo>
                  <a:cubicBezTo>
                    <a:pt x="157" y="73"/>
                    <a:pt x="157" y="73"/>
                    <a:pt x="157" y="73"/>
                  </a:cubicBezTo>
                  <a:cubicBezTo>
                    <a:pt x="151" y="72"/>
                    <a:pt x="143" y="72"/>
                    <a:pt x="136" y="72"/>
                  </a:cubicBezTo>
                  <a:cubicBezTo>
                    <a:pt x="81" y="72"/>
                    <a:pt x="71" y="107"/>
                    <a:pt x="71" y="137"/>
                  </a:cubicBezTo>
                  <a:cubicBezTo>
                    <a:pt x="71" y="278"/>
                    <a:pt x="71" y="278"/>
                    <a:pt x="71" y="278"/>
                  </a:cubicBezTo>
                  <a:cubicBezTo>
                    <a:pt x="0" y="278"/>
                    <a:pt x="0" y="278"/>
                    <a:pt x="0" y="278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Freeform 133">
              <a:extLst>
                <a:ext uri="{FF2B5EF4-FFF2-40B4-BE49-F238E27FC236}">
                  <a16:creationId xmlns:a16="http://schemas.microsoft.com/office/drawing/2014/main" id="{9F7710D6-CF34-4358-941D-0D1D1068D1D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0488" y="5330825"/>
              <a:ext cx="84138" cy="96837"/>
            </a:xfrm>
            <a:custGeom>
              <a:avLst/>
              <a:gdLst>
                <a:gd name="T0" fmla="*/ 171 w 249"/>
                <a:gd name="T1" fmla="*/ 89 h 285"/>
                <a:gd name="T2" fmla="*/ 123 w 249"/>
                <a:gd name="T3" fmla="*/ 54 h 285"/>
                <a:gd name="T4" fmla="*/ 80 w 249"/>
                <a:gd name="T5" fmla="*/ 80 h 285"/>
                <a:gd name="T6" fmla="*/ 249 w 249"/>
                <a:gd name="T7" fmla="*/ 192 h 285"/>
                <a:gd name="T8" fmla="*/ 131 w 249"/>
                <a:gd name="T9" fmla="*/ 285 h 285"/>
                <a:gd name="T10" fmla="*/ 0 w 249"/>
                <a:gd name="T11" fmla="*/ 191 h 285"/>
                <a:gd name="T12" fmla="*/ 74 w 249"/>
                <a:gd name="T13" fmla="*/ 191 h 285"/>
                <a:gd name="T14" fmla="*/ 133 w 249"/>
                <a:gd name="T15" fmla="*/ 231 h 285"/>
                <a:gd name="T16" fmla="*/ 178 w 249"/>
                <a:gd name="T17" fmla="*/ 203 h 285"/>
                <a:gd name="T18" fmla="*/ 10 w 249"/>
                <a:gd name="T19" fmla="*/ 90 h 285"/>
                <a:gd name="T20" fmla="*/ 119 w 249"/>
                <a:gd name="T21" fmla="*/ 0 h 285"/>
                <a:gd name="T22" fmla="*/ 241 w 249"/>
                <a:gd name="T23" fmla="*/ 89 h 285"/>
                <a:gd name="T24" fmla="*/ 171 w 249"/>
                <a:gd name="T25" fmla="*/ 89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9" h="285">
                  <a:moveTo>
                    <a:pt x="171" y="89"/>
                  </a:moveTo>
                  <a:cubicBezTo>
                    <a:pt x="168" y="72"/>
                    <a:pt x="162" y="54"/>
                    <a:pt x="123" y="54"/>
                  </a:cubicBezTo>
                  <a:cubicBezTo>
                    <a:pt x="85" y="54"/>
                    <a:pt x="80" y="69"/>
                    <a:pt x="80" y="80"/>
                  </a:cubicBezTo>
                  <a:cubicBezTo>
                    <a:pt x="80" y="123"/>
                    <a:pt x="249" y="92"/>
                    <a:pt x="249" y="192"/>
                  </a:cubicBezTo>
                  <a:cubicBezTo>
                    <a:pt x="249" y="271"/>
                    <a:pt x="173" y="285"/>
                    <a:pt x="131" y="285"/>
                  </a:cubicBezTo>
                  <a:cubicBezTo>
                    <a:pt x="69" y="285"/>
                    <a:pt x="2" y="263"/>
                    <a:pt x="0" y="191"/>
                  </a:cubicBezTo>
                  <a:cubicBezTo>
                    <a:pt x="74" y="191"/>
                    <a:pt x="74" y="191"/>
                    <a:pt x="74" y="191"/>
                  </a:cubicBezTo>
                  <a:cubicBezTo>
                    <a:pt x="74" y="214"/>
                    <a:pt x="88" y="231"/>
                    <a:pt x="133" y="231"/>
                  </a:cubicBezTo>
                  <a:cubicBezTo>
                    <a:pt x="169" y="231"/>
                    <a:pt x="178" y="213"/>
                    <a:pt x="178" y="203"/>
                  </a:cubicBezTo>
                  <a:cubicBezTo>
                    <a:pt x="178" y="158"/>
                    <a:pt x="10" y="192"/>
                    <a:pt x="10" y="90"/>
                  </a:cubicBezTo>
                  <a:cubicBezTo>
                    <a:pt x="10" y="51"/>
                    <a:pt x="35" y="0"/>
                    <a:pt x="119" y="0"/>
                  </a:cubicBezTo>
                  <a:cubicBezTo>
                    <a:pt x="172" y="0"/>
                    <a:pt x="235" y="13"/>
                    <a:pt x="241" y="89"/>
                  </a:cubicBezTo>
                  <a:lnTo>
                    <a:pt x="171" y="89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" name="Freeform 134">
              <a:extLst>
                <a:ext uri="{FF2B5EF4-FFF2-40B4-BE49-F238E27FC236}">
                  <a16:creationId xmlns:a16="http://schemas.microsoft.com/office/drawing/2014/main" id="{638579D9-C845-44FE-A3D1-540CCD72D2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35738" y="5330825"/>
              <a:ext cx="87313" cy="96837"/>
            </a:xfrm>
            <a:custGeom>
              <a:avLst/>
              <a:gdLst>
                <a:gd name="T0" fmla="*/ 73 w 257"/>
                <a:gd name="T1" fmla="*/ 115 h 285"/>
                <a:gd name="T2" fmla="*/ 129 w 257"/>
                <a:gd name="T3" fmla="*/ 58 h 285"/>
                <a:gd name="T4" fmla="*/ 184 w 257"/>
                <a:gd name="T5" fmla="*/ 115 h 285"/>
                <a:gd name="T6" fmla="*/ 73 w 257"/>
                <a:gd name="T7" fmla="*/ 115 h 285"/>
                <a:gd name="T8" fmla="*/ 181 w 257"/>
                <a:gd name="T9" fmla="*/ 198 h 285"/>
                <a:gd name="T10" fmla="*/ 135 w 257"/>
                <a:gd name="T11" fmla="*/ 228 h 285"/>
                <a:gd name="T12" fmla="*/ 71 w 257"/>
                <a:gd name="T13" fmla="*/ 162 h 285"/>
                <a:gd name="T14" fmla="*/ 257 w 257"/>
                <a:gd name="T15" fmla="*/ 162 h 285"/>
                <a:gd name="T16" fmla="*/ 257 w 257"/>
                <a:gd name="T17" fmla="*/ 149 h 285"/>
                <a:gd name="T18" fmla="*/ 130 w 257"/>
                <a:gd name="T19" fmla="*/ 0 h 285"/>
                <a:gd name="T20" fmla="*/ 0 w 257"/>
                <a:gd name="T21" fmla="*/ 137 h 285"/>
                <a:gd name="T22" fmla="*/ 135 w 257"/>
                <a:gd name="T23" fmla="*/ 285 h 285"/>
                <a:gd name="T24" fmla="*/ 254 w 257"/>
                <a:gd name="T25" fmla="*/ 198 h 285"/>
                <a:gd name="T26" fmla="*/ 181 w 257"/>
                <a:gd name="T27" fmla="*/ 198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7" h="285">
                  <a:moveTo>
                    <a:pt x="73" y="115"/>
                  </a:moveTo>
                  <a:cubicBezTo>
                    <a:pt x="78" y="80"/>
                    <a:pt x="95" y="58"/>
                    <a:pt x="129" y="58"/>
                  </a:cubicBezTo>
                  <a:cubicBezTo>
                    <a:pt x="152" y="58"/>
                    <a:pt x="180" y="72"/>
                    <a:pt x="184" y="115"/>
                  </a:cubicBezTo>
                  <a:lnTo>
                    <a:pt x="73" y="115"/>
                  </a:lnTo>
                  <a:close/>
                  <a:moveTo>
                    <a:pt x="181" y="198"/>
                  </a:moveTo>
                  <a:cubicBezTo>
                    <a:pt x="175" y="218"/>
                    <a:pt x="155" y="228"/>
                    <a:pt x="135" y="228"/>
                  </a:cubicBezTo>
                  <a:cubicBezTo>
                    <a:pt x="78" y="228"/>
                    <a:pt x="73" y="182"/>
                    <a:pt x="71" y="162"/>
                  </a:cubicBezTo>
                  <a:cubicBezTo>
                    <a:pt x="257" y="162"/>
                    <a:pt x="257" y="162"/>
                    <a:pt x="257" y="162"/>
                  </a:cubicBezTo>
                  <a:cubicBezTo>
                    <a:pt x="257" y="149"/>
                    <a:pt x="257" y="149"/>
                    <a:pt x="257" y="149"/>
                  </a:cubicBezTo>
                  <a:cubicBezTo>
                    <a:pt x="257" y="25"/>
                    <a:pt x="183" y="0"/>
                    <a:pt x="130" y="0"/>
                  </a:cubicBezTo>
                  <a:cubicBezTo>
                    <a:pt x="11" y="0"/>
                    <a:pt x="0" y="104"/>
                    <a:pt x="0" y="137"/>
                  </a:cubicBezTo>
                  <a:cubicBezTo>
                    <a:pt x="0" y="248"/>
                    <a:pt x="59" y="285"/>
                    <a:pt x="135" y="285"/>
                  </a:cubicBezTo>
                  <a:cubicBezTo>
                    <a:pt x="181" y="285"/>
                    <a:pt x="235" y="263"/>
                    <a:pt x="254" y="198"/>
                  </a:cubicBezTo>
                  <a:lnTo>
                    <a:pt x="181" y="198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Freeform 135">
              <a:extLst>
                <a:ext uri="{FF2B5EF4-FFF2-40B4-BE49-F238E27FC236}">
                  <a16:creationId xmlns:a16="http://schemas.microsoft.com/office/drawing/2014/main" id="{A7BB58CB-F5F3-43A0-A2C1-B7AB6C44DC8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7338" y="5330825"/>
              <a:ext cx="84138" cy="93662"/>
            </a:xfrm>
            <a:custGeom>
              <a:avLst/>
              <a:gdLst>
                <a:gd name="T0" fmla="*/ 245 w 245"/>
                <a:gd name="T1" fmla="*/ 278 h 278"/>
                <a:gd name="T2" fmla="*/ 174 w 245"/>
                <a:gd name="T3" fmla="*/ 278 h 278"/>
                <a:gd name="T4" fmla="*/ 174 w 245"/>
                <a:gd name="T5" fmla="*/ 113 h 278"/>
                <a:gd name="T6" fmla="*/ 128 w 245"/>
                <a:gd name="T7" fmla="*/ 60 h 278"/>
                <a:gd name="T8" fmla="*/ 72 w 245"/>
                <a:gd name="T9" fmla="*/ 122 h 278"/>
                <a:gd name="T10" fmla="*/ 72 w 245"/>
                <a:gd name="T11" fmla="*/ 278 h 278"/>
                <a:gd name="T12" fmla="*/ 0 w 245"/>
                <a:gd name="T13" fmla="*/ 278 h 278"/>
                <a:gd name="T14" fmla="*/ 0 w 245"/>
                <a:gd name="T15" fmla="*/ 7 h 278"/>
                <a:gd name="T16" fmla="*/ 69 w 245"/>
                <a:gd name="T17" fmla="*/ 7 h 278"/>
                <a:gd name="T18" fmla="*/ 69 w 245"/>
                <a:gd name="T19" fmla="*/ 47 h 278"/>
                <a:gd name="T20" fmla="*/ 70 w 245"/>
                <a:gd name="T21" fmla="*/ 47 h 278"/>
                <a:gd name="T22" fmla="*/ 151 w 245"/>
                <a:gd name="T23" fmla="*/ 0 h 278"/>
                <a:gd name="T24" fmla="*/ 245 w 245"/>
                <a:gd name="T25" fmla="*/ 90 h 278"/>
                <a:gd name="T26" fmla="*/ 245 w 245"/>
                <a:gd name="T27" fmla="*/ 278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5" h="278">
                  <a:moveTo>
                    <a:pt x="245" y="278"/>
                  </a:moveTo>
                  <a:cubicBezTo>
                    <a:pt x="174" y="278"/>
                    <a:pt x="174" y="278"/>
                    <a:pt x="174" y="278"/>
                  </a:cubicBezTo>
                  <a:cubicBezTo>
                    <a:pt x="174" y="113"/>
                    <a:pt x="174" y="113"/>
                    <a:pt x="174" y="113"/>
                  </a:cubicBezTo>
                  <a:cubicBezTo>
                    <a:pt x="174" y="93"/>
                    <a:pt x="173" y="60"/>
                    <a:pt x="128" y="60"/>
                  </a:cubicBezTo>
                  <a:cubicBezTo>
                    <a:pt x="96" y="60"/>
                    <a:pt x="72" y="81"/>
                    <a:pt x="72" y="122"/>
                  </a:cubicBezTo>
                  <a:cubicBezTo>
                    <a:pt x="72" y="278"/>
                    <a:pt x="72" y="278"/>
                    <a:pt x="72" y="278"/>
                  </a:cubicBezTo>
                  <a:cubicBezTo>
                    <a:pt x="0" y="278"/>
                    <a:pt x="0" y="278"/>
                    <a:pt x="0" y="278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69" y="7"/>
                    <a:pt x="69" y="7"/>
                    <a:pt x="69" y="7"/>
                  </a:cubicBezTo>
                  <a:cubicBezTo>
                    <a:pt x="69" y="47"/>
                    <a:pt x="69" y="47"/>
                    <a:pt x="69" y="47"/>
                  </a:cubicBezTo>
                  <a:cubicBezTo>
                    <a:pt x="70" y="47"/>
                    <a:pt x="70" y="47"/>
                    <a:pt x="70" y="47"/>
                  </a:cubicBezTo>
                  <a:cubicBezTo>
                    <a:pt x="79" y="30"/>
                    <a:pt x="100" y="0"/>
                    <a:pt x="151" y="0"/>
                  </a:cubicBezTo>
                  <a:cubicBezTo>
                    <a:pt x="204" y="0"/>
                    <a:pt x="245" y="31"/>
                    <a:pt x="245" y="90"/>
                  </a:cubicBezTo>
                  <a:lnTo>
                    <a:pt x="245" y="278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" name="Freeform 136">
              <a:extLst>
                <a:ext uri="{FF2B5EF4-FFF2-40B4-BE49-F238E27FC236}">
                  <a16:creationId xmlns:a16="http://schemas.microsoft.com/office/drawing/2014/main" id="{C73F16CD-9507-4D17-B64F-7BB3D754BC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97675" y="5330825"/>
              <a:ext cx="85725" cy="96837"/>
            </a:xfrm>
            <a:custGeom>
              <a:avLst/>
              <a:gdLst>
                <a:gd name="T0" fmla="*/ 167 w 253"/>
                <a:gd name="T1" fmla="*/ 181 h 285"/>
                <a:gd name="T2" fmla="*/ 104 w 253"/>
                <a:gd name="T3" fmla="*/ 234 h 285"/>
                <a:gd name="T4" fmla="*/ 71 w 253"/>
                <a:gd name="T5" fmla="*/ 201 h 285"/>
                <a:gd name="T6" fmla="*/ 119 w 253"/>
                <a:gd name="T7" fmla="*/ 161 h 285"/>
                <a:gd name="T8" fmla="*/ 167 w 253"/>
                <a:gd name="T9" fmla="*/ 146 h 285"/>
                <a:gd name="T10" fmla="*/ 167 w 253"/>
                <a:gd name="T11" fmla="*/ 181 h 285"/>
                <a:gd name="T12" fmla="*/ 237 w 253"/>
                <a:gd name="T13" fmla="*/ 78 h 285"/>
                <a:gd name="T14" fmla="*/ 129 w 253"/>
                <a:gd name="T15" fmla="*/ 0 h 285"/>
                <a:gd name="T16" fmla="*/ 8 w 253"/>
                <a:gd name="T17" fmla="*/ 95 h 285"/>
                <a:gd name="T18" fmla="*/ 77 w 253"/>
                <a:gd name="T19" fmla="*/ 95 h 285"/>
                <a:gd name="T20" fmla="*/ 121 w 253"/>
                <a:gd name="T21" fmla="*/ 57 h 285"/>
                <a:gd name="T22" fmla="*/ 167 w 253"/>
                <a:gd name="T23" fmla="*/ 88 h 285"/>
                <a:gd name="T24" fmla="*/ 142 w 253"/>
                <a:gd name="T25" fmla="*/ 110 h 285"/>
                <a:gd name="T26" fmla="*/ 78 w 253"/>
                <a:gd name="T27" fmla="*/ 119 h 285"/>
                <a:gd name="T28" fmla="*/ 0 w 253"/>
                <a:gd name="T29" fmla="*/ 206 h 285"/>
                <a:gd name="T30" fmla="*/ 82 w 253"/>
                <a:gd name="T31" fmla="*/ 285 h 285"/>
                <a:gd name="T32" fmla="*/ 169 w 253"/>
                <a:gd name="T33" fmla="*/ 246 h 285"/>
                <a:gd name="T34" fmla="*/ 176 w 253"/>
                <a:gd name="T35" fmla="*/ 278 h 285"/>
                <a:gd name="T36" fmla="*/ 253 w 253"/>
                <a:gd name="T37" fmla="*/ 278 h 285"/>
                <a:gd name="T38" fmla="*/ 253 w 253"/>
                <a:gd name="T39" fmla="*/ 267 h 285"/>
                <a:gd name="T40" fmla="*/ 237 w 253"/>
                <a:gd name="T41" fmla="*/ 225 h 285"/>
                <a:gd name="T42" fmla="*/ 237 w 253"/>
                <a:gd name="T43" fmla="*/ 78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3" h="285">
                  <a:moveTo>
                    <a:pt x="167" y="181"/>
                  </a:moveTo>
                  <a:cubicBezTo>
                    <a:pt x="167" y="214"/>
                    <a:pt x="135" y="234"/>
                    <a:pt x="104" y="234"/>
                  </a:cubicBezTo>
                  <a:cubicBezTo>
                    <a:pt x="90" y="234"/>
                    <a:pt x="71" y="226"/>
                    <a:pt x="71" y="201"/>
                  </a:cubicBezTo>
                  <a:cubicBezTo>
                    <a:pt x="71" y="172"/>
                    <a:pt x="93" y="165"/>
                    <a:pt x="119" y="161"/>
                  </a:cubicBezTo>
                  <a:cubicBezTo>
                    <a:pt x="149" y="156"/>
                    <a:pt x="160" y="152"/>
                    <a:pt x="167" y="146"/>
                  </a:cubicBezTo>
                  <a:lnTo>
                    <a:pt x="167" y="181"/>
                  </a:lnTo>
                  <a:close/>
                  <a:moveTo>
                    <a:pt x="237" y="78"/>
                  </a:moveTo>
                  <a:cubicBezTo>
                    <a:pt x="237" y="12"/>
                    <a:pt x="167" y="0"/>
                    <a:pt x="129" y="0"/>
                  </a:cubicBezTo>
                  <a:cubicBezTo>
                    <a:pt x="74" y="0"/>
                    <a:pt x="16" y="12"/>
                    <a:pt x="8" y="95"/>
                  </a:cubicBezTo>
                  <a:cubicBezTo>
                    <a:pt x="77" y="95"/>
                    <a:pt x="77" y="95"/>
                    <a:pt x="77" y="95"/>
                  </a:cubicBezTo>
                  <a:cubicBezTo>
                    <a:pt x="79" y="79"/>
                    <a:pt x="85" y="57"/>
                    <a:pt x="121" y="57"/>
                  </a:cubicBezTo>
                  <a:cubicBezTo>
                    <a:pt x="139" y="57"/>
                    <a:pt x="167" y="58"/>
                    <a:pt x="167" y="88"/>
                  </a:cubicBezTo>
                  <a:cubicBezTo>
                    <a:pt x="167" y="104"/>
                    <a:pt x="154" y="108"/>
                    <a:pt x="142" y="110"/>
                  </a:cubicBezTo>
                  <a:cubicBezTo>
                    <a:pt x="78" y="119"/>
                    <a:pt x="78" y="119"/>
                    <a:pt x="78" y="119"/>
                  </a:cubicBezTo>
                  <a:cubicBezTo>
                    <a:pt x="33" y="126"/>
                    <a:pt x="0" y="153"/>
                    <a:pt x="0" y="206"/>
                  </a:cubicBezTo>
                  <a:cubicBezTo>
                    <a:pt x="0" y="262"/>
                    <a:pt x="41" y="285"/>
                    <a:pt x="82" y="285"/>
                  </a:cubicBezTo>
                  <a:cubicBezTo>
                    <a:pt x="130" y="285"/>
                    <a:pt x="153" y="262"/>
                    <a:pt x="169" y="246"/>
                  </a:cubicBezTo>
                  <a:cubicBezTo>
                    <a:pt x="171" y="261"/>
                    <a:pt x="172" y="265"/>
                    <a:pt x="176" y="278"/>
                  </a:cubicBezTo>
                  <a:cubicBezTo>
                    <a:pt x="253" y="278"/>
                    <a:pt x="253" y="278"/>
                    <a:pt x="253" y="278"/>
                  </a:cubicBezTo>
                  <a:cubicBezTo>
                    <a:pt x="253" y="267"/>
                    <a:pt x="253" y="267"/>
                    <a:pt x="253" y="267"/>
                  </a:cubicBezTo>
                  <a:cubicBezTo>
                    <a:pt x="244" y="264"/>
                    <a:pt x="237" y="257"/>
                    <a:pt x="237" y="225"/>
                  </a:cubicBezTo>
                  <a:lnTo>
                    <a:pt x="237" y="78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Freeform 137">
              <a:extLst>
                <a:ext uri="{FF2B5EF4-FFF2-40B4-BE49-F238E27FC236}">
                  <a16:creationId xmlns:a16="http://schemas.microsoft.com/office/drawing/2014/main" id="{081A4BCB-FCD3-41C6-B594-280103E70DE9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6575" y="5297488"/>
              <a:ext cx="58738" cy="130175"/>
            </a:xfrm>
            <a:custGeom>
              <a:avLst/>
              <a:gdLst>
                <a:gd name="T0" fmla="*/ 12 w 37"/>
                <a:gd name="T1" fmla="*/ 82 h 82"/>
                <a:gd name="T2" fmla="*/ 0 w 37"/>
                <a:gd name="T3" fmla="*/ 82 h 82"/>
                <a:gd name="T4" fmla="*/ 24 w 37"/>
                <a:gd name="T5" fmla="*/ 0 h 82"/>
                <a:gd name="T6" fmla="*/ 37 w 37"/>
                <a:gd name="T7" fmla="*/ 0 h 82"/>
                <a:gd name="T8" fmla="*/ 12 w 37"/>
                <a:gd name="T9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82">
                  <a:moveTo>
                    <a:pt x="12" y="82"/>
                  </a:moveTo>
                  <a:lnTo>
                    <a:pt x="0" y="82"/>
                  </a:lnTo>
                  <a:lnTo>
                    <a:pt x="24" y="0"/>
                  </a:lnTo>
                  <a:lnTo>
                    <a:pt x="37" y="0"/>
                  </a:lnTo>
                  <a:lnTo>
                    <a:pt x="12" y="82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" name="Freeform 138">
              <a:extLst>
                <a:ext uri="{FF2B5EF4-FFF2-40B4-BE49-F238E27FC236}">
                  <a16:creationId xmlns:a16="http://schemas.microsoft.com/office/drawing/2014/main" id="{09A0D655-3985-45AF-AFCD-49724123EC01}"/>
                </a:ext>
              </a:extLst>
            </p:cNvPr>
            <p:cNvSpPr>
              <a:spLocks/>
            </p:cNvSpPr>
            <p:nvPr/>
          </p:nvSpPr>
          <p:spPr bwMode="auto">
            <a:xfrm>
              <a:off x="6943725" y="5330825"/>
              <a:ext cx="84138" cy="96837"/>
            </a:xfrm>
            <a:custGeom>
              <a:avLst/>
              <a:gdLst>
                <a:gd name="T0" fmla="*/ 171 w 249"/>
                <a:gd name="T1" fmla="*/ 89 h 285"/>
                <a:gd name="T2" fmla="*/ 123 w 249"/>
                <a:gd name="T3" fmla="*/ 54 h 285"/>
                <a:gd name="T4" fmla="*/ 79 w 249"/>
                <a:gd name="T5" fmla="*/ 80 h 285"/>
                <a:gd name="T6" fmla="*/ 249 w 249"/>
                <a:gd name="T7" fmla="*/ 192 h 285"/>
                <a:gd name="T8" fmla="*/ 130 w 249"/>
                <a:gd name="T9" fmla="*/ 285 h 285"/>
                <a:gd name="T10" fmla="*/ 0 w 249"/>
                <a:gd name="T11" fmla="*/ 191 h 285"/>
                <a:gd name="T12" fmla="*/ 73 w 249"/>
                <a:gd name="T13" fmla="*/ 191 h 285"/>
                <a:gd name="T14" fmla="*/ 132 w 249"/>
                <a:gd name="T15" fmla="*/ 231 h 285"/>
                <a:gd name="T16" fmla="*/ 178 w 249"/>
                <a:gd name="T17" fmla="*/ 203 h 285"/>
                <a:gd name="T18" fmla="*/ 10 w 249"/>
                <a:gd name="T19" fmla="*/ 90 h 285"/>
                <a:gd name="T20" fmla="*/ 119 w 249"/>
                <a:gd name="T21" fmla="*/ 0 h 285"/>
                <a:gd name="T22" fmla="*/ 241 w 249"/>
                <a:gd name="T23" fmla="*/ 89 h 285"/>
                <a:gd name="T24" fmla="*/ 171 w 249"/>
                <a:gd name="T25" fmla="*/ 89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9" h="285">
                  <a:moveTo>
                    <a:pt x="171" y="89"/>
                  </a:moveTo>
                  <a:cubicBezTo>
                    <a:pt x="168" y="72"/>
                    <a:pt x="162" y="54"/>
                    <a:pt x="123" y="54"/>
                  </a:cubicBezTo>
                  <a:cubicBezTo>
                    <a:pt x="84" y="54"/>
                    <a:pt x="79" y="69"/>
                    <a:pt x="79" y="80"/>
                  </a:cubicBezTo>
                  <a:cubicBezTo>
                    <a:pt x="79" y="123"/>
                    <a:pt x="249" y="92"/>
                    <a:pt x="249" y="192"/>
                  </a:cubicBezTo>
                  <a:cubicBezTo>
                    <a:pt x="249" y="271"/>
                    <a:pt x="172" y="285"/>
                    <a:pt x="130" y="285"/>
                  </a:cubicBezTo>
                  <a:cubicBezTo>
                    <a:pt x="69" y="285"/>
                    <a:pt x="2" y="263"/>
                    <a:pt x="0" y="191"/>
                  </a:cubicBezTo>
                  <a:cubicBezTo>
                    <a:pt x="73" y="191"/>
                    <a:pt x="73" y="191"/>
                    <a:pt x="73" y="191"/>
                  </a:cubicBezTo>
                  <a:cubicBezTo>
                    <a:pt x="73" y="214"/>
                    <a:pt x="87" y="231"/>
                    <a:pt x="132" y="231"/>
                  </a:cubicBezTo>
                  <a:cubicBezTo>
                    <a:pt x="169" y="231"/>
                    <a:pt x="178" y="213"/>
                    <a:pt x="178" y="203"/>
                  </a:cubicBezTo>
                  <a:cubicBezTo>
                    <a:pt x="178" y="158"/>
                    <a:pt x="10" y="192"/>
                    <a:pt x="10" y="90"/>
                  </a:cubicBezTo>
                  <a:cubicBezTo>
                    <a:pt x="10" y="51"/>
                    <a:pt x="35" y="0"/>
                    <a:pt x="119" y="0"/>
                  </a:cubicBezTo>
                  <a:cubicBezTo>
                    <a:pt x="172" y="0"/>
                    <a:pt x="235" y="13"/>
                    <a:pt x="241" y="89"/>
                  </a:cubicBezTo>
                  <a:lnTo>
                    <a:pt x="171" y="89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70" name="Gruppe 69">
            <a:extLst>
              <a:ext uri="{FF2B5EF4-FFF2-40B4-BE49-F238E27FC236}">
                <a16:creationId xmlns:a16="http://schemas.microsoft.com/office/drawing/2014/main" id="{4C6D666D-E853-4DD7-A1DD-30200F9F5C38}"/>
              </a:ext>
            </a:extLst>
          </p:cNvPr>
          <p:cNvGrpSpPr>
            <a:grpSpLocks noChangeAspect="1"/>
          </p:cNvGrpSpPr>
          <p:nvPr/>
        </p:nvGrpSpPr>
        <p:grpSpPr>
          <a:xfrm>
            <a:off x="7845509" y="3890541"/>
            <a:ext cx="508798" cy="146566"/>
            <a:chOff x="7085013" y="4059238"/>
            <a:chExt cx="1449387" cy="417512"/>
          </a:xfrm>
        </p:grpSpPr>
        <p:sp>
          <p:nvSpPr>
            <p:cNvPr id="71" name="Freeform 139">
              <a:extLst>
                <a:ext uri="{FF2B5EF4-FFF2-40B4-BE49-F238E27FC236}">
                  <a16:creationId xmlns:a16="http://schemas.microsoft.com/office/drawing/2014/main" id="{BC961A02-F6BC-4407-B1EE-35399BBD0737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4129088"/>
              <a:ext cx="144463" cy="188912"/>
            </a:xfrm>
            <a:custGeom>
              <a:avLst/>
              <a:gdLst>
                <a:gd name="T0" fmla="*/ 182 w 422"/>
                <a:gd name="T1" fmla="*/ 550 h 550"/>
                <a:gd name="T2" fmla="*/ 3 w 422"/>
                <a:gd name="T3" fmla="*/ 531 h 550"/>
                <a:gd name="T4" fmla="*/ 3 w 422"/>
                <a:gd name="T5" fmla="*/ 449 h 550"/>
                <a:gd name="T6" fmla="*/ 169 w 422"/>
                <a:gd name="T7" fmla="*/ 473 h 550"/>
                <a:gd name="T8" fmla="*/ 317 w 422"/>
                <a:gd name="T9" fmla="*/ 395 h 550"/>
                <a:gd name="T10" fmla="*/ 157 w 422"/>
                <a:gd name="T11" fmla="*/ 305 h 550"/>
                <a:gd name="T12" fmla="*/ 0 w 422"/>
                <a:gd name="T13" fmla="*/ 155 h 550"/>
                <a:gd name="T14" fmla="*/ 217 w 422"/>
                <a:gd name="T15" fmla="*/ 0 h 550"/>
                <a:gd name="T16" fmla="*/ 387 w 422"/>
                <a:gd name="T17" fmla="*/ 15 h 550"/>
                <a:gd name="T18" fmla="*/ 387 w 422"/>
                <a:gd name="T19" fmla="*/ 95 h 550"/>
                <a:gd name="T20" fmla="*/ 235 w 422"/>
                <a:gd name="T21" fmla="*/ 78 h 550"/>
                <a:gd name="T22" fmla="*/ 101 w 422"/>
                <a:gd name="T23" fmla="*/ 148 h 550"/>
                <a:gd name="T24" fmla="*/ 422 w 422"/>
                <a:gd name="T25" fmla="*/ 382 h 550"/>
                <a:gd name="T26" fmla="*/ 182 w 422"/>
                <a:gd name="T27" fmla="*/ 55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22" h="550">
                  <a:moveTo>
                    <a:pt x="182" y="550"/>
                  </a:moveTo>
                  <a:cubicBezTo>
                    <a:pt x="119" y="550"/>
                    <a:pt x="60" y="542"/>
                    <a:pt x="3" y="531"/>
                  </a:cubicBezTo>
                  <a:cubicBezTo>
                    <a:pt x="3" y="449"/>
                    <a:pt x="3" y="449"/>
                    <a:pt x="3" y="449"/>
                  </a:cubicBezTo>
                  <a:cubicBezTo>
                    <a:pt x="64" y="462"/>
                    <a:pt x="116" y="473"/>
                    <a:pt x="169" y="473"/>
                  </a:cubicBezTo>
                  <a:cubicBezTo>
                    <a:pt x="243" y="473"/>
                    <a:pt x="317" y="455"/>
                    <a:pt x="317" y="395"/>
                  </a:cubicBezTo>
                  <a:cubicBezTo>
                    <a:pt x="317" y="324"/>
                    <a:pt x="210" y="318"/>
                    <a:pt x="157" y="305"/>
                  </a:cubicBezTo>
                  <a:cubicBezTo>
                    <a:pt x="84" y="286"/>
                    <a:pt x="0" y="258"/>
                    <a:pt x="0" y="155"/>
                  </a:cubicBezTo>
                  <a:cubicBezTo>
                    <a:pt x="0" y="34"/>
                    <a:pt x="111" y="0"/>
                    <a:pt x="217" y="0"/>
                  </a:cubicBezTo>
                  <a:cubicBezTo>
                    <a:pt x="292" y="0"/>
                    <a:pt x="346" y="9"/>
                    <a:pt x="387" y="15"/>
                  </a:cubicBezTo>
                  <a:cubicBezTo>
                    <a:pt x="387" y="95"/>
                    <a:pt x="387" y="95"/>
                    <a:pt x="387" y="95"/>
                  </a:cubicBezTo>
                  <a:cubicBezTo>
                    <a:pt x="338" y="86"/>
                    <a:pt x="285" y="78"/>
                    <a:pt x="235" y="78"/>
                  </a:cubicBezTo>
                  <a:cubicBezTo>
                    <a:pt x="184" y="78"/>
                    <a:pt x="101" y="86"/>
                    <a:pt x="101" y="148"/>
                  </a:cubicBezTo>
                  <a:cubicBezTo>
                    <a:pt x="101" y="263"/>
                    <a:pt x="422" y="180"/>
                    <a:pt x="422" y="382"/>
                  </a:cubicBezTo>
                  <a:cubicBezTo>
                    <a:pt x="422" y="486"/>
                    <a:pt x="338" y="550"/>
                    <a:pt x="182" y="550"/>
                  </a:cubicBezTo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Freeform 140">
              <a:extLst>
                <a:ext uri="{FF2B5EF4-FFF2-40B4-BE49-F238E27FC236}">
                  <a16:creationId xmlns:a16="http://schemas.microsoft.com/office/drawing/2014/main" id="{4D6FF785-C257-49F9-BD59-1E345F3C0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7240588" y="4129088"/>
              <a:ext cx="144463" cy="188912"/>
            </a:xfrm>
            <a:custGeom>
              <a:avLst/>
              <a:gdLst>
                <a:gd name="T0" fmla="*/ 290 w 427"/>
                <a:gd name="T1" fmla="*/ 550 h 550"/>
                <a:gd name="T2" fmla="*/ 0 w 427"/>
                <a:gd name="T3" fmla="*/ 265 h 550"/>
                <a:gd name="T4" fmla="*/ 284 w 427"/>
                <a:gd name="T5" fmla="*/ 0 h 550"/>
                <a:gd name="T6" fmla="*/ 421 w 427"/>
                <a:gd name="T7" fmla="*/ 12 h 550"/>
                <a:gd name="T8" fmla="*/ 421 w 427"/>
                <a:gd name="T9" fmla="*/ 91 h 550"/>
                <a:gd name="T10" fmla="*/ 318 w 427"/>
                <a:gd name="T11" fmla="*/ 80 h 550"/>
                <a:gd name="T12" fmla="*/ 107 w 427"/>
                <a:gd name="T13" fmla="*/ 267 h 550"/>
                <a:gd name="T14" fmla="*/ 319 w 427"/>
                <a:gd name="T15" fmla="*/ 471 h 550"/>
                <a:gd name="T16" fmla="*/ 427 w 427"/>
                <a:gd name="T17" fmla="*/ 460 h 550"/>
                <a:gd name="T18" fmla="*/ 427 w 427"/>
                <a:gd name="T19" fmla="*/ 537 h 550"/>
                <a:gd name="T20" fmla="*/ 290 w 427"/>
                <a:gd name="T21" fmla="*/ 55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27" h="550">
                  <a:moveTo>
                    <a:pt x="290" y="550"/>
                  </a:moveTo>
                  <a:cubicBezTo>
                    <a:pt x="119" y="550"/>
                    <a:pt x="0" y="456"/>
                    <a:pt x="0" y="265"/>
                  </a:cubicBezTo>
                  <a:cubicBezTo>
                    <a:pt x="0" y="96"/>
                    <a:pt x="126" y="0"/>
                    <a:pt x="284" y="0"/>
                  </a:cubicBezTo>
                  <a:cubicBezTo>
                    <a:pt x="339" y="0"/>
                    <a:pt x="371" y="3"/>
                    <a:pt x="421" y="12"/>
                  </a:cubicBezTo>
                  <a:cubicBezTo>
                    <a:pt x="421" y="91"/>
                    <a:pt x="421" y="91"/>
                    <a:pt x="421" y="91"/>
                  </a:cubicBezTo>
                  <a:cubicBezTo>
                    <a:pt x="379" y="84"/>
                    <a:pt x="351" y="80"/>
                    <a:pt x="318" y="80"/>
                  </a:cubicBezTo>
                  <a:cubicBezTo>
                    <a:pt x="198" y="79"/>
                    <a:pt x="107" y="131"/>
                    <a:pt x="107" y="267"/>
                  </a:cubicBezTo>
                  <a:cubicBezTo>
                    <a:pt x="107" y="404"/>
                    <a:pt x="188" y="472"/>
                    <a:pt x="319" y="471"/>
                  </a:cubicBezTo>
                  <a:cubicBezTo>
                    <a:pt x="348" y="470"/>
                    <a:pt x="380" y="468"/>
                    <a:pt x="427" y="460"/>
                  </a:cubicBezTo>
                  <a:cubicBezTo>
                    <a:pt x="427" y="537"/>
                    <a:pt x="427" y="537"/>
                    <a:pt x="427" y="537"/>
                  </a:cubicBezTo>
                  <a:cubicBezTo>
                    <a:pt x="375" y="547"/>
                    <a:pt x="333" y="550"/>
                    <a:pt x="290" y="550"/>
                  </a:cubicBezTo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" name="Freeform 141">
              <a:extLst>
                <a:ext uri="{FF2B5EF4-FFF2-40B4-BE49-F238E27FC236}">
                  <a16:creationId xmlns:a16="http://schemas.microsoft.com/office/drawing/2014/main" id="{B72D1D38-A585-491C-9083-AEF0CFAD09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96163" y="4129088"/>
              <a:ext cx="157163" cy="188912"/>
            </a:xfrm>
            <a:custGeom>
              <a:avLst/>
              <a:gdLst>
                <a:gd name="T0" fmla="*/ 232 w 463"/>
                <a:gd name="T1" fmla="*/ 550 h 550"/>
                <a:gd name="T2" fmla="*/ 0 w 463"/>
                <a:gd name="T3" fmla="*/ 377 h 550"/>
                <a:gd name="T4" fmla="*/ 277 w 463"/>
                <a:gd name="T5" fmla="*/ 212 h 550"/>
                <a:gd name="T6" fmla="*/ 363 w 463"/>
                <a:gd name="T7" fmla="*/ 215 h 550"/>
                <a:gd name="T8" fmla="*/ 211 w 463"/>
                <a:gd name="T9" fmla="*/ 77 h 550"/>
                <a:gd name="T10" fmla="*/ 36 w 463"/>
                <a:gd name="T11" fmla="*/ 98 h 550"/>
                <a:gd name="T12" fmla="*/ 36 w 463"/>
                <a:gd name="T13" fmla="*/ 19 h 550"/>
                <a:gd name="T14" fmla="*/ 222 w 463"/>
                <a:gd name="T15" fmla="*/ 0 h 550"/>
                <a:gd name="T16" fmla="*/ 463 w 463"/>
                <a:gd name="T17" fmla="*/ 175 h 550"/>
                <a:gd name="T18" fmla="*/ 463 w 463"/>
                <a:gd name="T19" fmla="*/ 538 h 550"/>
                <a:gd name="T20" fmla="*/ 232 w 463"/>
                <a:gd name="T21" fmla="*/ 550 h 550"/>
                <a:gd name="T22" fmla="*/ 364 w 463"/>
                <a:gd name="T23" fmla="*/ 290 h 550"/>
                <a:gd name="T24" fmla="*/ 274 w 463"/>
                <a:gd name="T25" fmla="*/ 287 h 550"/>
                <a:gd name="T26" fmla="*/ 104 w 463"/>
                <a:gd name="T27" fmla="*/ 380 h 550"/>
                <a:gd name="T28" fmla="*/ 265 w 463"/>
                <a:gd name="T29" fmla="*/ 478 h 550"/>
                <a:gd name="T30" fmla="*/ 364 w 463"/>
                <a:gd name="T31" fmla="*/ 473 h 550"/>
                <a:gd name="T32" fmla="*/ 364 w 463"/>
                <a:gd name="T33" fmla="*/ 29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3" h="550">
                  <a:moveTo>
                    <a:pt x="232" y="550"/>
                  </a:moveTo>
                  <a:cubicBezTo>
                    <a:pt x="95" y="550"/>
                    <a:pt x="0" y="520"/>
                    <a:pt x="0" y="377"/>
                  </a:cubicBezTo>
                  <a:cubicBezTo>
                    <a:pt x="0" y="213"/>
                    <a:pt x="167" y="212"/>
                    <a:pt x="277" y="212"/>
                  </a:cubicBezTo>
                  <a:cubicBezTo>
                    <a:pt x="300" y="212"/>
                    <a:pt x="328" y="215"/>
                    <a:pt x="363" y="215"/>
                  </a:cubicBezTo>
                  <a:cubicBezTo>
                    <a:pt x="363" y="104"/>
                    <a:pt x="358" y="77"/>
                    <a:pt x="211" y="77"/>
                  </a:cubicBezTo>
                  <a:cubicBezTo>
                    <a:pt x="155" y="77"/>
                    <a:pt x="92" y="88"/>
                    <a:pt x="36" y="98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100" y="6"/>
                    <a:pt x="162" y="0"/>
                    <a:pt x="222" y="0"/>
                  </a:cubicBezTo>
                  <a:cubicBezTo>
                    <a:pt x="369" y="0"/>
                    <a:pt x="463" y="20"/>
                    <a:pt x="463" y="175"/>
                  </a:cubicBezTo>
                  <a:cubicBezTo>
                    <a:pt x="463" y="538"/>
                    <a:pt x="463" y="538"/>
                    <a:pt x="463" y="538"/>
                  </a:cubicBezTo>
                  <a:cubicBezTo>
                    <a:pt x="374" y="548"/>
                    <a:pt x="304" y="550"/>
                    <a:pt x="232" y="550"/>
                  </a:cubicBezTo>
                  <a:moveTo>
                    <a:pt x="364" y="290"/>
                  </a:moveTo>
                  <a:cubicBezTo>
                    <a:pt x="321" y="289"/>
                    <a:pt x="289" y="287"/>
                    <a:pt x="274" y="287"/>
                  </a:cubicBezTo>
                  <a:cubicBezTo>
                    <a:pt x="169" y="287"/>
                    <a:pt x="104" y="303"/>
                    <a:pt x="104" y="380"/>
                  </a:cubicBezTo>
                  <a:cubicBezTo>
                    <a:pt x="104" y="469"/>
                    <a:pt x="185" y="478"/>
                    <a:pt x="265" y="478"/>
                  </a:cubicBezTo>
                  <a:cubicBezTo>
                    <a:pt x="292" y="478"/>
                    <a:pt x="313" y="476"/>
                    <a:pt x="364" y="473"/>
                  </a:cubicBezTo>
                  <a:lnTo>
                    <a:pt x="364" y="290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Freeform 142">
              <a:extLst>
                <a:ext uri="{FF2B5EF4-FFF2-40B4-BE49-F238E27FC236}">
                  <a16:creationId xmlns:a16="http://schemas.microsoft.com/office/drawing/2014/main" id="{0D89285A-32B3-41B5-B9BE-A44826FDFB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78725" y="4129088"/>
              <a:ext cx="158750" cy="184150"/>
            </a:xfrm>
            <a:custGeom>
              <a:avLst/>
              <a:gdLst>
                <a:gd name="T0" fmla="*/ 363 w 465"/>
                <a:gd name="T1" fmla="*/ 539 h 539"/>
                <a:gd name="T2" fmla="*/ 363 w 465"/>
                <a:gd name="T3" fmla="*/ 202 h 539"/>
                <a:gd name="T4" fmla="*/ 271 w 465"/>
                <a:gd name="T5" fmla="*/ 85 h 539"/>
                <a:gd name="T6" fmla="*/ 99 w 465"/>
                <a:gd name="T7" fmla="*/ 133 h 539"/>
                <a:gd name="T8" fmla="*/ 99 w 465"/>
                <a:gd name="T9" fmla="*/ 539 h 539"/>
                <a:gd name="T10" fmla="*/ 0 w 465"/>
                <a:gd name="T11" fmla="*/ 539 h 539"/>
                <a:gd name="T12" fmla="*/ 0 w 465"/>
                <a:gd name="T13" fmla="*/ 10 h 539"/>
                <a:gd name="T14" fmla="*/ 92 w 465"/>
                <a:gd name="T15" fmla="*/ 10 h 539"/>
                <a:gd name="T16" fmla="*/ 92 w 465"/>
                <a:gd name="T17" fmla="*/ 59 h 539"/>
                <a:gd name="T18" fmla="*/ 306 w 465"/>
                <a:gd name="T19" fmla="*/ 0 h 539"/>
                <a:gd name="T20" fmla="*/ 465 w 465"/>
                <a:gd name="T21" fmla="*/ 161 h 539"/>
                <a:gd name="T22" fmla="*/ 465 w 465"/>
                <a:gd name="T23" fmla="*/ 539 h 539"/>
                <a:gd name="T24" fmla="*/ 363 w 465"/>
                <a:gd name="T25" fmla="*/ 539 h 5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5" h="539">
                  <a:moveTo>
                    <a:pt x="363" y="539"/>
                  </a:moveTo>
                  <a:cubicBezTo>
                    <a:pt x="363" y="202"/>
                    <a:pt x="363" y="202"/>
                    <a:pt x="363" y="202"/>
                  </a:cubicBezTo>
                  <a:cubicBezTo>
                    <a:pt x="363" y="146"/>
                    <a:pt x="362" y="85"/>
                    <a:pt x="271" y="85"/>
                  </a:cubicBezTo>
                  <a:cubicBezTo>
                    <a:pt x="220" y="85"/>
                    <a:pt x="145" y="114"/>
                    <a:pt x="99" y="133"/>
                  </a:cubicBezTo>
                  <a:cubicBezTo>
                    <a:pt x="99" y="539"/>
                    <a:pt x="99" y="539"/>
                    <a:pt x="99" y="539"/>
                  </a:cubicBezTo>
                  <a:cubicBezTo>
                    <a:pt x="0" y="539"/>
                    <a:pt x="0" y="539"/>
                    <a:pt x="0" y="53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92" y="10"/>
                    <a:pt x="92" y="10"/>
                    <a:pt x="92" y="10"/>
                  </a:cubicBezTo>
                  <a:cubicBezTo>
                    <a:pt x="92" y="59"/>
                    <a:pt x="92" y="59"/>
                    <a:pt x="92" y="59"/>
                  </a:cubicBezTo>
                  <a:cubicBezTo>
                    <a:pt x="197" y="12"/>
                    <a:pt x="233" y="0"/>
                    <a:pt x="306" y="0"/>
                  </a:cubicBezTo>
                  <a:cubicBezTo>
                    <a:pt x="381" y="0"/>
                    <a:pt x="465" y="44"/>
                    <a:pt x="465" y="161"/>
                  </a:cubicBezTo>
                  <a:cubicBezTo>
                    <a:pt x="465" y="539"/>
                    <a:pt x="465" y="539"/>
                    <a:pt x="465" y="539"/>
                  </a:cubicBezTo>
                  <a:lnTo>
                    <a:pt x="363" y="539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Freeform 143">
              <a:extLst>
                <a:ext uri="{FF2B5EF4-FFF2-40B4-BE49-F238E27FC236}">
                  <a16:creationId xmlns:a16="http://schemas.microsoft.com/office/drawing/2014/main" id="{22104811-D8ED-4601-9590-F9A4409EC0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56525" y="4059238"/>
              <a:ext cx="165100" cy="258762"/>
            </a:xfrm>
            <a:custGeom>
              <a:avLst/>
              <a:gdLst>
                <a:gd name="T0" fmla="*/ 484 w 485"/>
                <a:gd name="T1" fmla="*/ 738 h 756"/>
                <a:gd name="T2" fmla="*/ 291 w 485"/>
                <a:gd name="T3" fmla="*/ 756 h 756"/>
                <a:gd name="T4" fmla="*/ 0 w 485"/>
                <a:gd name="T5" fmla="*/ 485 h 756"/>
                <a:gd name="T6" fmla="*/ 268 w 485"/>
                <a:gd name="T7" fmla="*/ 202 h 756"/>
                <a:gd name="T8" fmla="*/ 383 w 485"/>
                <a:gd name="T9" fmla="*/ 209 h 756"/>
                <a:gd name="T10" fmla="*/ 383 w 485"/>
                <a:gd name="T11" fmla="*/ 0 h 756"/>
                <a:gd name="T12" fmla="*/ 484 w 485"/>
                <a:gd name="T13" fmla="*/ 0 h 756"/>
                <a:gd name="T14" fmla="*/ 484 w 485"/>
                <a:gd name="T15" fmla="*/ 738 h 756"/>
                <a:gd name="T16" fmla="*/ 383 w 485"/>
                <a:gd name="T17" fmla="*/ 289 h 756"/>
                <a:gd name="T18" fmla="*/ 290 w 485"/>
                <a:gd name="T19" fmla="*/ 280 h 756"/>
                <a:gd name="T20" fmla="*/ 107 w 485"/>
                <a:gd name="T21" fmla="*/ 482 h 756"/>
                <a:gd name="T22" fmla="*/ 295 w 485"/>
                <a:gd name="T23" fmla="*/ 680 h 756"/>
                <a:gd name="T24" fmla="*/ 383 w 485"/>
                <a:gd name="T25" fmla="*/ 675 h 756"/>
                <a:gd name="T26" fmla="*/ 383 w 485"/>
                <a:gd name="T27" fmla="*/ 289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5" h="756">
                  <a:moveTo>
                    <a:pt x="484" y="738"/>
                  </a:moveTo>
                  <a:cubicBezTo>
                    <a:pt x="484" y="738"/>
                    <a:pt x="352" y="756"/>
                    <a:pt x="291" y="756"/>
                  </a:cubicBezTo>
                  <a:cubicBezTo>
                    <a:pt x="124" y="756"/>
                    <a:pt x="0" y="663"/>
                    <a:pt x="0" y="485"/>
                  </a:cubicBezTo>
                  <a:cubicBezTo>
                    <a:pt x="0" y="316"/>
                    <a:pt x="95" y="202"/>
                    <a:pt x="268" y="202"/>
                  </a:cubicBezTo>
                  <a:cubicBezTo>
                    <a:pt x="289" y="202"/>
                    <a:pt x="326" y="201"/>
                    <a:pt x="383" y="209"/>
                  </a:cubicBezTo>
                  <a:cubicBezTo>
                    <a:pt x="383" y="0"/>
                    <a:pt x="383" y="0"/>
                    <a:pt x="383" y="0"/>
                  </a:cubicBezTo>
                  <a:cubicBezTo>
                    <a:pt x="484" y="0"/>
                    <a:pt x="484" y="0"/>
                    <a:pt x="484" y="0"/>
                  </a:cubicBezTo>
                  <a:cubicBezTo>
                    <a:pt x="484" y="0"/>
                    <a:pt x="485" y="620"/>
                    <a:pt x="484" y="738"/>
                  </a:cubicBezTo>
                  <a:moveTo>
                    <a:pt x="383" y="289"/>
                  </a:moveTo>
                  <a:cubicBezTo>
                    <a:pt x="341" y="282"/>
                    <a:pt x="313" y="280"/>
                    <a:pt x="290" y="280"/>
                  </a:cubicBezTo>
                  <a:cubicBezTo>
                    <a:pt x="172" y="280"/>
                    <a:pt x="107" y="344"/>
                    <a:pt x="107" y="482"/>
                  </a:cubicBezTo>
                  <a:cubicBezTo>
                    <a:pt x="107" y="599"/>
                    <a:pt x="175" y="680"/>
                    <a:pt x="295" y="680"/>
                  </a:cubicBezTo>
                  <a:cubicBezTo>
                    <a:pt x="315" y="680"/>
                    <a:pt x="340" y="679"/>
                    <a:pt x="383" y="675"/>
                  </a:cubicBezTo>
                  <a:lnTo>
                    <a:pt x="383" y="289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" name="Freeform 144">
              <a:extLst>
                <a:ext uri="{FF2B5EF4-FFF2-40B4-BE49-F238E27FC236}">
                  <a16:creationId xmlns:a16="http://schemas.microsoft.com/office/drawing/2014/main" id="{5A4FEFF2-3C0B-4DDB-A968-95AC002A02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23225" y="4059238"/>
              <a:ext cx="163513" cy="258762"/>
            </a:xfrm>
            <a:custGeom>
              <a:avLst/>
              <a:gdLst>
                <a:gd name="T0" fmla="*/ 189 w 481"/>
                <a:gd name="T1" fmla="*/ 756 h 756"/>
                <a:gd name="T2" fmla="*/ 0 w 481"/>
                <a:gd name="T3" fmla="*/ 739 h 756"/>
                <a:gd name="T4" fmla="*/ 0 w 481"/>
                <a:gd name="T5" fmla="*/ 0 h 756"/>
                <a:gd name="T6" fmla="*/ 101 w 481"/>
                <a:gd name="T7" fmla="*/ 0 h 756"/>
                <a:gd name="T8" fmla="*/ 101 w 481"/>
                <a:gd name="T9" fmla="*/ 211 h 756"/>
                <a:gd name="T10" fmla="*/ 218 w 481"/>
                <a:gd name="T11" fmla="*/ 203 h 756"/>
                <a:gd name="T12" fmla="*/ 481 w 481"/>
                <a:gd name="T13" fmla="*/ 482 h 756"/>
                <a:gd name="T14" fmla="*/ 189 w 481"/>
                <a:gd name="T15" fmla="*/ 756 h 756"/>
                <a:gd name="T16" fmla="*/ 191 w 481"/>
                <a:gd name="T17" fmla="*/ 280 h 756"/>
                <a:gd name="T18" fmla="*/ 100 w 481"/>
                <a:gd name="T19" fmla="*/ 287 h 756"/>
                <a:gd name="T20" fmla="*/ 100 w 481"/>
                <a:gd name="T21" fmla="*/ 674 h 756"/>
                <a:gd name="T22" fmla="*/ 189 w 481"/>
                <a:gd name="T23" fmla="*/ 680 h 756"/>
                <a:gd name="T24" fmla="*/ 374 w 481"/>
                <a:gd name="T25" fmla="*/ 481 h 756"/>
                <a:gd name="T26" fmla="*/ 191 w 481"/>
                <a:gd name="T27" fmla="*/ 280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1" h="756">
                  <a:moveTo>
                    <a:pt x="189" y="756"/>
                  </a:moveTo>
                  <a:cubicBezTo>
                    <a:pt x="147" y="756"/>
                    <a:pt x="0" y="739"/>
                    <a:pt x="0" y="7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1" y="211"/>
                    <a:pt x="101" y="211"/>
                    <a:pt x="101" y="211"/>
                  </a:cubicBezTo>
                  <a:cubicBezTo>
                    <a:pt x="163" y="203"/>
                    <a:pt x="203" y="203"/>
                    <a:pt x="218" y="203"/>
                  </a:cubicBezTo>
                  <a:cubicBezTo>
                    <a:pt x="379" y="203"/>
                    <a:pt x="481" y="305"/>
                    <a:pt x="481" y="482"/>
                  </a:cubicBezTo>
                  <a:cubicBezTo>
                    <a:pt x="481" y="657"/>
                    <a:pt x="356" y="756"/>
                    <a:pt x="189" y="756"/>
                  </a:cubicBezTo>
                  <a:moveTo>
                    <a:pt x="191" y="280"/>
                  </a:moveTo>
                  <a:cubicBezTo>
                    <a:pt x="169" y="280"/>
                    <a:pt x="137" y="282"/>
                    <a:pt x="100" y="287"/>
                  </a:cubicBezTo>
                  <a:cubicBezTo>
                    <a:pt x="100" y="674"/>
                    <a:pt x="100" y="674"/>
                    <a:pt x="100" y="674"/>
                  </a:cubicBezTo>
                  <a:cubicBezTo>
                    <a:pt x="143" y="680"/>
                    <a:pt x="171" y="680"/>
                    <a:pt x="189" y="680"/>
                  </a:cubicBezTo>
                  <a:cubicBezTo>
                    <a:pt x="312" y="680"/>
                    <a:pt x="374" y="602"/>
                    <a:pt x="374" y="481"/>
                  </a:cubicBezTo>
                  <a:cubicBezTo>
                    <a:pt x="374" y="351"/>
                    <a:pt x="317" y="280"/>
                    <a:pt x="191" y="280"/>
                  </a:cubicBezTo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Freeform 145">
              <a:extLst>
                <a:ext uri="{FF2B5EF4-FFF2-40B4-BE49-F238E27FC236}">
                  <a16:creationId xmlns:a16="http://schemas.microsoft.com/office/drawing/2014/main" id="{2CB6439C-E89D-4100-93CF-64BA0FB0B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7213" y="4133850"/>
              <a:ext cx="180975" cy="223837"/>
            </a:xfrm>
            <a:custGeom>
              <a:avLst/>
              <a:gdLst>
                <a:gd name="T0" fmla="*/ 114 w 114"/>
                <a:gd name="T1" fmla="*/ 0 h 141"/>
                <a:gd name="T2" fmla="*/ 90 w 114"/>
                <a:gd name="T3" fmla="*/ 0 h 141"/>
                <a:gd name="T4" fmla="*/ 58 w 114"/>
                <a:gd name="T5" fmla="*/ 96 h 141"/>
                <a:gd name="T6" fmla="*/ 24 w 114"/>
                <a:gd name="T7" fmla="*/ 0 h 141"/>
                <a:gd name="T8" fmla="*/ 0 w 114"/>
                <a:gd name="T9" fmla="*/ 0 h 141"/>
                <a:gd name="T10" fmla="*/ 42 w 114"/>
                <a:gd name="T11" fmla="*/ 113 h 141"/>
                <a:gd name="T12" fmla="*/ 51 w 114"/>
                <a:gd name="T13" fmla="*/ 113 h 141"/>
                <a:gd name="T14" fmla="*/ 40 w 114"/>
                <a:gd name="T15" fmla="*/ 141 h 141"/>
                <a:gd name="T16" fmla="*/ 62 w 114"/>
                <a:gd name="T17" fmla="*/ 141 h 141"/>
                <a:gd name="T18" fmla="*/ 114 w 114"/>
                <a:gd name="T1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41">
                  <a:moveTo>
                    <a:pt x="114" y="0"/>
                  </a:moveTo>
                  <a:lnTo>
                    <a:pt x="90" y="0"/>
                  </a:lnTo>
                  <a:lnTo>
                    <a:pt x="58" y="96"/>
                  </a:lnTo>
                  <a:lnTo>
                    <a:pt x="24" y="0"/>
                  </a:lnTo>
                  <a:lnTo>
                    <a:pt x="0" y="0"/>
                  </a:lnTo>
                  <a:lnTo>
                    <a:pt x="42" y="113"/>
                  </a:lnTo>
                  <a:lnTo>
                    <a:pt x="51" y="113"/>
                  </a:lnTo>
                  <a:lnTo>
                    <a:pt x="40" y="141"/>
                  </a:lnTo>
                  <a:lnTo>
                    <a:pt x="62" y="141"/>
                  </a:lnTo>
                  <a:lnTo>
                    <a:pt x="114" y="0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" name="Freeform 146">
              <a:extLst>
                <a:ext uri="{FF2B5EF4-FFF2-40B4-BE49-F238E27FC236}">
                  <a16:creationId xmlns:a16="http://schemas.microsoft.com/office/drawing/2014/main" id="{57453506-D642-4203-A03E-5B13D94BFD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56600" y="4127500"/>
              <a:ext cx="177800" cy="230187"/>
            </a:xfrm>
            <a:custGeom>
              <a:avLst/>
              <a:gdLst>
                <a:gd name="T0" fmla="*/ 508 w 519"/>
                <a:gd name="T1" fmla="*/ 600 h 673"/>
                <a:gd name="T2" fmla="*/ 163 w 519"/>
                <a:gd name="T3" fmla="*/ 473 h 673"/>
                <a:gd name="T4" fmla="*/ 111 w 519"/>
                <a:gd name="T5" fmla="*/ 442 h 673"/>
                <a:gd name="T6" fmla="*/ 166 w 519"/>
                <a:gd name="T7" fmla="*/ 373 h 673"/>
                <a:gd name="T8" fmla="*/ 221 w 519"/>
                <a:gd name="T9" fmla="*/ 378 h 673"/>
                <a:gd name="T10" fmla="*/ 449 w 519"/>
                <a:gd name="T11" fmla="*/ 192 h 673"/>
                <a:gd name="T12" fmla="*/ 403 w 519"/>
                <a:gd name="T13" fmla="*/ 77 h 673"/>
                <a:gd name="T14" fmla="*/ 519 w 519"/>
                <a:gd name="T15" fmla="*/ 84 h 673"/>
                <a:gd name="T16" fmla="*/ 519 w 519"/>
                <a:gd name="T17" fmla="*/ 0 h 673"/>
                <a:gd name="T18" fmla="*/ 296 w 519"/>
                <a:gd name="T19" fmla="*/ 13 h 673"/>
                <a:gd name="T20" fmla="*/ 222 w 519"/>
                <a:gd name="T21" fmla="*/ 7 h 673"/>
                <a:gd name="T22" fmla="*/ 0 w 519"/>
                <a:gd name="T23" fmla="*/ 193 h 673"/>
                <a:gd name="T24" fmla="*/ 85 w 519"/>
                <a:gd name="T25" fmla="*/ 342 h 673"/>
                <a:gd name="T26" fmla="*/ 10 w 519"/>
                <a:gd name="T27" fmla="*/ 462 h 673"/>
                <a:gd name="T28" fmla="*/ 217 w 519"/>
                <a:gd name="T29" fmla="*/ 564 h 673"/>
                <a:gd name="T30" fmla="*/ 289 w 519"/>
                <a:gd name="T31" fmla="*/ 564 h 673"/>
                <a:gd name="T32" fmla="*/ 401 w 519"/>
                <a:gd name="T33" fmla="*/ 615 h 673"/>
                <a:gd name="T34" fmla="*/ 345 w 519"/>
                <a:gd name="T35" fmla="*/ 673 h 673"/>
                <a:gd name="T36" fmla="*/ 489 w 519"/>
                <a:gd name="T37" fmla="*/ 673 h 673"/>
                <a:gd name="T38" fmla="*/ 508 w 519"/>
                <a:gd name="T39" fmla="*/ 600 h 673"/>
                <a:gd name="T40" fmla="*/ 222 w 519"/>
                <a:gd name="T41" fmla="*/ 79 h 673"/>
                <a:gd name="T42" fmla="*/ 344 w 519"/>
                <a:gd name="T43" fmla="*/ 188 h 673"/>
                <a:gd name="T44" fmla="*/ 222 w 519"/>
                <a:gd name="T45" fmla="*/ 304 h 673"/>
                <a:gd name="T46" fmla="*/ 105 w 519"/>
                <a:gd name="T47" fmla="*/ 188 h 673"/>
                <a:gd name="T48" fmla="*/ 222 w 519"/>
                <a:gd name="T49" fmla="*/ 79 h 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19" h="673">
                  <a:moveTo>
                    <a:pt x="508" y="600"/>
                  </a:moveTo>
                  <a:cubicBezTo>
                    <a:pt x="508" y="436"/>
                    <a:pt x="266" y="484"/>
                    <a:pt x="163" y="473"/>
                  </a:cubicBezTo>
                  <a:cubicBezTo>
                    <a:pt x="125" y="468"/>
                    <a:pt x="111" y="458"/>
                    <a:pt x="111" y="442"/>
                  </a:cubicBezTo>
                  <a:cubicBezTo>
                    <a:pt x="111" y="413"/>
                    <a:pt x="143" y="388"/>
                    <a:pt x="166" y="373"/>
                  </a:cubicBezTo>
                  <a:cubicBezTo>
                    <a:pt x="184" y="376"/>
                    <a:pt x="203" y="378"/>
                    <a:pt x="221" y="378"/>
                  </a:cubicBezTo>
                  <a:cubicBezTo>
                    <a:pt x="404" y="378"/>
                    <a:pt x="449" y="272"/>
                    <a:pt x="449" y="192"/>
                  </a:cubicBezTo>
                  <a:cubicBezTo>
                    <a:pt x="449" y="142"/>
                    <a:pt x="430" y="103"/>
                    <a:pt x="403" y="77"/>
                  </a:cubicBezTo>
                  <a:cubicBezTo>
                    <a:pt x="441" y="80"/>
                    <a:pt x="497" y="84"/>
                    <a:pt x="519" y="84"/>
                  </a:cubicBezTo>
                  <a:cubicBezTo>
                    <a:pt x="519" y="0"/>
                    <a:pt x="519" y="0"/>
                    <a:pt x="519" y="0"/>
                  </a:cubicBezTo>
                  <a:cubicBezTo>
                    <a:pt x="296" y="13"/>
                    <a:pt x="296" y="13"/>
                    <a:pt x="296" y="13"/>
                  </a:cubicBezTo>
                  <a:cubicBezTo>
                    <a:pt x="276" y="10"/>
                    <a:pt x="254" y="7"/>
                    <a:pt x="222" y="7"/>
                  </a:cubicBezTo>
                  <a:cubicBezTo>
                    <a:pt x="95" y="7"/>
                    <a:pt x="0" y="69"/>
                    <a:pt x="0" y="193"/>
                  </a:cubicBezTo>
                  <a:cubicBezTo>
                    <a:pt x="0" y="282"/>
                    <a:pt x="49" y="322"/>
                    <a:pt x="85" y="342"/>
                  </a:cubicBezTo>
                  <a:cubicBezTo>
                    <a:pt x="36" y="377"/>
                    <a:pt x="10" y="412"/>
                    <a:pt x="10" y="462"/>
                  </a:cubicBezTo>
                  <a:cubicBezTo>
                    <a:pt x="10" y="556"/>
                    <a:pt x="113" y="565"/>
                    <a:pt x="217" y="564"/>
                  </a:cubicBezTo>
                  <a:cubicBezTo>
                    <a:pt x="289" y="564"/>
                    <a:pt x="289" y="564"/>
                    <a:pt x="289" y="564"/>
                  </a:cubicBezTo>
                  <a:cubicBezTo>
                    <a:pt x="324" y="565"/>
                    <a:pt x="401" y="564"/>
                    <a:pt x="401" y="615"/>
                  </a:cubicBezTo>
                  <a:cubicBezTo>
                    <a:pt x="401" y="638"/>
                    <a:pt x="380" y="658"/>
                    <a:pt x="345" y="673"/>
                  </a:cubicBezTo>
                  <a:cubicBezTo>
                    <a:pt x="489" y="673"/>
                    <a:pt x="489" y="673"/>
                    <a:pt x="489" y="673"/>
                  </a:cubicBezTo>
                  <a:cubicBezTo>
                    <a:pt x="501" y="652"/>
                    <a:pt x="508" y="628"/>
                    <a:pt x="508" y="600"/>
                  </a:cubicBezTo>
                  <a:moveTo>
                    <a:pt x="222" y="79"/>
                  </a:moveTo>
                  <a:cubicBezTo>
                    <a:pt x="296" y="79"/>
                    <a:pt x="344" y="118"/>
                    <a:pt x="344" y="188"/>
                  </a:cubicBezTo>
                  <a:cubicBezTo>
                    <a:pt x="344" y="270"/>
                    <a:pt x="303" y="304"/>
                    <a:pt x="222" y="304"/>
                  </a:cubicBezTo>
                  <a:cubicBezTo>
                    <a:pt x="154" y="304"/>
                    <a:pt x="105" y="269"/>
                    <a:pt x="105" y="188"/>
                  </a:cubicBezTo>
                  <a:cubicBezTo>
                    <a:pt x="105" y="121"/>
                    <a:pt x="148" y="79"/>
                    <a:pt x="222" y="79"/>
                  </a:cubicBezTo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" name="Rectangle 147">
              <a:extLst>
                <a:ext uri="{FF2B5EF4-FFF2-40B4-BE49-F238E27FC236}">
                  <a16:creationId xmlns:a16="http://schemas.microsoft.com/office/drawing/2014/main" id="{28110797-33C3-46BA-9ADA-E6924CC4CD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54963" y="4133850"/>
              <a:ext cx="34925" cy="179387"/>
            </a:xfrm>
            <a:prstGeom prst="rect">
              <a:avLst/>
            </a:pr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Freeform 148">
              <a:extLst>
                <a:ext uri="{FF2B5EF4-FFF2-40B4-BE49-F238E27FC236}">
                  <a16:creationId xmlns:a16="http://schemas.microsoft.com/office/drawing/2014/main" id="{464664F8-75C4-4AFA-BA06-18FEB4D2A0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54963" y="4059238"/>
              <a:ext cx="34925" cy="33337"/>
            </a:xfrm>
            <a:custGeom>
              <a:avLst/>
              <a:gdLst>
                <a:gd name="T0" fmla="*/ 22 w 22"/>
                <a:gd name="T1" fmla="*/ 21 h 21"/>
                <a:gd name="T2" fmla="*/ 0 w 22"/>
                <a:gd name="T3" fmla="*/ 21 h 21"/>
                <a:gd name="T4" fmla="*/ 0 w 22"/>
                <a:gd name="T5" fmla="*/ 0 h 21"/>
                <a:gd name="T6" fmla="*/ 22 w 22"/>
                <a:gd name="T7" fmla="*/ 0 h 21"/>
                <a:gd name="T8" fmla="*/ 22 w 22"/>
                <a:gd name="T9" fmla="*/ 21 h 21"/>
                <a:gd name="T10" fmla="*/ 4 w 22"/>
                <a:gd name="T11" fmla="*/ 18 h 21"/>
                <a:gd name="T12" fmla="*/ 19 w 22"/>
                <a:gd name="T13" fmla="*/ 18 h 21"/>
                <a:gd name="T14" fmla="*/ 19 w 22"/>
                <a:gd name="T15" fmla="*/ 4 h 21"/>
                <a:gd name="T16" fmla="*/ 4 w 22"/>
                <a:gd name="T17" fmla="*/ 4 h 21"/>
                <a:gd name="T18" fmla="*/ 4 w 22"/>
                <a:gd name="T19" fmla="*/ 1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21">
                  <a:moveTo>
                    <a:pt x="22" y="21"/>
                  </a:moveTo>
                  <a:lnTo>
                    <a:pt x="0" y="21"/>
                  </a:lnTo>
                  <a:lnTo>
                    <a:pt x="0" y="0"/>
                  </a:lnTo>
                  <a:lnTo>
                    <a:pt x="22" y="0"/>
                  </a:lnTo>
                  <a:lnTo>
                    <a:pt x="22" y="21"/>
                  </a:lnTo>
                  <a:close/>
                  <a:moveTo>
                    <a:pt x="4" y="18"/>
                  </a:moveTo>
                  <a:lnTo>
                    <a:pt x="19" y="18"/>
                  </a:lnTo>
                  <a:lnTo>
                    <a:pt x="19" y="4"/>
                  </a:lnTo>
                  <a:lnTo>
                    <a:pt x="4" y="4"/>
                  </a:lnTo>
                  <a:lnTo>
                    <a:pt x="4" y="18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" name="Freeform 149">
              <a:extLst>
                <a:ext uri="{FF2B5EF4-FFF2-40B4-BE49-F238E27FC236}">
                  <a16:creationId xmlns:a16="http://schemas.microsoft.com/office/drawing/2014/main" id="{09EE75D1-46DB-4BC0-926F-B37E16B38A0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45363" y="4416425"/>
              <a:ext cx="41275" cy="60325"/>
            </a:xfrm>
            <a:custGeom>
              <a:avLst/>
              <a:gdLst>
                <a:gd name="T0" fmla="*/ 0 w 26"/>
                <a:gd name="T1" fmla="*/ 5 h 38"/>
                <a:gd name="T2" fmla="*/ 10 w 26"/>
                <a:gd name="T3" fmla="*/ 5 h 38"/>
                <a:gd name="T4" fmla="*/ 10 w 26"/>
                <a:gd name="T5" fmla="*/ 38 h 38"/>
                <a:gd name="T6" fmla="*/ 16 w 26"/>
                <a:gd name="T7" fmla="*/ 38 h 38"/>
                <a:gd name="T8" fmla="*/ 16 w 26"/>
                <a:gd name="T9" fmla="*/ 5 h 38"/>
                <a:gd name="T10" fmla="*/ 26 w 26"/>
                <a:gd name="T11" fmla="*/ 5 h 38"/>
                <a:gd name="T12" fmla="*/ 26 w 26"/>
                <a:gd name="T13" fmla="*/ 0 h 38"/>
                <a:gd name="T14" fmla="*/ 0 w 26"/>
                <a:gd name="T15" fmla="*/ 0 h 38"/>
                <a:gd name="T16" fmla="*/ 0 w 26"/>
                <a:gd name="T17" fmla="*/ 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38">
                  <a:moveTo>
                    <a:pt x="0" y="5"/>
                  </a:moveTo>
                  <a:lnTo>
                    <a:pt x="10" y="5"/>
                  </a:lnTo>
                  <a:lnTo>
                    <a:pt x="10" y="38"/>
                  </a:lnTo>
                  <a:lnTo>
                    <a:pt x="16" y="38"/>
                  </a:lnTo>
                  <a:lnTo>
                    <a:pt x="16" y="5"/>
                  </a:lnTo>
                  <a:lnTo>
                    <a:pt x="26" y="5"/>
                  </a:lnTo>
                  <a:lnTo>
                    <a:pt x="26" y="0"/>
                  </a:lnTo>
                  <a:lnTo>
                    <a:pt x="0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" name="Freeform 150">
              <a:extLst>
                <a:ext uri="{FF2B5EF4-FFF2-40B4-BE49-F238E27FC236}">
                  <a16:creationId xmlns:a16="http://schemas.microsoft.com/office/drawing/2014/main" id="{96D96A86-C96B-4152-8465-DAF860585E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94575" y="4416425"/>
              <a:ext cx="71438" cy="60325"/>
            </a:xfrm>
            <a:custGeom>
              <a:avLst/>
              <a:gdLst>
                <a:gd name="T0" fmla="*/ 123 w 209"/>
                <a:gd name="T1" fmla="*/ 99 h 180"/>
                <a:gd name="T2" fmla="*/ 201 w 209"/>
                <a:gd name="T3" fmla="*/ 99 h 180"/>
                <a:gd name="T4" fmla="*/ 201 w 209"/>
                <a:gd name="T5" fmla="*/ 75 h 180"/>
                <a:gd name="T6" fmla="*/ 123 w 209"/>
                <a:gd name="T7" fmla="*/ 75 h 180"/>
                <a:gd name="T8" fmla="*/ 123 w 209"/>
                <a:gd name="T9" fmla="*/ 24 h 180"/>
                <a:gd name="T10" fmla="*/ 207 w 209"/>
                <a:gd name="T11" fmla="*/ 24 h 180"/>
                <a:gd name="T12" fmla="*/ 207 w 209"/>
                <a:gd name="T13" fmla="*/ 0 h 180"/>
                <a:gd name="T14" fmla="*/ 87 w 209"/>
                <a:gd name="T15" fmla="*/ 0 h 180"/>
                <a:gd name="T16" fmla="*/ 6 w 209"/>
                <a:gd name="T17" fmla="*/ 118 h 180"/>
                <a:gd name="T18" fmla="*/ 0 w 209"/>
                <a:gd name="T19" fmla="*/ 138 h 180"/>
                <a:gd name="T20" fmla="*/ 0 w 209"/>
                <a:gd name="T21" fmla="*/ 180 h 180"/>
                <a:gd name="T22" fmla="*/ 27 w 209"/>
                <a:gd name="T23" fmla="*/ 180 h 180"/>
                <a:gd name="T24" fmla="*/ 27 w 209"/>
                <a:gd name="T25" fmla="*/ 138 h 180"/>
                <a:gd name="T26" fmla="*/ 95 w 209"/>
                <a:gd name="T27" fmla="*/ 138 h 180"/>
                <a:gd name="T28" fmla="*/ 95 w 209"/>
                <a:gd name="T29" fmla="*/ 180 h 180"/>
                <a:gd name="T30" fmla="*/ 209 w 209"/>
                <a:gd name="T31" fmla="*/ 180 h 180"/>
                <a:gd name="T32" fmla="*/ 209 w 209"/>
                <a:gd name="T33" fmla="*/ 155 h 180"/>
                <a:gd name="T34" fmla="*/ 123 w 209"/>
                <a:gd name="T35" fmla="*/ 155 h 180"/>
                <a:gd name="T36" fmla="*/ 123 w 209"/>
                <a:gd name="T37" fmla="*/ 99 h 180"/>
                <a:gd name="T38" fmla="*/ 95 w 209"/>
                <a:gd name="T39" fmla="*/ 31 h 180"/>
                <a:gd name="T40" fmla="*/ 95 w 209"/>
                <a:gd name="T41" fmla="*/ 114 h 180"/>
                <a:gd name="T42" fmla="*/ 39 w 209"/>
                <a:gd name="T43" fmla="*/ 114 h 180"/>
                <a:gd name="T44" fmla="*/ 95 w 209"/>
                <a:gd name="T45" fmla="*/ 31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9" h="180">
                  <a:moveTo>
                    <a:pt x="123" y="99"/>
                  </a:moveTo>
                  <a:cubicBezTo>
                    <a:pt x="201" y="99"/>
                    <a:pt x="201" y="99"/>
                    <a:pt x="201" y="99"/>
                  </a:cubicBezTo>
                  <a:cubicBezTo>
                    <a:pt x="201" y="75"/>
                    <a:pt x="201" y="75"/>
                    <a:pt x="201" y="75"/>
                  </a:cubicBezTo>
                  <a:cubicBezTo>
                    <a:pt x="123" y="75"/>
                    <a:pt x="123" y="75"/>
                    <a:pt x="123" y="75"/>
                  </a:cubicBezTo>
                  <a:cubicBezTo>
                    <a:pt x="123" y="24"/>
                    <a:pt x="123" y="24"/>
                    <a:pt x="123" y="24"/>
                  </a:cubicBezTo>
                  <a:cubicBezTo>
                    <a:pt x="207" y="24"/>
                    <a:pt x="207" y="24"/>
                    <a:pt x="207" y="24"/>
                  </a:cubicBezTo>
                  <a:cubicBezTo>
                    <a:pt x="207" y="0"/>
                    <a:pt x="207" y="0"/>
                    <a:pt x="207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6" y="118"/>
                    <a:pt x="6" y="118"/>
                    <a:pt x="6" y="118"/>
                  </a:cubicBezTo>
                  <a:cubicBezTo>
                    <a:pt x="2" y="124"/>
                    <a:pt x="0" y="130"/>
                    <a:pt x="0" y="138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27" y="180"/>
                    <a:pt x="27" y="180"/>
                    <a:pt x="27" y="180"/>
                  </a:cubicBezTo>
                  <a:cubicBezTo>
                    <a:pt x="27" y="138"/>
                    <a:pt x="27" y="138"/>
                    <a:pt x="27" y="138"/>
                  </a:cubicBezTo>
                  <a:cubicBezTo>
                    <a:pt x="95" y="138"/>
                    <a:pt x="95" y="138"/>
                    <a:pt x="95" y="138"/>
                  </a:cubicBezTo>
                  <a:cubicBezTo>
                    <a:pt x="95" y="180"/>
                    <a:pt x="95" y="180"/>
                    <a:pt x="95" y="180"/>
                  </a:cubicBezTo>
                  <a:cubicBezTo>
                    <a:pt x="209" y="180"/>
                    <a:pt x="209" y="180"/>
                    <a:pt x="209" y="180"/>
                  </a:cubicBezTo>
                  <a:cubicBezTo>
                    <a:pt x="209" y="155"/>
                    <a:pt x="209" y="155"/>
                    <a:pt x="209" y="155"/>
                  </a:cubicBezTo>
                  <a:cubicBezTo>
                    <a:pt x="123" y="155"/>
                    <a:pt x="123" y="155"/>
                    <a:pt x="123" y="155"/>
                  </a:cubicBezTo>
                  <a:lnTo>
                    <a:pt x="123" y="99"/>
                  </a:lnTo>
                  <a:close/>
                  <a:moveTo>
                    <a:pt x="95" y="31"/>
                  </a:moveTo>
                  <a:cubicBezTo>
                    <a:pt x="95" y="114"/>
                    <a:pt x="95" y="114"/>
                    <a:pt x="95" y="114"/>
                  </a:cubicBezTo>
                  <a:cubicBezTo>
                    <a:pt x="39" y="114"/>
                    <a:pt x="39" y="114"/>
                    <a:pt x="39" y="114"/>
                  </a:cubicBezTo>
                  <a:lnTo>
                    <a:pt x="95" y="31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Freeform 151">
              <a:extLst>
                <a:ext uri="{FF2B5EF4-FFF2-40B4-BE49-F238E27FC236}">
                  <a16:creationId xmlns:a16="http://schemas.microsoft.com/office/drawing/2014/main" id="{19C48257-FCC7-46D5-9B92-2DAA6735BC66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5063" y="4416425"/>
              <a:ext cx="41275" cy="60325"/>
            </a:xfrm>
            <a:custGeom>
              <a:avLst/>
              <a:gdLst>
                <a:gd name="T0" fmla="*/ 21 w 26"/>
                <a:gd name="T1" fmla="*/ 27 h 38"/>
                <a:gd name="T2" fmla="*/ 5 w 26"/>
                <a:gd name="T3" fmla="*/ 0 h 38"/>
                <a:gd name="T4" fmla="*/ 0 w 26"/>
                <a:gd name="T5" fmla="*/ 0 h 38"/>
                <a:gd name="T6" fmla="*/ 0 w 26"/>
                <a:gd name="T7" fmla="*/ 38 h 38"/>
                <a:gd name="T8" fmla="*/ 5 w 26"/>
                <a:gd name="T9" fmla="*/ 38 h 38"/>
                <a:gd name="T10" fmla="*/ 5 w 26"/>
                <a:gd name="T11" fmla="*/ 11 h 38"/>
                <a:gd name="T12" fmla="*/ 21 w 26"/>
                <a:gd name="T13" fmla="*/ 38 h 38"/>
                <a:gd name="T14" fmla="*/ 21 w 26"/>
                <a:gd name="T15" fmla="*/ 38 h 38"/>
                <a:gd name="T16" fmla="*/ 26 w 26"/>
                <a:gd name="T17" fmla="*/ 38 h 38"/>
                <a:gd name="T18" fmla="*/ 26 w 26"/>
                <a:gd name="T19" fmla="*/ 0 h 38"/>
                <a:gd name="T20" fmla="*/ 21 w 26"/>
                <a:gd name="T21" fmla="*/ 0 h 38"/>
                <a:gd name="T22" fmla="*/ 21 w 26"/>
                <a:gd name="T23" fmla="*/ 27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8">
                  <a:moveTo>
                    <a:pt x="21" y="27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38"/>
                  </a:lnTo>
                  <a:lnTo>
                    <a:pt x="5" y="38"/>
                  </a:lnTo>
                  <a:lnTo>
                    <a:pt x="5" y="11"/>
                  </a:lnTo>
                  <a:lnTo>
                    <a:pt x="21" y="38"/>
                  </a:lnTo>
                  <a:lnTo>
                    <a:pt x="21" y="38"/>
                  </a:lnTo>
                  <a:lnTo>
                    <a:pt x="26" y="38"/>
                  </a:lnTo>
                  <a:lnTo>
                    <a:pt x="26" y="0"/>
                  </a:lnTo>
                  <a:lnTo>
                    <a:pt x="21" y="0"/>
                  </a:lnTo>
                  <a:lnTo>
                    <a:pt x="21" y="27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" name="Freeform 152">
              <a:extLst>
                <a:ext uri="{FF2B5EF4-FFF2-40B4-BE49-F238E27FC236}">
                  <a16:creationId xmlns:a16="http://schemas.microsoft.com/office/drawing/2014/main" id="{43F92B16-4E09-499E-9CA0-0ED252C40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8563" y="4416425"/>
              <a:ext cx="42863" cy="60325"/>
            </a:xfrm>
            <a:custGeom>
              <a:avLst/>
              <a:gdLst>
                <a:gd name="T0" fmla="*/ 84 w 124"/>
                <a:gd name="T1" fmla="*/ 87 h 180"/>
                <a:gd name="T2" fmla="*/ 117 w 124"/>
                <a:gd name="T3" fmla="*/ 55 h 180"/>
                <a:gd name="T4" fmla="*/ 124 w 124"/>
                <a:gd name="T5" fmla="*/ 38 h 180"/>
                <a:gd name="T6" fmla="*/ 124 w 124"/>
                <a:gd name="T7" fmla="*/ 0 h 180"/>
                <a:gd name="T8" fmla="*/ 97 w 124"/>
                <a:gd name="T9" fmla="*/ 0 h 180"/>
                <a:gd name="T10" fmla="*/ 97 w 124"/>
                <a:gd name="T11" fmla="*/ 32 h 180"/>
                <a:gd name="T12" fmla="*/ 94 w 124"/>
                <a:gd name="T13" fmla="*/ 43 h 180"/>
                <a:gd name="T14" fmla="*/ 61 w 124"/>
                <a:gd name="T15" fmla="*/ 75 h 180"/>
                <a:gd name="T16" fmla="*/ 29 w 124"/>
                <a:gd name="T17" fmla="*/ 75 h 180"/>
                <a:gd name="T18" fmla="*/ 29 w 124"/>
                <a:gd name="T19" fmla="*/ 0 h 180"/>
                <a:gd name="T20" fmla="*/ 0 w 124"/>
                <a:gd name="T21" fmla="*/ 0 h 180"/>
                <a:gd name="T22" fmla="*/ 0 w 124"/>
                <a:gd name="T23" fmla="*/ 180 h 180"/>
                <a:gd name="T24" fmla="*/ 29 w 124"/>
                <a:gd name="T25" fmla="*/ 180 h 180"/>
                <a:gd name="T26" fmla="*/ 29 w 124"/>
                <a:gd name="T27" fmla="*/ 99 h 180"/>
                <a:gd name="T28" fmla="*/ 59 w 124"/>
                <a:gd name="T29" fmla="*/ 99 h 180"/>
                <a:gd name="T30" fmla="*/ 93 w 124"/>
                <a:gd name="T31" fmla="*/ 138 h 180"/>
                <a:gd name="T32" fmla="*/ 96 w 124"/>
                <a:gd name="T33" fmla="*/ 148 h 180"/>
                <a:gd name="T34" fmla="*/ 96 w 124"/>
                <a:gd name="T35" fmla="*/ 180 h 180"/>
                <a:gd name="T36" fmla="*/ 124 w 124"/>
                <a:gd name="T37" fmla="*/ 180 h 180"/>
                <a:gd name="T38" fmla="*/ 124 w 124"/>
                <a:gd name="T39" fmla="*/ 142 h 180"/>
                <a:gd name="T40" fmla="*/ 119 w 124"/>
                <a:gd name="T41" fmla="*/ 127 h 180"/>
                <a:gd name="T42" fmla="*/ 84 w 124"/>
                <a:gd name="T43" fmla="*/ 87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24" h="180">
                  <a:moveTo>
                    <a:pt x="84" y="87"/>
                  </a:moveTo>
                  <a:cubicBezTo>
                    <a:pt x="117" y="55"/>
                    <a:pt x="117" y="55"/>
                    <a:pt x="117" y="55"/>
                  </a:cubicBezTo>
                  <a:cubicBezTo>
                    <a:pt x="122" y="50"/>
                    <a:pt x="124" y="44"/>
                    <a:pt x="124" y="38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7" y="32"/>
                    <a:pt x="97" y="32"/>
                    <a:pt x="97" y="32"/>
                  </a:cubicBezTo>
                  <a:cubicBezTo>
                    <a:pt x="97" y="37"/>
                    <a:pt x="96" y="41"/>
                    <a:pt x="94" y="43"/>
                  </a:cubicBezTo>
                  <a:cubicBezTo>
                    <a:pt x="61" y="75"/>
                    <a:pt x="61" y="75"/>
                    <a:pt x="61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29" y="180"/>
                    <a:pt x="29" y="180"/>
                    <a:pt x="29" y="180"/>
                  </a:cubicBezTo>
                  <a:cubicBezTo>
                    <a:pt x="29" y="99"/>
                    <a:pt x="29" y="99"/>
                    <a:pt x="29" y="99"/>
                  </a:cubicBezTo>
                  <a:cubicBezTo>
                    <a:pt x="59" y="99"/>
                    <a:pt x="59" y="99"/>
                    <a:pt x="59" y="99"/>
                  </a:cubicBezTo>
                  <a:cubicBezTo>
                    <a:pt x="93" y="138"/>
                    <a:pt x="93" y="138"/>
                    <a:pt x="93" y="138"/>
                  </a:cubicBezTo>
                  <a:cubicBezTo>
                    <a:pt x="95" y="140"/>
                    <a:pt x="96" y="143"/>
                    <a:pt x="96" y="148"/>
                  </a:cubicBezTo>
                  <a:cubicBezTo>
                    <a:pt x="96" y="180"/>
                    <a:pt x="96" y="180"/>
                    <a:pt x="96" y="180"/>
                  </a:cubicBezTo>
                  <a:cubicBezTo>
                    <a:pt x="124" y="180"/>
                    <a:pt x="124" y="180"/>
                    <a:pt x="124" y="180"/>
                  </a:cubicBezTo>
                  <a:cubicBezTo>
                    <a:pt x="124" y="142"/>
                    <a:pt x="124" y="142"/>
                    <a:pt x="124" y="142"/>
                  </a:cubicBezTo>
                  <a:cubicBezTo>
                    <a:pt x="124" y="136"/>
                    <a:pt x="123" y="131"/>
                    <a:pt x="119" y="127"/>
                  </a:cubicBezTo>
                  <a:lnTo>
                    <a:pt x="84" y="87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" name="Rectangle 153">
              <a:extLst>
                <a:ext uri="{FF2B5EF4-FFF2-40B4-BE49-F238E27FC236}">
                  <a16:creationId xmlns:a16="http://schemas.microsoft.com/office/drawing/2014/main" id="{59D0504F-2BB2-429E-B49A-A1064EA6F7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40638" y="4416425"/>
              <a:ext cx="9525" cy="60325"/>
            </a:xfrm>
            <a:prstGeom prst="rect">
              <a:avLst/>
            </a:pr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" name="Freeform 154">
              <a:extLst>
                <a:ext uri="{FF2B5EF4-FFF2-40B4-BE49-F238E27FC236}">
                  <a16:creationId xmlns:a16="http://schemas.microsoft.com/office/drawing/2014/main" id="{6478D3B0-F5BD-4326-90CA-F3528F92E9A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00963" y="4416425"/>
              <a:ext cx="42863" cy="60325"/>
            </a:xfrm>
            <a:custGeom>
              <a:avLst/>
              <a:gdLst>
                <a:gd name="T0" fmla="*/ 21 w 27"/>
                <a:gd name="T1" fmla="*/ 27 h 38"/>
                <a:gd name="T2" fmla="*/ 6 w 27"/>
                <a:gd name="T3" fmla="*/ 0 h 38"/>
                <a:gd name="T4" fmla="*/ 0 w 27"/>
                <a:gd name="T5" fmla="*/ 0 h 38"/>
                <a:gd name="T6" fmla="*/ 0 w 27"/>
                <a:gd name="T7" fmla="*/ 38 h 38"/>
                <a:gd name="T8" fmla="*/ 6 w 27"/>
                <a:gd name="T9" fmla="*/ 38 h 38"/>
                <a:gd name="T10" fmla="*/ 6 w 27"/>
                <a:gd name="T11" fmla="*/ 11 h 38"/>
                <a:gd name="T12" fmla="*/ 21 w 27"/>
                <a:gd name="T13" fmla="*/ 38 h 38"/>
                <a:gd name="T14" fmla="*/ 21 w 27"/>
                <a:gd name="T15" fmla="*/ 38 h 38"/>
                <a:gd name="T16" fmla="*/ 27 w 27"/>
                <a:gd name="T17" fmla="*/ 38 h 38"/>
                <a:gd name="T18" fmla="*/ 27 w 27"/>
                <a:gd name="T19" fmla="*/ 0 h 38"/>
                <a:gd name="T20" fmla="*/ 21 w 27"/>
                <a:gd name="T21" fmla="*/ 0 h 38"/>
                <a:gd name="T22" fmla="*/ 21 w 27"/>
                <a:gd name="T23" fmla="*/ 27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" h="38">
                  <a:moveTo>
                    <a:pt x="21" y="27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38"/>
                  </a:lnTo>
                  <a:lnTo>
                    <a:pt x="6" y="38"/>
                  </a:lnTo>
                  <a:lnTo>
                    <a:pt x="6" y="11"/>
                  </a:lnTo>
                  <a:lnTo>
                    <a:pt x="21" y="38"/>
                  </a:lnTo>
                  <a:lnTo>
                    <a:pt x="21" y="38"/>
                  </a:lnTo>
                  <a:lnTo>
                    <a:pt x="27" y="38"/>
                  </a:lnTo>
                  <a:lnTo>
                    <a:pt x="27" y="0"/>
                  </a:lnTo>
                  <a:lnTo>
                    <a:pt x="21" y="0"/>
                  </a:lnTo>
                  <a:lnTo>
                    <a:pt x="21" y="27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" name="Freeform 155">
              <a:extLst>
                <a:ext uri="{FF2B5EF4-FFF2-40B4-BE49-F238E27FC236}">
                  <a16:creationId xmlns:a16="http://schemas.microsoft.com/office/drawing/2014/main" id="{BF92FB1A-9060-4185-9672-42C4E774C9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762875" y="4416425"/>
              <a:ext cx="41275" cy="60325"/>
            </a:xfrm>
            <a:custGeom>
              <a:avLst/>
              <a:gdLst>
                <a:gd name="T0" fmla="*/ 97 w 125"/>
                <a:gd name="T1" fmla="*/ 32 h 180"/>
                <a:gd name="T2" fmla="*/ 94 w 125"/>
                <a:gd name="T3" fmla="*/ 44 h 180"/>
                <a:gd name="T4" fmla="*/ 63 w 125"/>
                <a:gd name="T5" fmla="*/ 91 h 180"/>
                <a:gd name="T6" fmla="*/ 31 w 125"/>
                <a:gd name="T7" fmla="*/ 43 h 180"/>
                <a:gd name="T8" fmla="*/ 28 w 125"/>
                <a:gd name="T9" fmla="*/ 31 h 180"/>
                <a:gd name="T10" fmla="*/ 28 w 125"/>
                <a:gd name="T11" fmla="*/ 0 h 180"/>
                <a:gd name="T12" fmla="*/ 0 w 125"/>
                <a:gd name="T13" fmla="*/ 0 h 180"/>
                <a:gd name="T14" fmla="*/ 0 w 125"/>
                <a:gd name="T15" fmla="*/ 34 h 180"/>
                <a:gd name="T16" fmla="*/ 5 w 125"/>
                <a:gd name="T17" fmla="*/ 51 h 180"/>
                <a:gd name="T18" fmla="*/ 48 w 125"/>
                <a:gd name="T19" fmla="*/ 117 h 180"/>
                <a:gd name="T20" fmla="*/ 48 w 125"/>
                <a:gd name="T21" fmla="*/ 180 h 180"/>
                <a:gd name="T22" fmla="*/ 77 w 125"/>
                <a:gd name="T23" fmla="*/ 180 h 180"/>
                <a:gd name="T24" fmla="*/ 77 w 125"/>
                <a:gd name="T25" fmla="*/ 116 h 180"/>
                <a:gd name="T26" fmla="*/ 120 w 125"/>
                <a:gd name="T27" fmla="*/ 51 h 180"/>
                <a:gd name="T28" fmla="*/ 125 w 125"/>
                <a:gd name="T29" fmla="*/ 34 h 180"/>
                <a:gd name="T30" fmla="*/ 125 w 125"/>
                <a:gd name="T31" fmla="*/ 0 h 180"/>
                <a:gd name="T32" fmla="*/ 97 w 125"/>
                <a:gd name="T33" fmla="*/ 0 h 180"/>
                <a:gd name="T34" fmla="*/ 97 w 125"/>
                <a:gd name="T35" fmla="*/ 3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5" h="180">
                  <a:moveTo>
                    <a:pt x="97" y="32"/>
                  </a:moveTo>
                  <a:cubicBezTo>
                    <a:pt x="97" y="37"/>
                    <a:pt x="96" y="41"/>
                    <a:pt x="94" y="44"/>
                  </a:cubicBezTo>
                  <a:cubicBezTo>
                    <a:pt x="63" y="91"/>
                    <a:pt x="63" y="91"/>
                    <a:pt x="63" y="91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29" y="40"/>
                    <a:pt x="28" y="36"/>
                    <a:pt x="28" y="31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41"/>
                    <a:pt x="2" y="47"/>
                    <a:pt x="5" y="51"/>
                  </a:cubicBezTo>
                  <a:cubicBezTo>
                    <a:pt x="48" y="117"/>
                    <a:pt x="48" y="117"/>
                    <a:pt x="48" y="117"/>
                  </a:cubicBezTo>
                  <a:cubicBezTo>
                    <a:pt x="48" y="180"/>
                    <a:pt x="48" y="180"/>
                    <a:pt x="48" y="180"/>
                  </a:cubicBezTo>
                  <a:cubicBezTo>
                    <a:pt x="77" y="180"/>
                    <a:pt x="77" y="180"/>
                    <a:pt x="77" y="180"/>
                  </a:cubicBezTo>
                  <a:cubicBezTo>
                    <a:pt x="77" y="116"/>
                    <a:pt x="77" y="116"/>
                    <a:pt x="77" y="116"/>
                  </a:cubicBezTo>
                  <a:cubicBezTo>
                    <a:pt x="120" y="51"/>
                    <a:pt x="120" y="51"/>
                    <a:pt x="120" y="51"/>
                  </a:cubicBezTo>
                  <a:cubicBezTo>
                    <a:pt x="123" y="46"/>
                    <a:pt x="125" y="40"/>
                    <a:pt x="125" y="34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97" y="0"/>
                    <a:pt x="97" y="0"/>
                    <a:pt x="97" y="0"/>
                  </a:cubicBezTo>
                  <a:lnTo>
                    <a:pt x="97" y="32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Freeform 156">
              <a:extLst>
                <a:ext uri="{FF2B5EF4-FFF2-40B4-BE49-F238E27FC236}">
                  <a16:creationId xmlns:a16="http://schemas.microsoft.com/office/drawing/2014/main" id="{9D2B14FF-E6D9-436F-B58D-68609D4CFAB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3200" y="4416425"/>
              <a:ext cx="38100" cy="60325"/>
            </a:xfrm>
            <a:custGeom>
              <a:avLst/>
              <a:gdLst>
                <a:gd name="T0" fmla="*/ 6 w 24"/>
                <a:gd name="T1" fmla="*/ 21 h 38"/>
                <a:gd name="T2" fmla="*/ 23 w 24"/>
                <a:gd name="T3" fmla="*/ 21 h 38"/>
                <a:gd name="T4" fmla="*/ 23 w 24"/>
                <a:gd name="T5" fmla="*/ 16 h 38"/>
                <a:gd name="T6" fmla="*/ 6 w 24"/>
                <a:gd name="T7" fmla="*/ 16 h 38"/>
                <a:gd name="T8" fmla="*/ 6 w 24"/>
                <a:gd name="T9" fmla="*/ 5 h 38"/>
                <a:gd name="T10" fmla="*/ 24 w 24"/>
                <a:gd name="T11" fmla="*/ 5 h 38"/>
                <a:gd name="T12" fmla="*/ 24 w 24"/>
                <a:gd name="T13" fmla="*/ 0 h 38"/>
                <a:gd name="T14" fmla="*/ 0 w 24"/>
                <a:gd name="T15" fmla="*/ 0 h 38"/>
                <a:gd name="T16" fmla="*/ 0 w 24"/>
                <a:gd name="T17" fmla="*/ 38 h 38"/>
                <a:gd name="T18" fmla="*/ 24 w 24"/>
                <a:gd name="T19" fmla="*/ 38 h 38"/>
                <a:gd name="T20" fmla="*/ 24 w 24"/>
                <a:gd name="T21" fmla="*/ 33 h 38"/>
                <a:gd name="T22" fmla="*/ 6 w 24"/>
                <a:gd name="T23" fmla="*/ 33 h 38"/>
                <a:gd name="T24" fmla="*/ 6 w 24"/>
                <a:gd name="T25" fmla="*/ 2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38">
                  <a:moveTo>
                    <a:pt x="6" y="21"/>
                  </a:moveTo>
                  <a:lnTo>
                    <a:pt x="23" y="21"/>
                  </a:lnTo>
                  <a:lnTo>
                    <a:pt x="23" y="16"/>
                  </a:lnTo>
                  <a:lnTo>
                    <a:pt x="6" y="16"/>
                  </a:lnTo>
                  <a:lnTo>
                    <a:pt x="6" y="5"/>
                  </a:lnTo>
                  <a:lnTo>
                    <a:pt x="24" y="5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38"/>
                  </a:lnTo>
                  <a:lnTo>
                    <a:pt x="24" y="38"/>
                  </a:lnTo>
                  <a:lnTo>
                    <a:pt x="24" y="33"/>
                  </a:lnTo>
                  <a:lnTo>
                    <a:pt x="6" y="33"/>
                  </a:lnTo>
                  <a:lnTo>
                    <a:pt x="6" y="21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" name="Freeform 157">
              <a:extLst>
                <a:ext uri="{FF2B5EF4-FFF2-40B4-BE49-F238E27FC236}">
                  <a16:creationId xmlns:a16="http://schemas.microsoft.com/office/drawing/2014/main" id="{B6CEF719-79A4-438D-9BC3-6EA35E10A1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10513" y="4416425"/>
              <a:ext cx="41275" cy="60325"/>
            </a:xfrm>
            <a:custGeom>
              <a:avLst/>
              <a:gdLst>
                <a:gd name="T0" fmla="*/ 118 w 119"/>
                <a:gd name="T1" fmla="*/ 71 h 180"/>
                <a:gd name="T2" fmla="*/ 118 w 119"/>
                <a:gd name="T3" fmla="*/ 39 h 180"/>
                <a:gd name="T4" fmla="*/ 79 w 119"/>
                <a:gd name="T5" fmla="*/ 0 h 180"/>
                <a:gd name="T6" fmla="*/ 0 w 119"/>
                <a:gd name="T7" fmla="*/ 0 h 180"/>
                <a:gd name="T8" fmla="*/ 0 w 119"/>
                <a:gd name="T9" fmla="*/ 180 h 180"/>
                <a:gd name="T10" fmla="*/ 28 w 119"/>
                <a:gd name="T11" fmla="*/ 180 h 180"/>
                <a:gd name="T12" fmla="*/ 28 w 119"/>
                <a:gd name="T13" fmla="*/ 109 h 180"/>
                <a:gd name="T14" fmla="*/ 65 w 119"/>
                <a:gd name="T15" fmla="*/ 109 h 180"/>
                <a:gd name="T16" fmla="*/ 89 w 119"/>
                <a:gd name="T17" fmla="*/ 179 h 180"/>
                <a:gd name="T18" fmla="*/ 89 w 119"/>
                <a:gd name="T19" fmla="*/ 180 h 180"/>
                <a:gd name="T20" fmla="*/ 119 w 119"/>
                <a:gd name="T21" fmla="*/ 180 h 180"/>
                <a:gd name="T22" fmla="*/ 94 w 119"/>
                <a:gd name="T23" fmla="*/ 108 h 180"/>
                <a:gd name="T24" fmla="*/ 118 w 119"/>
                <a:gd name="T25" fmla="*/ 71 h 180"/>
                <a:gd name="T26" fmla="*/ 28 w 119"/>
                <a:gd name="T27" fmla="*/ 24 h 180"/>
                <a:gd name="T28" fmla="*/ 77 w 119"/>
                <a:gd name="T29" fmla="*/ 24 h 180"/>
                <a:gd name="T30" fmla="*/ 90 w 119"/>
                <a:gd name="T31" fmla="*/ 37 h 180"/>
                <a:gd name="T32" fmla="*/ 90 w 119"/>
                <a:gd name="T33" fmla="*/ 72 h 180"/>
                <a:gd name="T34" fmla="*/ 77 w 119"/>
                <a:gd name="T35" fmla="*/ 85 h 180"/>
                <a:gd name="T36" fmla="*/ 28 w 119"/>
                <a:gd name="T37" fmla="*/ 85 h 180"/>
                <a:gd name="T38" fmla="*/ 28 w 119"/>
                <a:gd name="T39" fmla="*/ 2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9" h="180">
                  <a:moveTo>
                    <a:pt x="118" y="71"/>
                  </a:moveTo>
                  <a:cubicBezTo>
                    <a:pt x="118" y="39"/>
                    <a:pt x="118" y="39"/>
                    <a:pt x="118" y="39"/>
                  </a:cubicBezTo>
                  <a:cubicBezTo>
                    <a:pt x="118" y="13"/>
                    <a:pt x="105" y="0"/>
                    <a:pt x="7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28" y="180"/>
                    <a:pt x="28" y="180"/>
                    <a:pt x="28" y="180"/>
                  </a:cubicBezTo>
                  <a:cubicBezTo>
                    <a:pt x="28" y="109"/>
                    <a:pt x="28" y="109"/>
                    <a:pt x="28" y="109"/>
                  </a:cubicBezTo>
                  <a:cubicBezTo>
                    <a:pt x="65" y="109"/>
                    <a:pt x="65" y="109"/>
                    <a:pt x="65" y="109"/>
                  </a:cubicBezTo>
                  <a:cubicBezTo>
                    <a:pt x="89" y="179"/>
                    <a:pt x="89" y="179"/>
                    <a:pt x="89" y="179"/>
                  </a:cubicBezTo>
                  <a:cubicBezTo>
                    <a:pt x="89" y="180"/>
                    <a:pt x="89" y="180"/>
                    <a:pt x="89" y="180"/>
                  </a:cubicBezTo>
                  <a:cubicBezTo>
                    <a:pt x="119" y="180"/>
                    <a:pt x="119" y="180"/>
                    <a:pt x="119" y="180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110" y="103"/>
                    <a:pt x="118" y="91"/>
                    <a:pt x="118" y="71"/>
                  </a:cubicBezTo>
                  <a:close/>
                  <a:moveTo>
                    <a:pt x="28" y="24"/>
                  </a:moveTo>
                  <a:cubicBezTo>
                    <a:pt x="77" y="24"/>
                    <a:pt x="77" y="24"/>
                    <a:pt x="77" y="24"/>
                  </a:cubicBezTo>
                  <a:cubicBezTo>
                    <a:pt x="86" y="24"/>
                    <a:pt x="90" y="28"/>
                    <a:pt x="90" y="37"/>
                  </a:cubicBezTo>
                  <a:cubicBezTo>
                    <a:pt x="90" y="72"/>
                    <a:pt x="90" y="72"/>
                    <a:pt x="90" y="72"/>
                  </a:cubicBezTo>
                  <a:cubicBezTo>
                    <a:pt x="90" y="80"/>
                    <a:pt x="86" y="85"/>
                    <a:pt x="77" y="85"/>
                  </a:cubicBezTo>
                  <a:cubicBezTo>
                    <a:pt x="28" y="85"/>
                    <a:pt x="28" y="85"/>
                    <a:pt x="28" y="85"/>
                  </a:cubicBezTo>
                  <a:lnTo>
                    <a:pt x="28" y="24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" name="Freeform 158">
              <a:extLst>
                <a:ext uri="{FF2B5EF4-FFF2-40B4-BE49-F238E27FC236}">
                  <a16:creationId xmlns:a16="http://schemas.microsoft.com/office/drawing/2014/main" id="{47840794-6CBC-43D4-8417-5EB43E2665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67663" y="4414838"/>
              <a:ext cx="42863" cy="61912"/>
            </a:xfrm>
            <a:custGeom>
              <a:avLst/>
              <a:gdLst>
                <a:gd name="T0" fmla="*/ 78 w 127"/>
                <a:gd name="T1" fmla="*/ 1 h 181"/>
                <a:gd name="T2" fmla="*/ 78 w 127"/>
                <a:gd name="T3" fmla="*/ 0 h 181"/>
                <a:gd name="T4" fmla="*/ 49 w 127"/>
                <a:gd name="T5" fmla="*/ 0 h 181"/>
                <a:gd name="T6" fmla="*/ 3 w 127"/>
                <a:gd name="T7" fmla="*/ 123 h 181"/>
                <a:gd name="T8" fmla="*/ 0 w 127"/>
                <a:gd name="T9" fmla="*/ 139 h 181"/>
                <a:gd name="T10" fmla="*/ 0 w 127"/>
                <a:gd name="T11" fmla="*/ 181 h 181"/>
                <a:gd name="T12" fmla="*/ 27 w 127"/>
                <a:gd name="T13" fmla="*/ 181 h 181"/>
                <a:gd name="T14" fmla="*/ 27 w 127"/>
                <a:gd name="T15" fmla="*/ 139 h 181"/>
                <a:gd name="T16" fmla="*/ 99 w 127"/>
                <a:gd name="T17" fmla="*/ 139 h 181"/>
                <a:gd name="T18" fmla="*/ 99 w 127"/>
                <a:gd name="T19" fmla="*/ 142 h 181"/>
                <a:gd name="T20" fmla="*/ 99 w 127"/>
                <a:gd name="T21" fmla="*/ 181 h 181"/>
                <a:gd name="T22" fmla="*/ 127 w 127"/>
                <a:gd name="T23" fmla="*/ 181 h 181"/>
                <a:gd name="T24" fmla="*/ 127 w 127"/>
                <a:gd name="T25" fmla="*/ 139 h 181"/>
                <a:gd name="T26" fmla="*/ 124 w 127"/>
                <a:gd name="T27" fmla="*/ 123 h 181"/>
                <a:gd name="T28" fmla="*/ 78 w 127"/>
                <a:gd name="T29" fmla="*/ 1 h 181"/>
                <a:gd name="T30" fmla="*/ 92 w 127"/>
                <a:gd name="T31" fmla="*/ 115 h 181"/>
                <a:gd name="T32" fmla="*/ 34 w 127"/>
                <a:gd name="T33" fmla="*/ 115 h 181"/>
                <a:gd name="T34" fmla="*/ 63 w 127"/>
                <a:gd name="T35" fmla="*/ 32 h 181"/>
                <a:gd name="T36" fmla="*/ 92 w 127"/>
                <a:gd name="T37" fmla="*/ 115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7" h="181">
                  <a:moveTo>
                    <a:pt x="78" y="1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3" y="123"/>
                    <a:pt x="3" y="123"/>
                    <a:pt x="3" y="123"/>
                  </a:cubicBezTo>
                  <a:cubicBezTo>
                    <a:pt x="1" y="128"/>
                    <a:pt x="0" y="133"/>
                    <a:pt x="0" y="139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27" y="181"/>
                    <a:pt x="27" y="181"/>
                    <a:pt x="27" y="181"/>
                  </a:cubicBezTo>
                  <a:cubicBezTo>
                    <a:pt x="27" y="139"/>
                    <a:pt x="27" y="139"/>
                    <a:pt x="27" y="139"/>
                  </a:cubicBezTo>
                  <a:cubicBezTo>
                    <a:pt x="99" y="139"/>
                    <a:pt x="99" y="139"/>
                    <a:pt x="99" y="139"/>
                  </a:cubicBezTo>
                  <a:cubicBezTo>
                    <a:pt x="99" y="140"/>
                    <a:pt x="99" y="141"/>
                    <a:pt x="99" y="142"/>
                  </a:cubicBezTo>
                  <a:cubicBezTo>
                    <a:pt x="99" y="181"/>
                    <a:pt x="99" y="181"/>
                    <a:pt x="99" y="181"/>
                  </a:cubicBezTo>
                  <a:cubicBezTo>
                    <a:pt x="127" y="181"/>
                    <a:pt x="127" y="181"/>
                    <a:pt x="127" y="181"/>
                  </a:cubicBezTo>
                  <a:cubicBezTo>
                    <a:pt x="127" y="139"/>
                    <a:pt x="127" y="139"/>
                    <a:pt x="127" y="139"/>
                  </a:cubicBezTo>
                  <a:cubicBezTo>
                    <a:pt x="127" y="132"/>
                    <a:pt x="126" y="127"/>
                    <a:pt x="124" y="123"/>
                  </a:cubicBezTo>
                  <a:lnTo>
                    <a:pt x="78" y="1"/>
                  </a:lnTo>
                  <a:close/>
                  <a:moveTo>
                    <a:pt x="92" y="115"/>
                  </a:moveTo>
                  <a:cubicBezTo>
                    <a:pt x="34" y="115"/>
                    <a:pt x="34" y="115"/>
                    <a:pt x="34" y="115"/>
                  </a:cubicBezTo>
                  <a:cubicBezTo>
                    <a:pt x="63" y="32"/>
                    <a:pt x="63" y="32"/>
                    <a:pt x="63" y="32"/>
                  </a:cubicBezTo>
                  <a:lnTo>
                    <a:pt x="92" y="115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" name="Freeform 159">
              <a:extLst>
                <a:ext uri="{FF2B5EF4-FFF2-40B4-BE49-F238E27FC236}">
                  <a16:creationId xmlns:a16="http://schemas.microsoft.com/office/drawing/2014/main" id="{E8BC3FA1-1981-4BCB-A105-1032ADADD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8029575" y="4416425"/>
              <a:ext cx="50800" cy="60325"/>
            </a:xfrm>
            <a:custGeom>
              <a:avLst/>
              <a:gdLst>
                <a:gd name="T0" fmla="*/ 16 w 32"/>
                <a:gd name="T1" fmla="*/ 19 h 38"/>
                <a:gd name="T2" fmla="*/ 6 w 32"/>
                <a:gd name="T3" fmla="*/ 0 h 38"/>
                <a:gd name="T4" fmla="*/ 6 w 32"/>
                <a:gd name="T5" fmla="*/ 0 h 38"/>
                <a:gd name="T6" fmla="*/ 0 w 32"/>
                <a:gd name="T7" fmla="*/ 0 h 38"/>
                <a:gd name="T8" fmla="*/ 0 w 32"/>
                <a:gd name="T9" fmla="*/ 38 h 38"/>
                <a:gd name="T10" fmla="*/ 6 w 32"/>
                <a:gd name="T11" fmla="*/ 38 h 38"/>
                <a:gd name="T12" fmla="*/ 6 w 32"/>
                <a:gd name="T13" fmla="*/ 11 h 38"/>
                <a:gd name="T14" fmla="*/ 14 w 32"/>
                <a:gd name="T15" fmla="*/ 26 h 38"/>
                <a:gd name="T16" fmla="*/ 18 w 32"/>
                <a:gd name="T17" fmla="*/ 26 h 38"/>
                <a:gd name="T18" fmla="*/ 26 w 32"/>
                <a:gd name="T19" fmla="*/ 11 h 38"/>
                <a:gd name="T20" fmla="*/ 26 w 32"/>
                <a:gd name="T21" fmla="*/ 38 h 38"/>
                <a:gd name="T22" fmla="*/ 32 w 32"/>
                <a:gd name="T23" fmla="*/ 38 h 38"/>
                <a:gd name="T24" fmla="*/ 32 w 32"/>
                <a:gd name="T25" fmla="*/ 0 h 38"/>
                <a:gd name="T26" fmla="*/ 26 w 32"/>
                <a:gd name="T27" fmla="*/ 0 h 38"/>
                <a:gd name="T28" fmla="*/ 16 w 32"/>
                <a:gd name="T29" fmla="*/ 1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38">
                  <a:moveTo>
                    <a:pt x="16" y="19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8"/>
                  </a:lnTo>
                  <a:lnTo>
                    <a:pt x="6" y="38"/>
                  </a:lnTo>
                  <a:lnTo>
                    <a:pt x="6" y="11"/>
                  </a:lnTo>
                  <a:lnTo>
                    <a:pt x="14" y="26"/>
                  </a:lnTo>
                  <a:lnTo>
                    <a:pt x="18" y="26"/>
                  </a:lnTo>
                  <a:lnTo>
                    <a:pt x="26" y="11"/>
                  </a:lnTo>
                  <a:lnTo>
                    <a:pt x="26" y="38"/>
                  </a:lnTo>
                  <a:lnTo>
                    <a:pt x="32" y="38"/>
                  </a:lnTo>
                  <a:lnTo>
                    <a:pt x="32" y="0"/>
                  </a:lnTo>
                  <a:lnTo>
                    <a:pt x="26" y="0"/>
                  </a:lnTo>
                  <a:lnTo>
                    <a:pt x="16" y="19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" name="Freeform 160">
              <a:extLst>
                <a:ext uri="{FF2B5EF4-FFF2-40B4-BE49-F238E27FC236}">
                  <a16:creationId xmlns:a16="http://schemas.microsoft.com/office/drawing/2014/main" id="{6EA20D56-09F5-4821-A586-1663EB80473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2600" y="4416425"/>
              <a:ext cx="50800" cy="60325"/>
            </a:xfrm>
            <a:custGeom>
              <a:avLst/>
              <a:gdLst>
                <a:gd name="T0" fmla="*/ 16 w 32"/>
                <a:gd name="T1" fmla="*/ 19 h 38"/>
                <a:gd name="T2" fmla="*/ 6 w 32"/>
                <a:gd name="T3" fmla="*/ 0 h 38"/>
                <a:gd name="T4" fmla="*/ 6 w 32"/>
                <a:gd name="T5" fmla="*/ 0 h 38"/>
                <a:gd name="T6" fmla="*/ 0 w 32"/>
                <a:gd name="T7" fmla="*/ 0 h 38"/>
                <a:gd name="T8" fmla="*/ 0 w 32"/>
                <a:gd name="T9" fmla="*/ 38 h 38"/>
                <a:gd name="T10" fmla="*/ 5 w 32"/>
                <a:gd name="T11" fmla="*/ 38 h 38"/>
                <a:gd name="T12" fmla="*/ 5 w 32"/>
                <a:gd name="T13" fmla="*/ 11 h 38"/>
                <a:gd name="T14" fmla="*/ 14 w 32"/>
                <a:gd name="T15" fmla="*/ 26 h 38"/>
                <a:gd name="T16" fmla="*/ 18 w 32"/>
                <a:gd name="T17" fmla="*/ 26 h 38"/>
                <a:gd name="T18" fmla="*/ 26 w 32"/>
                <a:gd name="T19" fmla="*/ 11 h 38"/>
                <a:gd name="T20" fmla="*/ 26 w 32"/>
                <a:gd name="T21" fmla="*/ 38 h 38"/>
                <a:gd name="T22" fmla="*/ 32 w 32"/>
                <a:gd name="T23" fmla="*/ 38 h 38"/>
                <a:gd name="T24" fmla="*/ 32 w 32"/>
                <a:gd name="T25" fmla="*/ 0 h 38"/>
                <a:gd name="T26" fmla="*/ 26 w 32"/>
                <a:gd name="T27" fmla="*/ 0 h 38"/>
                <a:gd name="T28" fmla="*/ 16 w 32"/>
                <a:gd name="T29" fmla="*/ 1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38">
                  <a:moveTo>
                    <a:pt x="16" y="19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8"/>
                  </a:lnTo>
                  <a:lnTo>
                    <a:pt x="5" y="38"/>
                  </a:lnTo>
                  <a:lnTo>
                    <a:pt x="5" y="11"/>
                  </a:lnTo>
                  <a:lnTo>
                    <a:pt x="14" y="26"/>
                  </a:lnTo>
                  <a:lnTo>
                    <a:pt x="18" y="26"/>
                  </a:lnTo>
                  <a:lnTo>
                    <a:pt x="26" y="11"/>
                  </a:lnTo>
                  <a:lnTo>
                    <a:pt x="26" y="38"/>
                  </a:lnTo>
                  <a:lnTo>
                    <a:pt x="32" y="38"/>
                  </a:lnTo>
                  <a:lnTo>
                    <a:pt x="32" y="0"/>
                  </a:lnTo>
                  <a:lnTo>
                    <a:pt x="26" y="0"/>
                  </a:lnTo>
                  <a:lnTo>
                    <a:pt x="16" y="19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8" name="Freeform 161">
              <a:extLst>
                <a:ext uri="{FF2B5EF4-FFF2-40B4-BE49-F238E27FC236}">
                  <a16:creationId xmlns:a16="http://schemas.microsoft.com/office/drawing/2014/main" id="{DB751062-FCDA-44FF-A8CD-5F99952CE935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5625" y="4416425"/>
              <a:ext cx="38100" cy="60325"/>
            </a:xfrm>
            <a:custGeom>
              <a:avLst/>
              <a:gdLst>
                <a:gd name="T0" fmla="*/ 6 w 24"/>
                <a:gd name="T1" fmla="*/ 21 h 38"/>
                <a:gd name="T2" fmla="*/ 22 w 24"/>
                <a:gd name="T3" fmla="*/ 21 h 38"/>
                <a:gd name="T4" fmla="*/ 22 w 24"/>
                <a:gd name="T5" fmla="*/ 16 h 38"/>
                <a:gd name="T6" fmla="*/ 6 w 24"/>
                <a:gd name="T7" fmla="*/ 16 h 38"/>
                <a:gd name="T8" fmla="*/ 6 w 24"/>
                <a:gd name="T9" fmla="*/ 5 h 38"/>
                <a:gd name="T10" fmla="*/ 24 w 24"/>
                <a:gd name="T11" fmla="*/ 5 h 38"/>
                <a:gd name="T12" fmla="*/ 24 w 24"/>
                <a:gd name="T13" fmla="*/ 0 h 38"/>
                <a:gd name="T14" fmla="*/ 0 w 24"/>
                <a:gd name="T15" fmla="*/ 0 h 38"/>
                <a:gd name="T16" fmla="*/ 0 w 24"/>
                <a:gd name="T17" fmla="*/ 38 h 38"/>
                <a:gd name="T18" fmla="*/ 24 w 24"/>
                <a:gd name="T19" fmla="*/ 38 h 38"/>
                <a:gd name="T20" fmla="*/ 24 w 24"/>
                <a:gd name="T21" fmla="*/ 33 h 38"/>
                <a:gd name="T22" fmla="*/ 6 w 24"/>
                <a:gd name="T23" fmla="*/ 33 h 38"/>
                <a:gd name="T24" fmla="*/ 6 w 24"/>
                <a:gd name="T25" fmla="*/ 2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38">
                  <a:moveTo>
                    <a:pt x="6" y="21"/>
                  </a:moveTo>
                  <a:lnTo>
                    <a:pt x="22" y="21"/>
                  </a:lnTo>
                  <a:lnTo>
                    <a:pt x="22" y="16"/>
                  </a:lnTo>
                  <a:lnTo>
                    <a:pt x="6" y="16"/>
                  </a:lnTo>
                  <a:lnTo>
                    <a:pt x="6" y="5"/>
                  </a:lnTo>
                  <a:lnTo>
                    <a:pt x="24" y="5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38"/>
                  </a:lnTo>
                  <a:lnTo>
                    <a:pt x="24" y="38"/>
                  </a:lnTo>
                  <a:lnTo>
                    <a:pt x="24" y="33"/>
                  </a:lnTo>
                  <a:lnTo>
                    <a:pt x="6" y="33"/>
                  </a:lnTo>
                  <a:lnTo>
                    <a:pt x="6" y="21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9" name="Freeform 162">
              <a:extLst>
                <a:ext uri="{FF2B5EF4-FFF2-40B4-BE49-F238E27FC236}">
                  <a16:creationId xmlns:a16="http://schemas.microsoft.com/office/drawing/2014/main" id="{3AFA3C94-BA78-4715-B07B-DC465F7FEE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32775" y="4416425"/>
              <a:ext cx="41275" cy="60325"/>
            </a:xfrm>
            <a:custGeom>
              <a:avLst/>
              <a:gdLst>
                <a:gd name="T0" fmla="*/ 94 w 120"/>
                <a:gd name="T1" fmla="*/ 108 h 180"/>
                <a:gd name="T2" fmla="*/ 119 w 120"/>
                <a:gd name="T3" fmla="*/ 71 h 180"/>
                <a:gd name="T4" fmla="*/ 119 w 120"/>
                <a:gd name="T5" fmla="*/ 39 h 180"/>
                <a:gd name="T6" fmla="*/ 80 w 120"/>
                <a:gd name="T7" fmla="*/ 0 h 180"/>
                <a:gd name="T8" fmla="*/ 0 w 120"/>
                <a:gd name="T9" fmla="*/ 0 h 180"/>
                <a:gd name="T10" fmla="*/ 0 w 120"/>
                <a:gd name="T11" fmla="*/ 180 h 180"/>
                <a:gd name="T12" fmla="*/ 28 w 120"/>
                <a:gd name="T13" fmla="*/ 180 h 180"/>
                <a:gd name="T14" fmla="*/ 28 w 120"/>
                <a:gd name="T15" fmla="*/ 109 h 180"/>
                <a:gd name="T16" fmla="*/ 66 w 120"/>
                <a:gd name="T17" fmla="*/ 109 h 180"/>
                <a:gd name="T18" fmla="*/ 89 w 120"/>
                <a:gd name="T19" fmla="*/ 179 h 180"/>
                <a:gd name="T20" fmla="*/ 89 w 120"/>
                <a:gd name="T21" fmla="*/ 180 h 180"/>
                <a:gd name="T22" fmla="*/ 120 w 120"/>
                <a:gd name="T23" fmla="*/ 180 h 180"/>
                <a:gd name="T24" fmla="*/ 94 w 120"/>
                <a:gd name="T25" fmla="*/ 108 h 180"/>
                <a:gd name="T26" fmla="*/ 28 w 120"/>
                <a:gd name="T27" fmla="*/ 24 h 180"/>
                <a:gd name="T28" fmla="*/ 78 w 120"/>
                <a:gd name="T29" fmla="*/ 24 h 180"/>
                <a:gd name="T30" fmla="*/ 90 w 120"/>
                <a:gd name="T31" fmla="*/ 37 h 180"/>
                <a:gd name="T32" fmla="*/ 90 w 120"/>
                <a:gd name="T33" fmla="*/ 72 h 180"/>
                <a:gd name="T34" fmla="*/ 78 w 120"/>
                <a:gd name="T35" fmla="*/ 85 h 180"/>
                <a:gd name="T36" fmla="*/ 28 w 120"/>
                <a:gd name="T37" fmla="*/ 85 h 180"/>
                <a:gd name="T38" fmla="*/ 28 w 120"/>
                <a:gd name="T39" fmla="*/ 2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0" h="180">
                  <a:moveTo>
                    <a:pt x="94" y="108"/>
                  </a:moveTo>
                  <a:cubicBezTo>
                    <a:pt x="110" y="103"/>
                    <a:pt x="119" y="91"/>
                    <a:pt x="119" y="71"/>
                  </a:cubicBezTo>
                  <a:cubicBezTo>
                    <a:pt x="119" y="39"/>
                    <a:pt x="119" y="39"/>
                    <a:pt x="119" y="39"/>
                  </a:cubicBezTo>
                  <a:cubicBezTo>
                    <a:pt x="119" y="13"/>
                    <a:pt x="105" y="0"/>
                    <a:pt x="8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28" y="180"/>
                    <a:pt x="28" y="180"/>
                    <a:pt x="28" y="180"/>
                  </a:cubicBezTo>
                  <a:cubicBezTo>
                    <a:pt x="28" y="109"/>
                    <a:pt x="28" y="109"/>
                    <a:pt x="28" y="109"/>
                  </a:cubicBezTo>
                  <a:cubicBezTo>
                    <a:pt x="66" y="109"/>
                    <a:pt x="66" y="109"/>
                    <a:pt x="66" y="109"/>
                  </a:cubicBezTo>
                  <a:cubicBezTo>
                    <a:pt x="89" y="179"/>
                    <a:pt x="89" y="179"/>
                    <a:pt x="89" y="179"/>
                  </a:cubicBezTo>
                  <a:cubicBezTo>
                    <a:pt x="89" y="180"/>
                    <a:pt x="89" y="180"/>
                    <a:pt x="89" y="180"/>
                  </a:cubicBezTo>
                  <a:cubicBezTo>
                    <a:pt x="120" y="180"/>
                    <a:pt x="120" y="180"/>
                    <a:pt x="120" y="180"/>
                  </a:cubicBezTo>
                  <a:lnTo>
                    <a:pt x="94" y="108"/>
                  </a:lnTo>
                  <a:close/>
                  <a:moveTo>
                    <a:pt x="28" y="24"/>
                  </a:moveTo>
                  <a:cubicBezTo>
                    <a:pt x="78" y="24"/>
                    <a:pt x="78" y="24"/>
                    <a:pt x="78" y="24"/>
                  </a:cubicBezTo>
                  <a:cubicBezTo>
                    <a:pt x="86" y="24"/>
                    <a:pt x="90" y="28"/>
                    <a:pt x="90" y="37"/>
                  </a:cubicBezTo>
                  <a:cubicBezTo>
                    <a:pt x="90" y="72"/>
                    <a:pt x="90" y="72"/>
                    <a:pt x="90" y="72"/>
                  </a:cubicBezTo>
                  <a:cubicBezTo>
                    <a:pt x="90" y="80"/>
                    <a:pt x="86" y="85"/>
                    <a:pt x="78" y="85"/>
                  </a:cubicBezTo>
                  <a:cubicBezTo>
                    <a:pt x="28" y="85"/>
                    <a:pt x="28" y="85"/>
                    <a:pt x="28" y="85"/>
                  </a:cubicBezTo>
                  <a:lnTo>
                    <a:pt x="28" y="24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79" name="Tekstboks 1">
            <a:extLst>
              <a:ext uri="{FF2B5EF4-FFF2-40B4-BE49-F238E27FC236}">
                <a16:creationId xmlns:a16="http://schemas.microsoft.com/office/drawing/2014/main" id="{F40C28E5-E3E4-4CD7-BA05-C0800F83BBC9}"/>
              </a:ext>
            </a:extLst>
          </p:cNvPr>
          <p:cNvSpPr txBox="1"/>
          <p:nvPr/>
        </p:nvSpPr>
        <p:spPr>
          <a:xfrm>
            <a:off x="8578290" y="2701152"/>
            <a:ext cx="1198321" cy="113611"/>
          </a:xfrm>
          <a:prstGeom prst="rect">
            <a:avLst/>
          </a:prstGeom>
        </p:spPr>
        <p:txBody>
          <a:bodyPr wrap="square" rtlCol="0" anchor="b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a-DK" sz="700" dirty="0">
                <a:solidFill>
                  <a:sysClr val="windowText" lastClr="000000"/>
                </a:solidFill>
                <a:latin typeface="Graphik Semibold" pitchFamily="34" charset="0"/>
                <a:ea typeface="Verdana" panose="020B0604030504040204" pitchFamily="34" charset="0"/>
                <a:cs typeface="Arial" panose="020B0604020202020204" pitchFamily="34" charset="0"/>
              </a:rPr>
              <a:t>Mio. kr.</a:t>
            </a:r>
          </a:p>
        </p:txBody>
      </p:sp>
      <p:sp>
        <p:nvSpPr>
          <p:cNvPr id="30" name="Tekstboks 1">
            <a:extLst>
              <a:ext uri="{FF2B5EF4-FFF2-40B4-BE49-F238E27FC236}">
                <a16:creationId xmlns:a16="http://schemas.microsoft.com/office/drawing/2014/main" id="{1F81A592-5AAE-4B36-83AA-91557924F479}"/>
              </a:ext>
            </a:extLst>
          </p:cNvPr>
          <p:cNvSpPr txBox="1"/>
          <p:nvPr/>
        </p:nvSpPr>
        <p:spPr>
          <a:xfrm>
            <a:off x="839416" y="2628900"/>
            <a:ext cx="1202789" cy="187568"/>
          </a:xfrm>
          <a:prstGeom prst="rect">
            <a:avLst/>
          </a:prstGeom>
        </p:spPr>
        <p:txBody>
          <a:bodyPr wrap="square" rtlCol="0" anchor="b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a-DK" sz="700" dirty="0">
                <a:solidFill>
                  <a:sysClr val="windowText" lastClr="000000"/>
                </a:solidFill>
                <a:latin typeface="Graphik Semibold" pitchFamily="34" charset="0"/>
                <a:ea typeface="Verdana" panose="020B0604030504040204" pitchFamily="34" charset="0"/>
                <a:cs typeface="Arial" panose="020B0604020202020204" pitchFamily="34" charset="0"/>
              </a:rPr>
              <a:t>Mio. kr.</a:t>
            </a:r>
          </a:p>
        </p:txBody>
      </p:sp>
      <p:cxnSp>
        <p:nvCxnSpPr>
          <p:cNvPr id="103" name="Lige forbindelse 102">
            <a:extLst>
              <a:ext uri="{FF2B5EF4-FFF2-40B4-BE49-F238E27FC236}">
                <a16:creationId xmlns:a16="http://schemas.microsoft.com/office/drawing/2014/main" id="{49D13F3B-BC99-4455-B87A-6C7C18E5641C}"/>
              </a:ext>
            </a:extLst>
          </p:cNvPr>
          <p:cNvCxnSpPr>
            <a:cxnSpLocks/>
          </p:cNvCxnSpPr>
          <p:nvPr/>
        </p:nvCxnSpPr>
        <p:spPr>
          <a:xfrm>
            <a:off x="4583832" y="2529100"/>
            <a:ext cx="0" cy="2196000"/>
          </a:xfrm>
          <a:prstGeom prst="line">
            <a:avLst/>
          </a:prstGeom>
          <a:ln w="28575">
            <a:solidFill>
              <a:schemeClr val="tx2"/>
            </a:solidFill>
            <a:miter lim="800000"/>
            <a:tailEnd type="none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Lige forbindelse 103">
            <a:extLst>
              <a:ext uri="{FF2B5EF4-FFF2-40B4-BE49-F238E27FC236}">
                <a16:creationId xmlns:a16="http://schemas.microsoft.com/office/drawing/2014/main" id="{C0F709E8-4112-47AB-9CCF-CA4A7DECB750}"/>
              </a:ext>
            </a:extLst>
          </p:cNvPr>
          <p:cNvCxnSpPr>
            <a:cxnSpLocks/>
          </p:cNvCxnSpPr>
          <p:nvPr/>
        </p:nvCxnSpPr>
        <p:spPr>
          <a:xfrm>
            <a:off x="7640289" y="2529100"/>
            <a:ext cx="3883" cy="2196000"/>
          </a:xfrm>
          <a:prstGeom prst="line">
            <a:avLst/>
          </a:prstGeom>
          <a:ln w="28575">
            <a:solidFill>
              <a:schemeClr val="tx2"/>
            </a:solidFill>
            <a:miter lim="800000"/>
            <a:tailEnd type="none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kstboks 35">
            <a:extLst>
              <a:ext uri="{FF2B5EF4-FFF2-40B4-BE49-F238E27FC236}">
                <a16:creationId xmlns:a16="http://schemas.microsoft.com/office/drawing/2014/main" id="{858A35E4-7D8B-47E4-8B2F-1A5BA7A24BB0}"/>
              </a:ext>
            </a:extLst>
          </p:cNvPr>
          <p:cNvSpPr txBox="1"/>
          <p:nvPr/>
        </p:nvSpPr>
        <p:spPr>
          <a:xfrm>
            <a:off x="4860677" y="2986227"/>
            <a:ext cx="1132130" cy="59535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5600" b="0" i="0" u="none" strike="noStrike" kern="1200" cap="none" spc="0" normalizeH="0" baseline="0" noProof="0" dirty="0">
                <a:ln>
                  <a:noFill/>
                </a:ln>
                <a:solidFill>
                  <a:srgbClr val="009E8E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12,0</a:t>
            </a:r>
          </a:p>
        </p:txBody>
      </p:sp>
      <p:sp>
        <p:nvSpPr>
          <p:cNvPr id="78" name="Tekstboks 27">
            <a:extLst>
              <a:ext uri="{FF2B5EF4-FFF2-40B4-BE49-F238E27FC236}">
                <a16:creationId xmlns:a16="http://schemas.microsoft.com/office/drawing/2014/main" id="{D249ABA6-EB66-4C23-945A-FDC434B2A7A7}"/>
              </a:ext>
            </a:extLst>
          </p:cNvPr>
          <p:cNvSpPr txBox="1"/>
          <p:nvPr/>
        </p:nvSpPr>
        <p:spPr>
          <a:xfrm>
            <a:off x="6572641" y="3138874"/>
            <a:ext cx="891511" cy="4706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009E8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a. kr.</a:t>
            </a: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400" b="1" dirty="0">
                <a:solidFill>
                  <a:srgbClr val="009E8E"/>
                </a:solidFill>
                <a:latin typeface="Arial"/>
              </a:rPr>
              <a:t>H1-</a:t>
            </a: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009E8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2</a:t>
            </a:r>
          </a:p>
        </p:txBody>
      </p:sp>
      <p:sp>
        <p:nvSpPr>
          <p:cNvPr id="102" name="Tekstboks 35">
            <a:extLst>
              <a:ext uri="{FF2B5EF4-FFF2-40B4-BE49-F238E27FC236}">
                <a16:creationId xmlns:a16="http://schemas.microsoft.com/office/drawing/2014/main" id="{FDB822FC-DF47-4EA8-BD3A-F6D17DC1A8D8}"/>
              </a:ext>
            </a:extLst>
          </p:cNvPr>
          <p:cNvSpPr txBox="1"/>
          <p:nvPr/>
        </p:nvSpPr>
        <p:spPr>
          <a:xfrm>
            <a:off x="5287906" y="3849827"/>
            <a:ext cx="1132130" cy="59535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5600" dirty="0">
                <a:solidFill>
                  <a:srgbClr val="58595B">
                    <a:lumMod val="60000"/>
                    <a:lumOff val="40000"/>
                  </a:srgbClr>
                </a:solidFill>
                <a:latin typeface="Arial Black" panose="020B0A04020102020204" pitchFamily="34" charset="0"/>
              </a:rPr>
              <a:t>9,6</a:t>
            </a:r>
            <a:endParaRPr kumimoji="0" lang="da-DK" sz="5600" b="0" i="0" u="none" strike="noStrike" kern="1200" cap="none" spc="0" normalizeH="0" baseline="0" noProof="0" dirty="0">
              <a:ln>
                <a:noFill/>
              </a:ln>
              <a:solidFill>
                <a:srgbClr val="58595B">
                  <a:lumMod val="60000"/>
                  <a:lumOff val="40000"/>
                </a:srgbClr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105" name="Tekstboks 27">
            <a:extLst>
              <a:ext uri="{FF2B5EF4-FFF2-40B4-BE49-F238E27FC236}">
                <a16:creationId xmlns:a16="http://schemas.microsoft.com/office/drawing/2014/main" id="{36712AE9-0ED3-4E20-AC4E-5D269A174DD6}"/>
              </a:ext>
            </a:extLst>
          </p:cNvPr>
          <p:cNvSpPr txBox="1"/>
          <p:nvPr/>
        </p:nvSpPr>
        <p:spPr>
          <a:xfrm>
            <a:off x="6531841" y="4002474"/>
            <a:ext cx="860303" cy="4706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a. kr.</a:t>
            </a: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58595B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1-21</a:t>
            </a:r>
          </a:p>
        </p:txBody>
      </p:sp>
      <p:graphicFrame>
        <p:nvGraphicFramePr>
          <p:cNvPr id="108" name="Diagram 107">
            <a:extLst>
              <a:ext uri="{FF2B5EF4-FFF2-40B4-BE49-F238E27FC236}">
                <a16:creationId xmlns:a16="http://schemas.microsoft.com/office/drawing/2014/main" id="{D6D89C5F-7DD6-49D6-8B2F-DB8EBD9FA0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16959274"/>
              </p:ext>
            </p:extLst>
          </p:nvPr>
        </p:nvGraphicFramePr>
        <p:xfrm>
          <a:off x="790541" y="2744924"/>
          <a:ext cx="3577267" cy="20814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pic>
        <p:nvPicPr>
          <p:cNvPr id="100" name="Billede 99">
            <a:extLst>
              <a:ext uri="{FF2B5EF4-FFF2-40B4-BE49-F238E27FC236}">
                <a16:creationId xmlns:a16="http://schemas.microsoft.com/office/drawing/2014/main" id="{34075C3C-8082-44C8-B820-B39FEB22BD20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844548" y="4803098"/>
            <a:ext cx="765589" cy="246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79237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el 7">
            <a:extLst>
              <a:ext uri="{FF2B5EF4-FFF2-40B4-BE49-F238E27FC236}">
                <a16:creationId xmlns:a16="http://schemas.microsoft.com/office/drawing/2014/main" id="{7FC523AB-AA09-47DC-B349-A050110A42F5}"/>
              </a:ext>
            </a:extLst>
          </p:cNvPr>
          <p:cNvSpPr txBox="1">
            <a:spLocks/>
          </p:cNvSpPr>
          <p:nvPr/>
        </p:nvSpPr>
        <p:spPr>
          <a:xfrm>
            <a:off x="675630" y="1324212"/>
            <a:ext cx="10828984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1000"/>
              </a:lnSpc>
              <a:spcBef>
                <a:spcPct val="0"/>
              </a:spcBef>
              <a:buNone/>
              <a:defRPr sz="30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 err="1">
                <a:solidFill>
                  <a:schemeClr val="tx1"/>
                </a:solidFill>
              </a:rPr>
              <a:t>Turnaround</a:t>
            </a:r>
            <a:r>
              <a:rPr lang="da-DK" dirty="0">
                <a:solidFill>
                  <a:schemeClr val="tx1"/>
                </a:solidFill>
              </a:rPr>
              <a:t> på sporet i MT Højgaard Danmark </a:t>
            </a:r>
            <a:endParaRPr lang="da-DK" dirty="0"/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684A6BE2-B1FD-48BE-BB25-076427DFA6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4613" y="403550"/>
            <a:ext cx="342899" cy="146519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da-DK" smtClean="0"/>
              <a:pPr>
                <a:spcAft>
                  <a:spcPts val="600"/>
                </a:spcAft>
              </a:pPr>
              <a:t>6</a:t>
            </a:fld>
            <a:endParaRPr lang="da-DK" dirty="0"/>
          </a:p>
        </p:txBody>
      </p:sp>
      <p:cxnSp>
        <p:nvCxnSpPr>
          <p:cNvPr id="38" name="Lige forbindelse 37">
            <a:extLst>
              <a:ext uri="{FF2B5EF4-FFF2-40B4-BE49-F238E27FC236}">
                <a16:creationId xmlns:a16="http://schemas.microsoft.com/office/drawing/2014/main" id="{7A496586-3BCD-46E2-9A2F-017795831180}"/>
              </a:ext>
            </a:extLst>
          </p:cNvPr>
          <p:cNvCxnSpPr>
            <a:cxnSpLocks/>
          </p:cNvCxnSpPr>
          <p:nvPr/>
        </p:nvCxnSpPr>
        <p:spPr>
          <a:xfrm>
            <a:off x="6105525" y="2224212"/>
            <a:ext cx="0" cy="3652713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ktangel 26">
            <a:extLst>
              <a:ext uri="{FF2B5EF4-FFF2-40B4-BE49-F238E27FC236}">
                <a16:creationId xmlns:a16="http://schemas.microsoft.com/office/drawing/2014/main" id="{7FECCF7C-CD65-12AF-90EA-81F5DD9D2911}"/>
              </a:ext>
            </a:extLst>
          </p:cNvPr>
          <p:cNvSpPr/>
          <p:nvPr/>
        </p:nvSpPr>
        <p:spPr>
          <a:xfrm>
            <a:off x="4885000" y="3429000"/>
            <a:ext cx="1220525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tabLst>
                <a:tab pos="3141663" algn="r"/>
              </a:tabLst>
            </a:pPr>
            <a:r>
              <a:rPr lang="da-DK" b="1" dirty="0">
                <a:solidFill>
                  <a:schemeClr val="accent1"/>
                </a:solidFill>
              </a:rPr>
              <a:t>+31%</a:t>
            </a:r>
          </a:p>
          <a:p>
            <a:pPr algn="ctr">
              <a:tabLst>
                <a:tab pos="3141663" algn="r"/>
              </a:tabLst>
            </a:pPr>
            <a:r>
              <a:rPr lang="da-DK" sz="900" dirty="0">
                <a:solidFill>
                  <a:srgbClr val="58595B"/>
                </a:solidFill>
              </a:rPr>
              <a:t>Omsætningsvækst</a:t>
            </a:r>
            <a:endParaRPr lang="da-DK" dirty="0"/>
          </a:p>
        </p:txBody>
      </p:sp>
      <p:sp>
        <p:nvSpPr>
          <p:cNvPr id="29" name="Rektangel 28">
            <a:extLst>
              <a:ext uri="{FF2B5EF4-FFF2-40B4-BE49-F238E27FC236}">
                <a16:creationId xmlns:a16="http://schemas.microsoft.com/office/drawing/2014/main" id="{10AB5978-14C1-A89E-366B-8A85C017374F}"/>
              </a:ext>
            </a:extLst>
          </p:cNvPr>
          <p:cNvSpPr/>
          <p:nvPr/>
        </p:nvSpPr>
        <p:spPr>
          <a:xfrm>
            <a:off x="595946" y="2817207"/>
            <a:ext cx="3987881" cy="14539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4000" lvl="1" indent="-144000">
              <a:lnSpc>
                <a:spcPct val="115000"/>
              </a:lnSpc>
              <a:spcAft>
                <a:spcPts val="600"/>
              </a:spcAft>
              <a:buFont typeface="Verdana" panose="020B0604030504040204" pitchFamily="34" charset="0"/>
              <a:buChar char="·"/>
            </a:pPr>
            <a:r>
              <a:rPr lang="da-DK" sz="1300" dirty="0">
                <a:solidFill>
                  <a:srgbClr val="58595B"/>
                </a:solidFill>
              </a:rPr>
              <a:t>Skarpt fokus på projekter og samarbejde</a:t>
            </a:r>
          </a:p>
          <a:p>
            <a:pPr marL="144000" lvl="1" indent="-144000">
              <a:lnSpc>
                <a:spcPct val="115000"/>
              </a:lnSpc>
              <a:spcAft>
                <a:spcPts val="600"/>
              </a:spcAft>
              <a:buFont typeface="Verdana" panose="020B0604030504040204" pitchFamily="34" charset="0"/>
              <a:buChar char="·"/>
            </a:pPr>
            <a:r>
              <a:rPr lang="da-DK" sz="1300" dirty="0">
                <a:solidFill>
                  <a:srgbClr val="58595B"/>
                </a:solidFill>
              </a:rPr>
              <a:t>Sundere projekter og bedre marginer</a:t>
            </a:r>
          </a:p>
          <a:p>
            <a:pPr marL="144000" lvl="1" indent="-144000">
              <a:lnSpc>
                <a:spcPct val="115000"/>
              </a:lnSpc>
              <a:spcAft>
                <a:spcPts val="600"/>
              </a:spcAft>
              <a:buFont typeface="Verdana" panose="020B0604030504040204" pitchFamily="34" charset="0"/>
              <a:buChar char="·"/>
            </a:pPr>
            <a:r>
              <a:rPr lang="da-DK" sz="1300" dirty="0">
                <a:solidFill>
                  <a:srgbClr val="58595B"/>
                </a:solidFill>
              </a:rPr>
              <a:t>Fortsat effekt af ældre problemsager</a:t>
            </a:r>
          </a:p>
          <a:p>
            <a:pPr marL="144000" lvl="1" indent="-144000">
              <a:lnSpc>
                <a:spcPct val="115000"/>
              </a:lnSpc>
              <a:spcAft>
                <a:spcPts val="600"/>
              </a:spcAft>
              <a:buFont typeface="Verdana" panose="020B0604030504040204" pitchFamily="34" charset="0"/>
              <a:buChar char="·"/>
            </a:pPr>
            <a:r>
              <a:rPr lang="da-DK" sz="1300" dirty="0">
                <a:solidFill>
                  <a:srgbClr val="58595B"/>
                </a:solidFill>
              </a:rPr>
              <a:t>Ordreindgang på 1,7 mia. kr. i 1. halvår – ordreindgang på foreløbig &gt;2 mia. kr. i 3. kvartal</a:t>
            </a:r>
          </a:p>
        </p:txBody>
      </p:sp>
      <p:graphicFrame>
        <p:nvGraphicFramePr>
          <p:cNvPr id="31" name="Table 11">
            <a:extLst>
              <a:ext uri="{FF2B5EF4-FFF2-40B4-BE49-F238E27FC236}">
                <a16:creationId xmlns:a16="http://schemas.microsoft.com/office/drawing/2014/main" id="{5294BA07-A1D7-FB24-9F7F-9D6118F30E8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83979823"/>
              </p:ext>
            </p:extLst>
          </p:nvPr>
        </p:nvGraphicFramePr>
        <p:xfrm>
          <a:off x="587388" y="4904990"/>
          <a:ext cx="5220579" cy="1543691"/>
        </p:xfrm>
        <a:graphic>
          <a:graphicData uri="http://schemas.openxmlformats.org/drawingml/2006/table">
            <a:tbl>
              <a:tblPr bandCol="1">
                <a:tableStyleId>{7DF18680-E054-41AD-8BC1-D1AEF772440D}</a:tableStyleId>
              </a:tblPr>
              <a:tblGrid>
                <a:gridCol w="3403865">
                  <a:extLst>
                    <a:ext uri="{9D8B030D-6E8A-4147-A177-3AD203B41FA5}">
                      <a16:colId xmlns:a16="http://schemas.microsoft.com/office/drawing/2014/main" val="2362714525"/>
                    </a:ext>
                  </a:extLst>
                </a:gridCol>
                <a:gridCol w="908357">
                  <a:extLst>
                    <a:ext uri="{9D8B030D-6E8A-4147-A177-3AD203B41FA5}">
                      <a16:colId xmlns:a16="http://schemas.microsoft.com/office/drawing/2014/main" val="3713261334"/>
                    </a:ext>
                  </a:extLst>
                </a:gridCol>
                <a:gridCol w="908357">
                  <a:extLst>
                    <a:ext uri="{9D8B030D-6E8A-4147-A177-3AD203B41FA5}">
                      <a16:colId xmlns:a16="http://schemas.microsoft.com/office/drawing/2014/main" val="651737527"/>
                    </a:ext>
                  </a:extLst>
                </a:gridCol>
              </a:tblGrid>
              <a:tr h="573821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eløb i mio. kr.</a:t>
                      </a:r>
                    </a:p>
                  </a:txBody>
                  <a:tcPr marL="76957" marR="0" marT="0" marB="0" anchor="ctr"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 H1-22</a:t>
                      </a:r>
                    </a:p>
                  </a:txBody>
                  <a:tcPr marL="76957" marR="76957" marT="0" marB="0" anchor="ctr"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 H1-21</a:t>
                      </a:r>
                    </a:p>
                  </a:txBody>
                  <a:tcPr marL="76957" marR="76957" marT="0" marB="0" anchor="ctr"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4823625"/>
                  </a:ext>
                </a:extLst>
              </a:tr>
              <a:tr h="32329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msætning</a:t>
                      </a:r>
                    </a:p>
                  </a:txBody>
                  <a:tcPr marL="76957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.835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E7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.397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8951967"/>
                  </a:ext>
                </a:extLst>
              </a:tr>
              <a:tr h="32329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riftsresultat før særlige poster</a:t>
                      </a:r>
                    </a:p>
                  </a:txBody>
                  <a:tcPr marL="76957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42,4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E7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,3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6065203"/>
                  </a:ext>
                </a:extLst>
              </a:tr>
              <a:tr h="32329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rdrebeholdning</a:t>
                      </a:r>
                    </a:p>
                  </a:txBody>
                  <a:tcPr marL="76957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4.370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E7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4.470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210074"/>
                  </a:ext>
                </a:extLst>
              </a:tr>
            </a:tbl>
          </a:graphicData>
        </a:graphic>
      </p:graphicFrame>
      <p:sp>
        <p:nvSpPr>
          <p:cNvPr id="2" name="Rektangel 1">
            <a:extLst>
              <a:ext uri="{FF2B5EF4-FFF2-40B4-BE49-F238E27FC236}">
                <a16:creationId xmlns:a16="http://schemas.microsoft.com/office/drawing/2014/main" id="{C2CCACB1-D312-6BDA-9B8C-7D137D11F0D2}"/>
              </a:ext>
            </a:extLst>
          </p:cNvPr>
          <p:cNvSpPr/>
          <p:nvPr/>
        </p:nvSpPr>
        <p:spPr>
          <a:xfrm>
            <a:off x="4914501" y="4149080"/>
            <a:ext cx="1152395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tabLst>
                <a:tab pos="3141663" algn="r"/>
              </a:tabLst>
            </a:pPr>
            <a:r>
              <a:rPr lang="da-DK" b="1" dirty="0">
                <a:solidFill>
                  <a:schemeClr val="accent1"/>
                </a:solidFill>
              </a:rPr>
              <a:t>2,3%</a:t>
            </a:r>
            <a:br>
              <a:rPr lang="da-DK" b="1" dirty="0">
                <a:solidFill>
                  <a:schemeClr val="accent1"/>
                </a:solidFill>
              </a:rPr>
            </a:br>
            <a:r>
              <a:rPr lang="da-DK" sz="900" dirty="0">
                <a:solidFill>
                  <a:srgbClr val="58595B"/>
                </a:solidFill>
              </a:rPr>
              <a:t>Overskudsgrad</a:t>
            </a:r>
            <a:endParaRPr lang="da-DK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349DDC4-F686-FC9F-1035-BF3116C06EA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46824" y="1900098"/>
            <a:ext cx="1952642" cy="898498"/>
          </a:xfrm>
          <a:prstGeom prst="rect">
            <a:avLst/>
          </a:prstGeom>
        </p:spPr>
      </p:pic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E8BA029E-0509-B7C0-6D7C-D746AAD9A05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57736938"/>
              </p:ext>
            </p:extLst>
          </p:nvPr>
        </p:nvGraphicFramePr>
        <p:xfrm>
          <a:off x="4851712" y="2250503"/>
          <a:ext cx="1220524" cy="914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800634C3-CC00-A5EB-AC6D-1C40521C46D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30898197"/>
              </p:ext>
            </p:extLst>
          </p:nvPr>
        </p:nvGraphicFramePr>
        <p:xfrm>
          <a:off x="6708068" y="2716749"/>
          <a:ext cx="4285040" cy="28724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kstboks 1">
            <a:extLst>
              <a:ext uri="{FF2B5EF4-FFF2-40B4-BE49-F238E27FC236}">
                <a16:creationId xmlns:a16="http://schemas.microsoft.com/office/drawing/2014/main" id="{82492B7B-F62F-97CE-F742-760CEC43148F}"/>
              </a:ext>
            </a:extLst>
          </p:cNvPr>
          <p:cNvSpPr txBox="1"/>
          <p:nvPr/>
        </p:nvSpPr>
        <p:spPr>
          <a:xfrm>
            <a:off x="6744072" y="2557356"/>
            <a:ext cx="1202789" cy="187568"/>
          </a:xfrm>
          <a:prstGeom prst="rect">
            <a:avLst/>
          </a:prstGeom>
        </p:spPr>
        <p:txBody>
          <a:bodyPr wrap="square" rtlCol="0" anchor="b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a-DK" sz="700" dirty="0">
                <a:solidFill>
                  <a:sysClr val="windowText" lastClr="000000"/>
                </a:solidFill>
                <a:latin typeface="Graphik Semibold" pitchFamily="34" charset="0"/>
                <a:ea typeface="Verdana" panose="020B0604030504040204" pitchFamily="34" charset="0"/>
                <a:cs typeface="Arial" panose="020B0604020202020204" pitchFamily="34" charset="0"/>
              </a:rPr>
              <a:t>Mio. kr.</a:t>
            </a:r>
          </a:p>
        </p:txBody>
      </p:sp>
      <p:sp>
        <p:nvSpPr>
          <p:cNvPr id="11" name="Tekstboks 1">
            <a:extLst>
              <a:ext uri="{FF2B5EF4-FFF2-40B4-BE49-F238E27FC236}">
                <a16:creationId xmlns:a16="http://schemas.microsoft.com/office/drawing/2014/main" id="{B65AB50B-097E-DDC3-5CFA-A7518503EE54}"/>
              </a:ext>
            </a:extLst>
          </p:cNvPr>
          <p:cNvSpPr txBox="1"/>
          <p:nvPr/>
        </p:nvSpPr>
        <p:spPr>
          <a:xfrm>
            <a:off x="10752509" y="2557356"/>
            <a:ext cx="780095" cy="187568"/>
          </a:xfrm>
          <a:prstGeom prst="rect">
            <a:avLst/>
          </a:prstGeom>
        </p:spPr>
        <p:txBody>
          <a:bodyPr wrap="square" rtlCol="0" anchor="b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a-DK" sz="700" dirty="0">
                <a:solidFill>
                  <a:sysClr val="windowText" lastClr="000000"/>
                </a:solidFill>
                <a:latin typeface="Graphik Semibold" pitchFamily="34" charset="0"/>
                <a:ea typeface="Verdana" panose="020B060403050404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12" name="Tekstboks 46">
            <a:extLst>
              <a:ext uri="{FF2B5EF4-FFF2-40B4-BE49-F238E27FC236}">
                <a16:creationId xmlns:a16="http://schemas.microsoft.com/office/drawing/2014/main" id="{9AD9D37E-23BB-9BC6-6E2B-9452C2D46143}"/>
              </a:ext>
            </a:extLst>
          </p:cNvPr>
          <p:cNvSpPr txBox="1"/>
          <p:nvPr/>
        </p:nvSpPr>
        <p:spPr>
          <a:xfrm>
            <a:off x="7680486" y="2209408"/>
            <a:ext cx="2856309" cy="2329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msætning og overskudsgrad</a:t>
            </a:r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F1FACD7B-2DBC-0102-F8F3-BB1073E5265C}"/>
              </a:ext>
            </a:extLst>
          </p:cNvPr>
          <p:cNvSpPr/>
          <p:nvPr/>
        </p:nvSpPr>
        <p:spPr>
          <a:xfrm>
            <a:off x="4890550" y="2964555"/>
            <a:ext cx="1220525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tabLst>
                <a:tab pos="3141663" algn="r"/>
              </a:tabLst>
            </a:pPr>
            <a:r>
              <a:rPr lang="da-DK" sz="900" dirty="0">
                <a:solidFill>
                  <a:srgbClr val="58595B"/>
                </a:solidFill>
              </a:rPr>
              <a:t>Andel af omsætning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7920437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el 7">
            <a:extLst>
              <a:ext uri="{FF2B5EF4-FFF2-40B4-BE49-F238E27FC236}">
                <a16:creationId xmlns:a16="http://schemas.microsoft.com/office/drawing/2014/main" id="{7FC523AB-AA09-47DC-B349-A050110A42F5}"/>
              </a:ext>
            </a:extLst>
          </p:cNvPr>
          <p:cNvSpPr txBox="1">
            <a:spLocks/>
          </p:cNvSpPr>
          <p:nvPr/>
        </p:nvSpPr>
        <p:spPr>
          <a:xfrm>
            <a:off x="675630" y="1324212"/>
            <a:ext cx="10828984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1000"/>
              </a:lnSpc>
              <a:spcBef>
                <a:spcPct val="0"/>
              </a:spcBef>
              <a:buNone/>
              <a:defRPr sz="30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/>
              <a:t>Fortsat tilfredsstillende fremgang i Enemærke &amp; Petersen og MT Højgaard Projektudvikling</a:t>
            </a:r>
          </a:p>
        </p:txBody>
      </p:sp>
      <p:sp>
        <p:nvSpPr>
          <p:cNvPr id="220" name="Rektangel 219">
            <a:extLst>
              <a:ext uri="{FF2B5EF4-FFF2-40B4-BE49-F238E27FC236}">
                <a16:creationId xmlns:a16="http://schemas.microsoft.com/office/drawing/2014/main" id="{C5C16F86-996A-4278-95BF-1B7C07794053}"/>
              </a:ext>
            </a:extLst>
          </p:cNvPr>
          <p:cNvSpPr/>
          <p:nvPr/>
        </p:nvSpPr>
        <p:spPr>
          <a:xfrm>
            <a:off x="6465002" y="2813204"/>
            <a:ext cx="4292813" cy="12238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4000" lvl="1" indent="-144000">
              <a:lnSpc>
                <a:spcPct val="115000"/>
              </a:lnSpc>
              <a:spcAft>
                <a:spcPts val="600"/>
              </a:spcAft>
              <a:buFont typeface="Verdana" panose="020B0604030504040204" pitchFamily="34" charset="0"/>
              <a:buChar char="·"/>
            </a:pPr>
            <a:r>
              <a:rPr lang="da-DK" sz="1300" dirty="0">
                <a:solidFill>
                  <a:srgbClr val="58595B"/>
                </a:solidFill>
              </a:rPr>
              <a:t>Højere aktivitet på byggeprojekter </a:t>
            </a:r>
          </a:p>
          <a:p>
            <a:pPr marL="144000" lvl="1" indent="-144000">
              <a:lnSpc>
                <a:spcPct val="115000"/>
              </a:lnSpc>
              <a:spcAft>
                <a:spcPts val="600"/>
              </a:spcAft>
              <a:buFont typeface="Verdana" panose="020B0604030504040204" pitchFamily="34" charset="0"/>
              <a:buChar char="·"/>
            </a:pPr>
            <a:r>
              <a:rPr lang="da-DK" sz="1300" dirty="0">
                <a:solidFill>
                  <a:srgbClr val="58595B"/>
                </a:solidFill>
              </a:rPr>
              <a:t>Flere og bedre timede salg af grunde og ejendomme </a:t>
            </a:r>
          </a:p>
          <a:p>
            <a:pPr marL="144000" lvl="1" indent="-144000">
              <a:lnSpc>
                <a:spcPct val="115000"/>
              </a:lnSpc>
              <a:spcAft>
                <a:spcPts val="600"/>
              </a:spcAft>
              <a:buFont typeface="Verdana" panose="020B0604030504040204" pitchFamily="34" charset="0"/>
              <a:buChar char="·"/>
            </a:pPr>
            <a:r>
              <a:rPr lang="da-DK" sz="1300" dirty="0">
                <a:solidFill>
                  <a:srgbClr val="58595B"/>
                </a:solidFill>
              </a:rPr>
              <a:t>Grundbank reduceret til 276 mio. kr.</a:t>
            </a:r>
          </a:p>
          <a:p>
            <a:pPr marL="144000" lvl="1" indent="-144000">
              <a:lnSpc>
                <a:spcPct val="115000"/>
              </a:lnSpc>
              <a:spcAft>
                <a:spcPts val="600"/>
              </a:spcAft>
              <a:buFont typeface="Verdana" panose="020B0604030504040204" pitchFamily="34" charset="0"/>
              <a:buChar char="·"/>
            </a:pPr>
            <a:r>
              <a:rPr lang="da-DK" sz="1300" dirty="0">
                <a:solidFill>
                  <a:srgbClr val="58595B"/>
                </a:solidFill>
              </a:rPr>
              <a:t>Udviklingsprojekter for bl.a. </a:t>
            </a:r>
            <a:r>
              <a:rPr lang="da-DK" sz="1300" dirty="0" err="1">
                <a:solidFill>
                  <a:srgbClr val="58595B"/>
                </a:solidFill>
              </a:rPr>
              <a:t>Arb</a:t>
            </a:r>
            <a:r>
              <a:rPr lang="da-DK" sz="1300" dirty="0">
                <a:solidFill>
                  <a:srgbClr val="58595B"/>
                </a:solidFill>
              </a:rPr>
              <a:t>. Landsbank og PFA</a:t>
            </a: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684A6BE2-B1FD-48BE-BB25-076427DFA6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4613" y="403550"/>
            <a:ext cx="342899" cy="146519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da-DK" smtClean="0"/>
              <a:pPr>
                <a:spcAft>
                  <a:spcPts val="600"/>
                </a:spcAft>
              </a:pPr>
              <a:t>7</a:t>
            </a:fld>
            <a:endParaRPr lang="da-DK" dirty="0"/>
          </a:p>
        </p:txBody>
      </p:sp>
      <p:graphicFrame>
        <p:nvGraphicFramePr>
          <p:cNvPr id="36" name="Table 11">
            <a:extLst>
              <a:ext uri="{FF2B5EF4-FFF2-40B4-BE49-F238E27FC236}">
                <a16:creationId xmlns:a16="http://schemas.microsoft.com/office/drawing/2014/main" id="{1CBF5416-A14A-4A4E-8884-EAF0E45AE71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6675885"/>
              </p:ext>
            </p:extLst>
          </p:nvPr>
        </p:nvGraphicFramePr>
        <p:xfrm>
          <a:off x="6465002" y="4904990"/>
          <a:ext cx="5220578" cy="1531066"/>
        </p:xfrm>
        <a:graphic>
          <a:graphicData uri="http://schemas.openxmlformats.org/drawingml/2006/table">
            <a:tbl>
              <a:tblPr bandCol="1">
                <a:tableStyleId>{7DF18680-E054-41AD-8BC1-D1AEF772440D}</a:tableStyleId>
              </a:tblPr>
              <a:tblGrid>
                <a:gridCol w="3403862">
                  <a:extLst>
                    <a:ext uri="{9D8B030D-6E8A-4147-A177-3AD203B41FA5}">
                      <a16:colId xmlns:a16="http://schemas.microsoft.com/office/drawing/2014/main" val="2362714525"/>
                    </a:ext>
                  </a:extLst>
                </a:gridCol>
                <a:gridCol w="908358">
                  <a:extLst>
                    <a:ext uri="{9D8B030D-6E8A-4147-A177-3AD203B41FA5}">
                      <a16:colId xmlns:a16="http://schemas.microsoft.com/office/drawing/2014/main" val="3713261334"/>
                    </a:ext>
                  </a:extLst>
                </a:gridCol>
                <a:gridCol w="908358">
                  <a:extLst>
                    <a:ext uri="{9D8B030D-6E8A-4147-A177-3AD203B41FA5}">
                      <a16:colId xmlns:a16="http://schemas.microsoft.com/office/drawing/2014/main" val="651737527"/>
                    </a:ext>
                  </a:extLst>
                </a:gridCol>
              </a:tblGrid>
              <a:tr h="576238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eløb i mio. kr.</a:t>
                      </a:r>
                    </a:p>
                  </a:txBody>
                  <a:tcPr marL="76957" marR="0" marT="0" marB="0" anchor="ctr"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 H1-22</a:t>
                      </a:r>
                    </a:p>
                  </a:txBody>
                  <a:tcPr marL="76957" marR="76957" marT="0" marB="0" anchor="ctr"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 H1-21</a:t>
                      </a:r>
                    </a:p>
                  </a:txBody>
                  <a:tcPr marL="76957" marR="76957" marT="0" marB="0" anchor="ctr"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4823625"/>
                  </a:ext>
                </a:extLst>
              </a:tr>
              <a:tr h="318276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msætning</a:t>
                      </a:r>
                    </a:p>
                  </a:txBody>
                  <a:tcPr marL="76957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13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E7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39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8951967"/>
                  </a:ext>
                </a:extLst>
              </a:tr>
              <a:tr h="318276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riftsresultat før særlige poster</a:t>
                      </a:r>
                    </a:p>
                  </a:txBody>
                  <a:tcPr marL="76957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,1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E7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28,5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6065203"/>
                  </a:ext>
                </a:extLst>
              </a:tr>
              <a:tr h="318276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rdrebeholdning</a:t>
                      </a:r>
                    </a:p>
                  </a:txBody>
                  <a:tcPr marL="76957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34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E7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5333436"/>
                  </a:ext>
                </a:extLst>
              </a:tr>
            </a:tbl>
          </a:graphicData>
        </a:graphic>
      </p:graphicFrame>
      <p:cxnSp>
        <p:nvCxnSpPr>
          <p:cNvPr id="38" name="Lige forbindelse 37">
            <a:extLst>
              <a:ext uri="{FF2B5EF4-FFF2-40B4-BE49-F238E27FC236}">
                <a16:creationId xmlns:a16="http://schemas.microsoft.com/office/drawing/2014/main" id="{7A496586-3BCD-46E2-9A2F-017795831180}"/>
              </a:ext>
            </a:extLst>
          </p:cNvPr>
          <p:cNvCxnSpPr>
            <a:cxnSpLocks/>
          </p:cNvCxnSpPr>
          <p:nvPr/>
        </p:nvCxnSpPr>
        <p:spPr>
          <a:xfrm>
            <a:off x="6105525" y="2224212"/>
            <a:ext cx="0" cy="3652713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ktangel 26">
            <a:extLst>
              <a:ext uri="{FF2B5EF4-FFF2-40B4-BE49-F238E27FC236}">
                <a16:creationId xmlns:a16="http://schemas.microsoft.com/office/drawing/2014/main" id="{7FECCF7C-CD65-12AF-90EA-81F5DD9D2911}"/>
              </a:ext>
            </a:extLst>
          </p:cNvPr>
          <p:cNvSpPr/>
          <p:nvPr/>
        </p:nvSpPr>
        <p:spPr>
          <a:xfrm>
            <a:off x="4885000" y="3425225"/>
            <a:ext cx="1220525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tabLst>
                <a:tab pos="3141663" algn="r"/>
              </a:tabLst>
            </a:pPr>
            <a:r>
              <a:rPr lang="da-DK" b="1" dirty="0">
                <a:solidFill>
                  <a:schemeClr val="accent1"/>
                </a:solidFill>
              </a:rPr>
              <a:t>+34%</a:t>
            </a:r>
          </a:p>
          <a:p>
            <a:pPr algn="ctr">
              <a:tabLst>
                <a:tab pos="3141663" algn="r"/>
              </a:tabLst>
            </a:pPr>
            <a:r>
              <a:rPr lang="da-DK" sz="900" dirty="0">
                <a:solidFill>
                  <a:srgbClr val="58595B"/>
                </a:solidFill>
              </a:rPr>
              <a:t>Omsætningsvækst</a:t>
            </a:r>
            <a:endParaRPr lang="da-DK" dirty="0"/>
          </a:p>
        </p:txBody>
      </p:sp>
      <p:sp>
        <p:nvSpPr>
          <p:cNvPr id="29" name="Rektangel 28">
            <a:extLst>
              <a:ext uri="{FF2B5EF4-FFF2-40B4-BE49-F238E27FC236}">
                <a16:creationId xmlns:a16="http://schemas.microsoft.com/office/drawing/2014/main" id="{10AB5978-14C1-A89E-366B-8A85C017374F}"/>
              </a:ext>
            </a:extLst>
          </p:cNvPr>
          <p:cNvSpPr/>
          <p:nvPr/>
        </p:nvSpPr>
        <p:spPr>
          <a:xfrm>
            <a:off x="595946" y="2817207"/>
            <a:ext cx="4060942" cy="12238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4000" lvl="1" indent="-144000">
              <a:lnSpc>
                <a:spcPct val="115000"/>
              </a:lnSpc>
              <a:spcAft>
                <a:spcPts val="600"/>
              </a:spcAft>
              <a:buFont typeface="Verdana" panose="020B0604030504040204" pitchFamily="34" charset="0"/>
              <a:buChar char="·"/>
            </a:pPr>
            <a:r>
              <a:rPr lang="da-DK" sz="1300" dirty="0">
                <a:solidFill>
                  <a:srgbClr val="58595B"/>
                </a:solidFill>
              </a:rPr>
              <a:t>Solidt bidrag fra Raunstrup og </a:t>
            </a:r>
            <a:r>
              <a:rPr lang="da-DK" sz="1300" dirty="0" err="1">
                <a:solidFill>
                  <a:srgbClr val="58595B"/>
                </a:solidFill>
              </a:rPr>
              <a:t>NemByg</a:t>
            </a:r>
            <a:endParaRPr lang="da-DK" sz="1300" dirty="0">
              <a:solidFill>
                <a:srgbClr val="58595B"/>
              </a:solidFill>
            </a:endParaRPr>
          </a:p>
          <a:p>
            <a:pPr marL="144000" lvl="1" indent="-144000">
              <a:lnSpc>
                <a:spcPct val="115000"/>
              </a:lnSpc>
              <a:spcAft>
                <a:spcPts val="600"/>
              </a:spcAft>
              <a:buFont typeface="Verdana" panose="020B0604030504040204" pitchFamily="34" charset="0"/>
              <a:buChar char="·"/>
            </a:pPr>
            <a:r>
              <a:rPr lang="da-DK" sz="1300" dirty="0">
                <a:solidFill>
                  <a:srgbClr val="58595B"/>
                </a:solidFill>
              </a:rPr>
              <a:t>Projektudvikling, tidlig involvering og partnerskaber </a:t>
            </a:r>
          </a:p>
          <a:p>
            <a:pPr marL="144000" lvl="1" indent="-144000">
              <a:lnSpc>
                <a:spcPct val="115000"/>
              </a:lnSpc>
              <a:spcAft>
                <a:spcPts val="600"/>
              </a:spcAft>
              <a:buFont typeface="Verdana" panose="020B0604030504040204" pitchFamily="34" charset="0"/>
              <a:buChar char="·"/>
            </a:pPr>
            <a:r>
              <a:rPr lang="da-DK" sz="1300" dirty="0">
                <a:solidFill>
                  <a:srgbClr val="58595B"/>
                </a:solidFill>
              </a:rPr>
              <a:t>Store prisstigninger på materialer, brændstof mv.  </a:t>
            </a:r>
          </a:p>
          <a:p>
            <a:pPr marL="144000" lvl="1" indent="-144000">
              <a:lnSpc>
                <a:spcPct val="115000"/>
              </a:lnSpc>
              <a:spcAft>
                <a:spcPts val="600"/>
              </a:spcAft>
              <a:buFont typeface="Verdana" panose="020B0604030504040204" pitchFamily="34" charset="0"/>
              <a:buChar char="·"/>
            </a:pPr>
            <a:r>
              <a:rPr lang="da-DK" sz="1300" dirty="0">
                <a:solidFill>
                  <a:srgbClr val="58595B"/>
                </a:solidFill>
              </a:rPr>
              <a:t>Satsning på byggeservice i Raunstrup </a:t>
            </a:r>
          </a:p>
        </p:txBody>
      </p:sp>
      <p:graphicFrame>
        <p:nvGraphicFramePr>
          <p:cNvPr id="31" name="Table 11">
            <a:extLst>
              <a:ext uri="{FF2B5EF4-FFF2-40B4-BE49-F238E27FC236}">
                <a16:creationId xmlns:a16="http://schemas.microsoft.com/office/drawing/2014/main" id="{5294BA07-A1D7-FB24-9F7F-9D6118F30E8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01899566"/>
              </p:ext>
            </p:extLst>
          </p:nvPr>
        </p:nvGraphicFramePr>
        <p:xfrm>
          <a:off x="587388" y="4904990"/>
          <a:ext cx="5220579" cy="1543691"/>
        </p:xfrm>
        <a:graphic>
          <a:graphicData uri="http://schemas.openxmlformats.org/drawingml/2006/table">
            <a:tbl>
              <a:tblPr bandCol="1">
                <a:tableStyleId>{7DF18680-E054-41AD-8BC1-D1AEF772440D}</a:tableStyleId>
              </a:tblPr>
              <a:tblGrid>
                <a:gridCol w="3403865">
                  <a:extLst>
                    <a:ext uri="{9D8B030D-6E8A-4147-A177-3AD203B41FA5}">
                      <a16:colId xmlns:a16="http://schemas.microsoft.com/office/drawing/2014/main" val="2362714525"/>
                    </a:ext>
                  </a:extLst>
                </a:gridCol>
                <a:gridCol w="908357">
                  <a:extLst>
                    <a:ext uri="{9D8B030D-6E8A-4147-A177-3AD203B41FA5}">
                      <a16:colId xmlns:a16="http://schemas.microsoft.com/office/drawing/2014/main" val="3713261334"/>
                    </a:ext>
                  </a:extLst>
                </a:gridCol>
                <a:gridCol w="908357">
                  <a:extLst>
                    <a:ext uri="{9D8B030D-6E8A-4147-A177-3AD203B41FA5}">
                      <a16:colId xmlns:a16="http://schemas.microsoft.com/office/drawing/2014/main" val="651737527"/>
                    </a:ext>
                  </a:extLst>
                </a:gridCol>
              </a:tblGrid>
              <a:tr h="573821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eløb i mio. kr.</a:t>
                      </a:r>
                    </a:p>
                  </a:txBody>
                  <a:tcPr marL="76957" marR="0" marT="0" marB="0" anchor="ctr"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 H1-22</a:t>
                      </a:r>
                    </a:p>
                  </a:txBody>
                  <a:tcPr marL="76957" marR="76957" marT="0" marB="0" anchor="ctr"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 H1-21</a:t>
                      </a:r>
                    </a:p>
                  </a:txBody>
                  <a:tcPr marL="76957" marR="76957" marT="0" marB="0" anchor="ctr"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4823625"/>
                  </a:ext>
                </a:extLst>
              </a:tr>
              <a:tr h="32329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msætning</a:t>
                      </a:r>
                    </a:p>
                  </a:txBody>
                  <a:tcPr marL="76957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.733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E7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.289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8951967"/>
                  </a:ext>
                </a:extLst>
              </a:tr>
              <a:tr h="32329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riftsresultat før særlige poster</a:t>
                      </a:r>
                    </a:p>
                  </a:txBody>
                  <a:tcPr marL="76957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74,8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E7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2,8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6065203"/>
                  </a:ext>
                </a:extLst>
              </a:tr>
              <a:tr h="32329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rdrebeholdning</a:t>
                      </a:r>
                    </a:p>
                  </a:txBody>
                  <a:tcPr marL="76957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.075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E7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.812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210074"/>
                  </a:ext>
                </a:extLst>
              </a:tr>
            </a:tbl>
          </a:graphicData>
        </a:graphic>
      </p:graphicFrame>
      <p:sp>
        <p:nvSpPr>
          <p:cNvPr id="2" name="Rektangel 1">
            <a:extLst>
              <a:ext uri="{FF2B5EF4-FFF2-40B4-BE49-F238E27FC236}">
                <a16:creationId xmlns:a16="http://schemas.microsoft.com/office/drawing/2014/main" id="{C2CCACB1-D312-6BDA-9B8C-7D137D11F0D2}"/>
              </a:ext>
            </a:extLst>
          </p:cNvPr>
          <p:cNvSpPr/>
          <p:nvPr/>
        </p:nvSpPr>
        <p:spPr>
          <a:xfrm>
            <a:off x="4914501" y="4149080"/>
            <a:ext cx="1152395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tabLst>
                <a:tab pos="3141663" algn="r"/>
              </a:tabLst>
            </a:pPr>
            <a:r>
              <a:rPr lang="da-DK" b="1" dirty="0">
                <a:solidFill>
                  <a:schemeClr val="accent1"/>
                </a:solidFill>
              </a:rPr>
              <a:t>4,3%</a:t>
            </a:r>
            <a:br>
              <a:rPr lang="da-DK" b="1" dirty="0">
                <a:solidFill>
                  <a:schemeClr val="accent1"/>
                </a:solidFill>
              </a:rPr>
            </a:br>
            <a:r>
              <a:rPr lang="da-DK" sz="900" dirty="0">
                <a:solidFill>
                  <a:srgbClr val="58595B"/>
                </a:solidFill>
              </a:rPr>
              <a:t>Overskudsgrad</a:t>
            </a:r>
            <a:endParaRPr lang="da-DK" dirty="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440CF415-9E5A-05C0-3783-ECA5AD6EC103}"/>
              </a:ext>
            </a:extLst>
          </p:cNvPr>
          <p:cNvSpPr/>
          <p:nvPr/>
        </p:nvSpPr>
        <p:spPr>
          <a:xfrm>
            <a:off x="10512201" y="3425225"/>
            <a:ext cx="1220525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tabLst>
                <a:tab pos="3141663" algn="r"/>
              </a:tabLst>
            </a:pPr>
            <a:r>
              <a:rPr lang="da-DK" b="1" dirty="0">
                <a:solidFill>
                  <a:schemeClr val="accent1"/>
                </a:solidFill>
              </a:rPr>
              <a:t>+53%</a:t>
            </a:r>
          </a:p>
          <a:p>
            <a:pPr algn="ctr">
              <a:tabLst>
                <a:tab pos="3141663" algn="r"/>
              </a:tabLst>
            </a:pPr>
            <a:r>
              <a:rPr lang="da-DK" sz="900" dirty="0">
                <a:solidFill>
                  <a:srgbClr val="58595B"/>
                </a:solidFill>
              </a:rPr>
              <a:t>Omsætningsvækst</a:t>
            </a:r>
            <a:endParaRPr lang="da-DK" dirty="0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FA756000-5785-FA7D-F4C7-1E01DA067A71}"/>
              </a:ext>
            </a:extLst>
          </p:cNvPr>
          <p:cNvSpPr/>
          <p:nvPr/>
        </p:nvSpPr>
        <p:spPr>
          <a:xfrm>
            <a:off x="10541702" y="4149080"/>
            <a:ext cx="1152395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tabLst>
                <a:tab pos="3141663" algn="r"/>
              </a:tabLst>
            </a:pPr>
            <a:r>
              <a:rPr lang="da-DK" b="1" dirty="0">
                <a:solidFill>
                  <a:schemeClr val="accent1"/>
                </a:solidFill>
              </a:rPr>
              <a:t>0,5%</a:t>
            </a:r>
            <a:br>
              <a:rPr lang="da-DK" b="1" dirty="0">
                <a:solidFill>
                  <a:schemeClr val="accent1"/>
                </a:solidFill>
              </a:rPr>
            </a:br>
            <a:r>
              <a:rPr lang="da-DK" sz="900" dirty="0">
                <a:solidFill>
                  <a:srgbClr val="58595B"/>
                </a:solidFill>
              </a:rPr>
              <a:t>Overskudsgrad</a:t>
            </a:r>
            <a:endParaRPr lang="da-DK" dirty="0"/>
          </a:p>
        </p:txBody>
      </p:sp>
      <p:grpSp>
        <p:nvGrpSpPr>
          <p:cNvPr id="194" name="Gruppe 193">
            <a:extLst>
              <a:ext uri="{FF2B5EF4-FFF2-40B4-BE49-F238E27FC236}">
                <a16:creationId xmlns:a16="http://schemas.microsoft.com/office/drawing/2014/main" id="{06B5B4AC-EE63-67CA-1ED2-0C8E1E22CBF6}"/>
              </a:ext>
            </a:extLst>
          </p:cNvPr>
          <p:cNvGrpSpPr>
            <a:grpSpLocks noChangeAspect="1"/>
          </p:cNvGrpSpPr>
          <p:nvPr/>
        </p:nvGrpSpPr>
        <p:grpSpPr>
          <a:xfrm>
            <a:off x="677874" y="2160241"/>
            <a:ext cx="1267476" cy="478538"/>
            <a:chOff x="5514975" y="4845050"/>
            <a:chExt cx="1555751" cy="587375"/>
          </a:xfrm>
        </p:grpSpPr>
        <p:sp>
          <p:nvSpPr>
            <p:cNvPr id="195" name="Rectangle 116">
              <a:extLst>
                <a:ext uri="{FF2B5EF4-FFF2-40B4-BE49-F238E27FC236}">
                  <a16:creationId xmlns:a16="http://schemas.microsoft.com/office/drawing/2014/main" id="{3DD78466-3A41-3287-6DB5-06468E616C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38800" y="5257800"/>
              <a:ext cx="42863" cy="68262"/>
            </a:xfrm>
            <a:prstGeom prst="rect">
              <a:avLst/>
            </a:prstGeom>
            <a:solidFill>
              <a:srgbClr val="7479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6" name="Rectangle 117">
              <a:extLst>
                <a:ext uri="{FF2B5EF4-FFF2-40B4-BE49-F238E27FC236}">
                  <a16:creationId xmlns:a16="http://schemas.microsoft.com/office/drawing/2014/main" id="{A61B06DF-66D4-0013-CADE-DB1D7AE25F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61038" y="5257800"/>
              <a:ext cx="41275" cy="68262"/>
            </a:xfrm>
            <a:prstGeom prst="rect">
              <a:avLst/>
            </a:prstGeom>
            <a:solidFill>
              <a:srgbClr val="7479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7" name="Freeform 118">
              <a:extLst>
                <a:ext uri="{FF2B5EF4-FFF2-40B4-BE49-F238E27FC236}">
                  <a16:creationId xmlns:a16="http://schemas.microsoft.com/office/drawing/2014/main" id="{5B367DB6-F561-548E-EE4C-26FD66A209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14975" y="4845050"/>
              <a:ext cx="412750" cy="587375"/>
            </a:xfrm>
            <a:custGeom>
              <a:avLst/>
              <a:gdLst>
                <a:gd name="T0" fmla="*/ 130 w 260"/>
                <a:gd name="T1" fmla="*/ 0 h 370"/>
                <a:gd name="T2" fmla="*/ 0 w 260"/>
                <a:gd name="T3" fmla="*/ 106 h 370"/>
                <a:gd name="T4" fmla="*/ 0 w 260"/>
                <a:gd name="T5" fmla="*/ 238 h 370"/>
                <a:gd name="T6" fmla="*/ 0 w 260"/>
                <a:gd name="T7" fmla="*/ 370 h 370"/>
                <a:gd name="T8" fmla="*/ 130 w 260"/>
                <a:gd name="T9" fmla="*/ 370 h 370"/>
                <a:gd name="T10" fmla="*/ 260 w 260"/>
                <a:gd name="T11" fmla="*/ 370 h 370"/>
                <a:gd name="T12" fmla="*/ 260 w 260"/>
                <a:gd name="T13" fmla="*/ 238 h 370"/>
                <a:gd name="T14" fmla="*/ 260 w 260"/>
                <a:gd name="T15" fmla="*/ 106 h 370"/>
                <a:gd name="T16" fmla="*/ 130 w 260"/>
                <a:gd name="T17" fmla="*/ 0 h 370"/>
                <a:gd name="T18" fmla="*/ 26 w 260"/>
                <a:gd name="T19" fmla="*/ 122 h 370"/>
                <a:gd name="T20" fmla="*/ 116 w 260"/>
                <a:gd name="T21" fmla="*/ 50 h 370"/>
                <a:gd name="T22" fmla="*/ 116 w 260"/>
                <a:gd name="T23" fmla="*/ 137 h 370"/>
                <a:gd name="T24" fmla="*/ 26 w 260"/>
                <a:gd name="T25" fmla="*/ 209 h 370"/>
                <a:gd name="T26" fmla="*/ 26 w 260"/>
                <a:gd name="T27" fmla="*/ 122 h 370"/>
                <a:gd name="T28" fmla="*/ 233 w 260"/>
                <a:gd name="T29" fmla="*/ 344 h 370"/>
                <a:gd name="T30" fmla="*/ 130 w 260"/>
                <a:gd name="T31" fmla="*/ 344 h 370"/>
                <a:gd name="T32" fmla="*/ 26 w 260"/>
                <a:gd name="T33" fmla="*/ 344 h 370"/>
                <a:gd name="T34" fmla="*/ 26 w 260"/>
                <a:gd name="T35" fmla="*/ 242 h 370"/>
                <a:gd name="T36" fmla="*/ 130 w 260"/>
                <a:gd name="T37" fmla="*/ 161 h 370"/>
                <a:gd name="T38" fmla="*/ 233 w 260"/>
                <a:gd name="T39" fmla="*/ 242 h 370"/>
                <a:gd name="T40" fmla="*/ 233 w 260"/>
                <a:gd name="T41" fmla="*/ 344 h 370"/>
                <a:gd name="T42" fmla="*/ 233 w 260"/>
                <a:gd name="T43" fmla="*/ 209 h 370"/>
                <a:gd name="T44" fmla="*/ 143 w 260"/>
                <a:gd name="T45" fmla="*/ 136 h 370"/>
                <a:gd name="T46" fmla="*/ 143 w 260"/>
                <a:gd name="T47" fmla="*/ 49 h 370"/>
                <a:gd name="T48" fmla="*/ 233 w 260"/>
                <a:gd name="T49" fmla="*/ 123 h 370"/>
                <a:gd name="T50" fmla="*/ 233 w 260"/>
                <a:gd name="T51" fmla="*/ 209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60" h="370">
                  <a:moveTo>
                    <a:pt x="130" y="0"/>
                  </a:moveTo>
                  <a:lnTo>
                    <a:pt x="0" y="106"/>
                  </a:lnTo>
                  <a:lnTo>
                    <a:pt x="0" y="238"/>
                  </a:lnTo>
                  <a:lnTo>
                    <a:pt x="0" y="370"/>
                  </a:lnTo>
                  <a:lnTo>
                    <a:pt x="130" y="370"/>
                  </a:lnTo>
                  <a:lnTo>
                    <a:pt x="260" y="370"/>
                  </a:lnTo>
                  <a:lnTo>
                    <a:pt x="260" y="238"/>
                  </a:lnTo>
                  <a:lnTo>
                    <a:pt x="260" y="106"/>
                  </a:lnTo>
                  <a:lnTo>
                    <a:pt x="130" y="0"/>
                  </a:lnTo>
                  <a:close/>
                  <a:moveTo>
                    <a:pt x="26" y="122"/>
                  </a:moveTo>
                  <a:lnTo>
                    <a:pt x="116" y="50"/>
                  </a:lnTo>
                  <a:lnTo>
                    <a:pt x="116" y="137"/>
                  </a:lnTo>
                  <a:lnTo>
                    <a:pt x="26" y="209"/>
                  </a:lnTo>
                  <a:lnTo>
                    <a:pt x="26" y="122"/>
                  </a:lnTo>
                  <a:close/>
                  <a:moveTo>
                    <a:pt x="233" y="344"/>
                  </a:moveTo>
                  <a:lnTo>
                    <a:pt x="130" y="344"/>
                  </a:lnTo>
                  <a:lnTo>
                    <a:pt x="26" y="344"/>
                  </a:lnTo>
                  <a:lnTo>
                    <a:pt x="26" y="242"/>
                  </a:lnTo>
                  <a:lnTo>
                    <a:pt x="130" y="161"/>
                  </a:lnTo>
                  <a:lnTo>
                    <a:pt x="233" y="242"/>
                  </a:lnTo>
                  <a:lnTo>
                    <a:pt x="233" y="344"/>
                  </a:lnTo>
                  <a:close/>
                  <a:moveTo>
                    <a:pt x="233" y="209"/>
                  </a:moveTo>
                  <a:lnTo>
                    <a:pt x="143" y="136"/>
                  </a:lnTo>
                  <a:lnTo>
                    <a:pt x="143" y="49"/>
                  </a:lnTo>
                  <a:lnTo>
                    <a:pt x="233" y="123"/>
                  </a:lnTo>
                  <a:lnTo>
                    <a:pt x="233" y="209"/>
                  </a:lnTo>
                  <a:close/>
                </a:path>
              </a:pathLst>
            </a:custGeom>
            <a:solidFill>
              <a:srgbClr val="7479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8" name="Freeform 119">
              <a:extLst>
                <a:ext uri="{FF2B5EF4-FFF2-40B4-BE49-F238E27FC236}">
                  <a16:creationId xmlns:a16="http://schemas.microsoft.com/office/drawing/2014/main" id="{2A0FC7D1-6BFB-7539-17EC-C4F40CE2A8D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8688" y="5091113"/>
              <a:ext cx="93663" cy="123825"/>
            </a:xfrm>
            <a:custGeom>
              <a:avLst/>
              <a:gdLst>
                <a:gd name="T0" fmla="*/ 58 w 59"/>
                <a:gd name="T1" fmla="*/ 14 h 78"/>
                <a:gd name="T2" fmla="*/ 16 w 59"/>
                <a:gd name="T3" fmla="*/ 14 h 78"/>
                <a:gd name="T4" fmla="*/ 16 w 59"/>
                <a:gd name="T5" fmla="*/ 30 h 78"/>
                <a:gd name="T6" fmla="*/ 54 w 59"/>
                <a:gd name="T7" fmla="*/ 30 h 78"/>
                <a:gd name="T8" fmla="*/ 54 w 59"/>
                <a:gd name="T9" fmla="*/ 44 h 78"/>
                <a:gd name="T10" fmla="*/ 16 w 59"/>
                <a:gd name="T11" fmla="*/ 44 h 78"/>
                <a:gd name="T12" fmla="*/ 16 w 59"/>
                <a:gd name="T13" fmla="*/ 65 h 78"/>
                <a:gd name="T14" fmla="*/ 59 w 59"/>
                <a:gd name="T15" fmla="*/ 65 h 78"/>
                <a:gd name="T16" fmla="*/ 59 w 59"/>
                <a:gd name="T17" fmla="*/ 78 h 78"/>
                <a:gd name="T18" fmla="*/ 0 w 59"/>
                <a:gd name="T19" fmla="*/ 78 h 78"/>
                <a:gd name="T20" fmla="*/ 0 w 59"/>
                <a:gd name="T21" fmla="*/ 0 h 78"/>
                <a:gd name="T22" fmla="*/ 58 w 59"/>
                <a:gd name="T23" fmla="*/ 0 h 78"/>
                <a:gd name="T24" fmla="*/ 58 w 59"/>
                <a:gd name="T25" fmla="*/ 14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9" h="78">
                  <a:moveTo>
                    <a:pt x="58" y="14"/>
                  </a:moveTo>
                  <a:lnTo>
                    <a:pt x="16" y="14"/>
                  </a:lnTo>
                  <a:lnTo>
                    <a:pt x="16" y="30"/>
                  </a:lnTo>
                  <a:lnTo>
                    <a:pt x="54" y="30"/>
                  </a:lnTo>
                  <a:lnTo>
                    <a:pt x="54" y="44"/>
                  </a:lnTo>
                  <a:lnTo>
                    <a:pt x="16" y="44"/>
                  </a:lnTo>
                  <a:lnTo>
                    <a:pt x="16" y="65"/>
                  </a:lnTo>
                  <a:lnTo>
                    <a:pt x="59" y="65"/>
                  </a:lnTo>
                  <a:lnTo>
                    <a:pt x="59" y="78"/>
                  </a:lnTo>
                  <a:lnTo>
                    <a:pt x="0" y="78"/>
                  </a:lnTo>
                  <a:lnTo>
                    <a:pt x="0" y="0"/>
                  </a:lnTo>
                  <a:lnTo>
                    <a:pt x="58" y="0"/>
                  </a:lnTo>
                  <a:lnTo>
                    <a:pt x="58" y="14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9" name="Freeform 120">
              <a:extLst>
                <a:ext uri="{FF2B5EF4-FFF2-40B4-BE49-F238E27FC236}">
                  <a16:creationId xmlns:a16="http://schemas.microsoft.com/office/drawing/2014/main" id="{24F8754D-01C3-00A0-6AB0-6C46DEE6D1EA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2988" y="5121275"/>
              <a:ext cx="82550" cy="93662"/>
            </a:xfrm>
            <a:custGeom>
              <a:avLst/>
              <a:gdLst>
                <a:gd name="T0" fmla="*/ 244 w 244"/>
                <a:gd name="T1" fmla="*/ 277 h 277"/>
                <a:gd name="T2" fmla="*/ 173 w 244"/>
                <a:gd name="T3" fmla="*/ 277 h 277"/>
                <a:gd name="T4" fmla="*/ 173 w 244"/>
                <a:gd name="T5" fmla="*/ 113 h 277"/>
                <a:gd name="T6" fmla="*/ 127 w 244"/>
                <a:gd name="T7" fmla="*/ 60 h 277"/>
                <a:gd name="T8" fmla="*/ 71 w 244"/>
                <a:gd name="T9" fmla="*/ 122 h 277"/>
                <a:gd name="T10" fmla="*/ 71 w 244"/>
                <a:gd name="T11" fmla="*/ 277 h 277"/>
                <a:gd name="T12" fmla="*/ 0 w 244"/>
                <a:gd name="T13" fmla="*/ 277 h 277"/>
                <a:gd name="T14" fmla="*/ 0 w 244"/>
                <a:gd name="T15" fmla="*/ 7 h 277"/>
                <a:gd name="T16" fmla="*/ 68 w 244"/>
                <a:gd name="T17" fmla="*/ 7 h 277"/>
                <a:gd name="T18" fmla="*/ 68 w 244"/>
                <a:gd name="T19" fmla="*/ 46 h 277"/>
                <a:gd name="T20" fmla="*/ 69 w 244"/>
                <a:gd name="T21" fmla="*/ 46 h 277"/>
                <a:gd name="T22" fmla="*/ 150 w 244"/>
                <a:gd name="T23" fmla="*/ 0 h 277"/>
                <a:gd name="T24" fmla="*/ 244 w 244"/>
                <a:gd name="T25" fmla="*/ 90 h 277"/>
                <a:gd name="T26" fmla="*/ 244 w 244"/>
                <a:gd name="T27" fmla="*/ 27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4" h="277">
                  <a:moveTo>
                    <a:pt x="244" y="277"/>
                  </a:moveTo>
                  <a:cubicBezTo>
                    <a:pt x="173" y="277"/>
                    <a:pt x="173" y="277"/>
                    <a:pt x="173" y="277"/>
                  </a:cubicBezTo>
                  <a:cubicBezTo>
                    <a:pt x="173" y="113"/>
                    <a:pt x="173" y="113"/>
                    <a:pt x="173" y="113"/>
                  </a:cubicBezTo>
                  <a:cubicBezTo>
                    <a:pt x="173" y="93"/>
                    <a:pt x="172" y="60"/>
                    <a:pt x="127" y="60"/>
                  </a:cubicBezTo>
                  <a:cubicBezTo>
                    <a:pt x="95" y="60"/>
                    <a:pt x="71" y="81"/>
                    <a:pt x="71" y="122"/>
                  </a:cubicBezTo>
                  <a:cubicBezTo>
                    <a:pt x="71" y="277"/>
                    <a:pt x="71" y="277"/>
                    <a:pt x="71" y="277"/>
                  </a:cubicBezTo>
                  <a:cubicBezTo>
                    <a:pt x="0" y="277"/>
                    <a:pt x="0" y="277"/>
                    <a:pt x="0" y="27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68" y="7"/>
                    <a:pt x="68" y="7"/>
                    <a:pt x="68" y="7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9" y="46"/>
                    <a:pt x="69" y="46"/>
                    <a:pt x="69" y="46"/>
                  </a:cubicBezTo>
                  <a:cubicBezTo>
                    <a:pt x="78" y="30"/>
                    <a:pt x="99" y="0"/>
                    <a:pt x="150" y="0"/>
                  </a:cubicBezTo>
                  <a:cubicBezTo>
                    <a:pt x="203" y="0"/>
                    <a:pt x="244" y="31"/>
                    <a:pt x="244" y="90"/>
                  </a:cubicBezTo>
                  <a:lnTo>
                    <a:pt x="244" y="277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0" name="Freeform 121">
              <a:extLst>
                <a:ext uri="{FF2B5EF4-FFF2-40B4-BE49-F238E27FC236}">
                  <a16:creationId xmlns:a16="http://schemas.microsoft.com/office/drawing/2014/main" id="{EB09D5C0-0CA3-580D-7FD2-35F488D641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23000" y="5121275"/>
              <a:ext cx="87313" cy="96837"/>
            </a:xfrm>
            <a:custGeom>
              <a:avLst/>
              <a:gdLst>
                <a:gd name="T0" fmla="*/ 73 w 257"/>
                <a:gd name="T1" fmla="*/ 115 h 285"/>
                <a:gd name="T2" fmla="*/ 129 w 257"/>
                <a:gd name="T3" fmla="*/ 58 h 285"/>
                <a:gd name="T4" fmla="*/ 184 w 257"/>
                <a:gd name="T5" fmla="*/ 115 h 285"/>
                <a:gd name="T6" fmla="*/ 73 w 257"/>
                <a:gd name="T7" fmla="*/ 115 h 285"/>
                <a:gd name="T8" fmla="*/ 181 w 257"/>
                <a:gd name="T9" fmla="*/ 198 h 285"/>
                <a:gd name="T10" fmla="*/ 135 w 257"/>
                <a:gd name="T11" fmla="*/ 228 h 285"/>
                <a:gd name="T12" fmla="*/ 71 w 257"/>
                <a:gd name="T13" fmla="*/ 161 h 285"/>
                <a:gd name="T14" fmla="*/ 257 w 257"/>
                <a:gd name="T15" fmla="*/ 161 h 285"/>
                <a:gd name="T16" fmla="*/ 257 w 257"/>
                <a:gd name="T17" fmla="*/ 149 h 285"/>
                <a:gd name="T18" fmla="*/ 130 w 257"/>
                <a:gd name="T19" fmla="*/ 0 h 285"/>
                <a:gd name="T20" fmla="*/ 0 w 257"/>
                <a:gd name="T21" fmla="*/ 136 h 285"/>
                <a:gd name="T22" fmla="*/ 135 w 257"/>
                <a:gd name="T23" fmla="*/ 285 h 285"/>
                <a:gd name="T24" fmla="*/ 254 w 257"/>
                <a:gd name="T25" fmla="*/ 198 h 285"/>
                <a:gd name="T26" fmla="*/ 181 w 257"/>
                <a:gd name="T27" fmla="*/ 198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7" h="285">
                  <a:moveTo>
                    <a:pt x="73" y="115"/>
                  </a:moveTo>
                  <a:cubicBezTo>
                    <a:pt x="77" y="79"/>
                    <a:pt x="95" y="58"/>
                    <a:pt x="129" y="58"/>
                  </a:cubicBezTo>
                  <a:cubicBezTo>
                    <a:pt x="152" y="58"/>
                    <a:pt x="180" y="71"/>
                    <a:pt x="184" y="115"/>
                  </a:cubicBezTo>
                  <a:lnTo>
                    <a:pt x="73" y="115"/>
                  </a:lnTo>
                  <a:close/>
                  <a:moveTo>
                    <a:pt x="181" y="198"/>
                  </a:moveTo>
                  <a:cubicBezTo>
                    <a:pt x="175" y="217"/>
                    <a:pt x="155" y="228"/>
                    <a:pt x="135" y="228"/>
                  </a:cubicBezTo>
                  <a:cubicBezTo>
                    <a:pt x="77" y="228"/>
                    <a:pt x="73" y="182"/>
                    <a:pt x="71" y="161"/>
                  </a:cubicBezTo>
                  <a:cubicBezTo>
                    <a:pt x="257" y="161"/>
                    <a:pt x="257" y="161"/>
                    <a:pt x="257" y="161"/>
                  </a:cubicBezTo>
                  <a:cubicBezTo>
                    <a:pt x="257" y="149"/>
                    <a:pt x="257" y="149"/>
                    <a:pt x="257" y="149"/>
                  </a:cubicBezTo>
                  <a:cubicBezTo>
                    <a:pt x="257" y="25"/>
                    <a:pt x="183" y="0"/>
                    <a:pt x="130" y="0"/>
                  </a:cubicBezTo>
                  <a:cubicBezTo>
                    <a:pt x="11" y="0"/>
                    <a:pt x="0" y="104"/>
                    <a:pt x="0" y="136"/>
                  </a:cubicBezTo>
                  <a:cubicBezTo>
                    <a:pt x="0" y="248"/>
                    <a:pt x="59" y="285"/>
                    <a:pt x="135" y="285"/>
                  </a:cubicBezTo>
                  <a:cubicBezTo>
                    <a:pt x="181" y="285"/>
                    <a:pt x="235" y="263"/>
                    <a:pt x="254" y="198"/>
                  </a:cubicBezTo>
                  <a:lnTo>
                    <a:pt x="181" y="198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1" name="Freeform 122">
              <a:extLst>
                <a:ext uri="{FF2B5EF4-FFF2-40B4-BE49-F238E27FC236}">
                  <a16:creationId xmlns:a16="http://schemas.microsoft.com/office/drawing/2014/main" id="{BBF9CDFB-AA3B-2D70-BD70-02326BFF0C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7775" y="5121275"/>
              <a:ext cx="131763" cy="93662"/>
            </a:xfrm>
            <a:custGeom>
              <a:avLst/>
              <a:gdLst>
                <a:gd name="T0" fmla="*/ 388 w 388"/>
                <a:gd name="T1" fmla="*/ 277 h 277"/>
                <a:gd name="T2" fmla="*/ 316 w 388"/>
                <a:gd name="T3" fmla="*/ 277 h 277"/>
                <a:gd name="T4" fmla="*/ 316 w 388"/>
                <a:gd name="T5" fmla="*/ 113 h 277"/>
                <a:gd name="T6" fmla="*/ 278 w 388"/>
                <a:gd name="T7" fmla="*/ 60 h 277"/>
                <a:gd name="T8" fmla="*/ 229 w 388"/>
                <a:gd name="T9" fmla="*/ 115 h 277"/>
                <a:gd name="T10" fmla="*/ 229 w 388"/>
                <a:gd name="T11" fmla="*/ 277 h 277"/>
                <a:gd name="T12" fmla="*/ 158 w 388"/>
                <a:gd name="T13" fmla="*/ 277 h 277"/>
                <a:gd name="T14" fmla="*/ 158 w 388"/>
                <a:gd name="T15" fmla="*/ 115 h 277"/>
                <a:gd name="T16" fmla="*/ 115 w 388"/>
                <a:gd name="T17" fmla="*/ 60 h 277"/>
                <a:gd name="T18" fmla="*/ 71 w 388"/>
                <a:gd name="T19" fmla="*/ 113 h 277"/>
                <a:gd name="T20" fmla="*/ 71 w 388"/>
                <a:gd name="T21" fmla="*/ 277 h 277"/>
                <a:gd name="T22" fmla="*/ 0 w 388"/>
                <a:gd name="T23" fmla="*/ 277 h 277"/>
                <a:gd name="T24" fmla="*/ 0 w 388"/>
                <a:gd name="T25" fmla="*/ 7 h 277"/>
                <a:gd name="T26" fmla="*/ 68 w 388"/>
                <a:gd name="T27" fmla="*/ 7 h 277"/>
                <a:gd name="T28" fmla="*/ 68 w 388"/>
                <a:gd name="T29" fmla="*/ 46 h 277"/>
                <a:gd name="T30" fmla="*/ 69 w 388"/>
                <a:gd name="T31" fmla="*/ 46 h 277"/>
                <a:gd name="T32" fmla="*/ 146 w 388"/>
                <a:gd name="T33" fmla="*/ 0 h 277"/>
                <a:gd name="T34" fmla="*/ 221 w 388"/>
                <a:gd name="T35" fmla="*/ 43 h 277"/>
                <a:gd name="T36" fmla="*/ 294 w 388"/>
                <a:gd name="T37" fmla="*/ 0 h 277"/>
                <a:gd name="T38" fmla="*/ 388 w 388"/>
                <a:gd name="T39" fmla="*/ 90 h 277"/>
                <a:gd name="T40" fmla="*/ 388 w 388"/>
                <a:gd name="T41" fmla="*/ 27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8" h="277">
                  <a:moveTo>
                    <a:pt x="388" y="277"/>
                  </a:moveTo>
                  <a:cubicBezTo>
                    <a:pt x="316" y="277"/>
                    <a:pt x="316" y="277"/>
                    <a:pt x="316" y="277"/>
                  </a:cubicBezTo>
                  <a:cubicBezTo>
                    <a:pt x="316" y="113"/>
                    <a:pt x="316" y="113"/>
                    <a:pt x="316" y="113"/>
                  </a:cubicBezTo>
                  <a:cubicBezTo>
                    <a:pt x="316" y="73"/>
                    <a:pt x="299" y="60"/>
                    <a:pt x="278" y="60"/>
                  </a:cubicBezTo>
                  <a:cubicBezTo>
                    <a:pt x="242" y="60"/>
                    <a:pt x="229" y="83"/>
                    <a:pt x="229" y="115"/>
                  </a:cubicBezTo>
                  <a:cubicBezTo>
                    <a:pt x="229" y="277"/>
                    <a:pt x="229" y="277"/>
                    <a:pt x="229" y="277"/>
                  </a:cubicBezTo>
                  <a:cubicBezTo>
                    <a:pt x="158" y="277"/>
                    <a:pt x="158" y="277"/>
                    <a:pt x="158" y="277"/>
                  </a:cubicBezTo>
                  <a:cubicBezTo>
                    <a:pt x="158" y="115"/>
                    <a:pt x="158" y="115"/>
                    <a:pt x="158" y="115"/>
                  </a:cubicBezTo>
                  <a:cubicBezTo>
                    <a:pt x="158" y="92"/>
                    <a:pt x="158" y="60"/>
                    <a:pt x="115" y="60"/>
                  </a:cubicBezTo>
                  <a:cubicBezTo>
                    <a:pt x="82" y="60"/>
                    <a:pt x="71" y="83"/>
                    <a:pt x="71" y="113"/>
                  </a:cubicBezTo>
                  <a:cubicBezTo>
                    <a:pt x="71" y="277"/>
                    <a:pt x="71" y="277"/>
                    <a:pt x="71" y="277"/>
                  </a:cubicBezTo>
                  <a:cubicBezTo>
                    <a:pt x="0" y="277"/>
                    <a:pt x="0" y="277"/>
                    <a:pt x="0" y="27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68" y="7"/>
                    <a:pt x="68" y="7"/>
                    <a:pt x="68" y="7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9" y="46"/>
                    <a:pt x="69" y="46"/>
                    <a:pt x="69" y="46"/>
                  </a:cubicBezTo>
                  <a:cubicBezTo>
                    <a:pt x="78" y="29"/>
                    <a:pt x="98" y="0"/>
                    <a:pt x="146" y="0"/>
                  </a:cubicBezTo>
                  <a:cubicBezTo>
                    <a:pt x="185" y="0"/>
                    <a:pt x="203" y="14"/>
                    <a:pt x="221" y="43"/>
                  </a:cubicBezTo>
                  <a:cubicBezTo>
                    <a:pt x="230" y="30"/>
                    <a:pt x="250" y="0"/>
                    <a:pt x="294" y="0"/>
                  </a:cubicBezTo>
                  <a:cubicBezTo>
                    <a:pt x="346" y="0"/>
                    <a:pt x="388" y="31"/>
                    <a:pt x="388" y="90"/>
                  </a:cubicBezTo>
                  <a:lnTo>
                    <a:pt x="388" y="277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2" name="Freeform 123">
              <a:extLst>
                <a:ext uri="{FF2B5EF4-FFF2-40B4-BE49-F238E27FC236}">
                  <a16:creationId xmlns:a16="http://schemas.microsoft.com/office/drawing/2014/main" id="{8C229E02-455B-A763-2CFB-1091941EB1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77000" y="5121275"/>
              <a:ext cx="144463" cy="96837"/>
            </a:xfrm>
            <a:custGeom>
              <a:avLst/>
              <a:gdLst>
                <a:gd name="T0" fmla="*/ 170 w 422"/>
                <a:gd name="T1" fmla="*/ 182 h 286"/>
                <a:gd name="T2" fmla="*/ 111 w 422"/>
                <a:gd name="T3" fmla="*/ 234 h 286"/>
                <a:gd name="T4" fmla="*/ 71 w 422"/>
                <a:gd name="T5" fmla="*/ 202 h 286"/>
                <a:gd name="T6" fmla="*/ 117 w 422"/>
                <a:gd name="T7" fmla="*/ 163 h 286"/>
                <a:gd name="T8" fmla="*/ 170 w 422"/>
                <a:gd name="T9" fmla="*/ 148 h 286"/>
                <a:gd name="T10" fmla="*/ 170 w 422"/>
                <a:gd name="T11" fmla="*/ 182 h 286"/>
                <a:gd name="T12" fmla="*/ 345 w 422"/>
                <a:gd name="T13" fmla="*/ 198 h 286"/>
                <a:gd name="T14" fmla="*/ 300 w 422"/>
                <a:gd name="T15" fmla="*/ 228 h 286"/>
                <a:gd name="T16" fmla="*/ 236 w 422"/>
                <a:gd name="T17" fmla="*/ 161 h 286"/>
                <a:gd name="T18" fmla="*/ 422 w 422"/>
                <a:gd name="T19" fmla="*/ 161 h 286"/>
                <a:gd name="T20" fmla="*/ 422 w 422"/>
                <a:gd name="T21" fmla="*/ 149 h 286"/>
                <a:gd name="T22" fmla="*/ 295 w 422"/>
                <a:gd name="T23" fmla="*/ 0 h 286"/>
                <a:gd name="T24" fmla="*/ 215 w 422"/>
                <a:gd name="T25" fmla="*/ 30 h 286"/>
                <a:gd name="T26" fmla="*/ 132 w 422"/>
                <a:gd name="T27" fmla="*/ 0 h 286"/>
                <a:gd name="T28" fmla="*/ 10 w 422"/>
                <a:gd name="T29" fmla="*/ 95 h 286"/>
                <a:gd name="T30" fmla="*/ 79 w 422"/>
                <a:gd name="T31" fmla="*/ 95 h 286"/>
                <a:gd name="T32" fmla="*/ 122 w 422"/>
                <a:gd name="T33" fmla="*/ 57 h 286"/>
                <a:gd name="T34" fmla="*/ 172 w 422"/>
                <a:gd name="T35" fmla="*/ 87 h 286"/>
                <a:gd name="T36" fmla="*/ 135 w 422"/>
                <a:gd name="T37" fmla="*/ 113 h 286"/>
                <a:gd name="T38" fmla="*/ 69 w 422"/>
                <a:gd name="T39" fmla="*/ 124 h 286"/>
                <a:gd name="T40" fmla="*/ 0 w 422"/>
                <a:gd name="T41" fmla="*/ 202 h 286"/>
                <a:gd name="T42" fmla="*/ 96 w 422"/>
                <a:gd name="T43" fmla="*/ 285 h 286"/>
                <a:gd name="T44" fmla="*/ 198 w 422"/>
                <a:gd name="T45" fmla="*/ 241 h 286"/>
                <a:gd name="T46" fmla="*/ 300 w 422"/>
                <a:gd name="T47" fmla="*/ 285 h 286"/>
                <a:gd name="T48" fmla="*/ 419 w 422"/>
                <a:gd name="T49" fmla="*/ 198 h 286"/>
                <a:gd name="T50" fmla="*/ 345 w 422"/>
                <a:gd name="T51" fmla="*/ 198 h 286"/>
                <a:gd name="T52" fmla="*/ 238 w 422"/>
                <a:gd name="T53" fmla="*/ 115 h 286"/>
                <a:gd name="T54" fmla="*/ 294 w 422"/>
                <a:gd name="T55" fmla="*/ 58 h 286"/>
                <a:gd name="T56" fmla="*/ 349 w 422"/>
                <a:gd name="T57" fmla="*/ 115 h 286"/>
                <a:gd name="T58" fmla="*/ 238 w 422"/>
                <a:gd name="T59" fmla="*/ 115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22" h="286">
                  <a:moveTo>
                    <a:pt x="170" y="182"/>
                  </a:moveTo>
                  <a:cubicBezTo>
                    <a:pt x="170" y="211"/>
                    <a:pt x="139" y="234"/>
                    <a:pt x="111" y="234"/>
                  </a:cubicBezTo>
                  <a:cubicBezTo>
                    <a:pt x="87" y="234"/>
                    <a:pt x="71" y="223"/>
                    <a:pt x="71" y="202"/>
                  </a:cubicBezTo>
                  <a:cubicBezTo>
                    <a:pt x="71" y="172"/>
                    <a:pt x="89" y="167"/>
                    <a:pt x="117" y="163"/>
                  </a:cubicBezTo>
                  <a:cubicBezTo>
                    <a:pt x="156" y="157"/>
                    <a:pt x="164" y="153"/>
                    <a:pt x="170" y="148"/>
                  </a:cubicBezTo>
                  <a:lnTo>
                    <a:pt x="170" y="182"/>
                  </a:lnTo>
                  <a:close/>
                  <a:moveTo>
                    <a:pt x="345" y="198"/>
                  </a:moveTo>
                  <a:cubicBezTo>
                    <a:pt x="340" y="217"/>
                    <a:pt x="319" y="228"/>
                    <a:pt x="300" y="228"/>
                  </a:cubicBezTo>
                  <a:cubicBezTo>
                    <a:pt x="242" y="228"/>
                    <a:pt x="238" y="182"/>
                    <a:pt x="236" y="161"/>
                  </a:cubicBezTo>
                  <a:cubicBezTo>
                    <a:pt x="422" y="161"/>
                    <a:pt x="422" y="161"/>
                    <a:pt x="422" y="161"/>
                  </a:cubicBezTo>
                  <a:cubicBezTo>
                    <a:pt x="422" y="149"/>
                    <a:pt x="422" y="149"/>
                    <a:pt x="422" y="149"/>
                  </a:cubicBezTo>
                  <a:cubicBezTo>
                    <a:pt x="422" y="25"/>
                    <a:pt x="348" y="0"/>
                    <a:pt x="295" y="0"/>
                  </a:cubicBezTo>
                  <a:cubicBezTo>
                    <a:pt x="252" y="1"/>
                    <a:pt x="231" y="17"/>
                    <a:pt x="215" y="30"/>
                  </a:cubicBezTo>
                  <a:cubicBezTo>
                    <a:pt x="202" y="18"/>
                    <a:pt x="175" y="0"/>
                    <a:pt x="132" y="0"/>
                  </a:cubicBezTo>
                  <a:cubicBezTo>
                    <a:pt x="77" y="0"/>
                    <a:pt x="16" y="15"/>
                    <a:pt x="10" y="95"/>
                  </a:cubicBezTo>
                  <a:cubicBezTo>
                    <a:pt x="79" y="95"/>
                    <a:pt x="79" y="95"/>
                    <a:pt x="79" y="95"/>
                  </a:cubicBezTo>
                  <a:cubicBezTo>
                    <a:pt x="79" y="83"/>
                    <a:pt x="83" y="57"/>
                    <a:pt x="122" y="57"/>
                  </a:cubicBezTo>
                  <a:cubicBezTo>
                    <a:pt x="172" y="57"/>
                    <a:pt x="172" y="76"/>
                    <a:pt x="172" y="87"/>
                  </a:cubicBezTo>
                  <a:cubicBezTo>
                    <a:pt x="172" y="104"/>
                    <a:pt x="168" y="107"/>
                    <a:pt x="135" y="113"/>
                  </a:cubicBezTo>
                  <a:cubicBezTo>
                    <a:pt x="69" y="124"/>
                    <a:pt x="69" y="124"/>
                    <a:pt x="69" y="124"/>
                  </a:cubicBezTo>
                  <a:cubicBezTo>
                    <a:pt x="16" y="133"/>
                    <a:pt x="0" y="169"/>
                    <a:pt x="0" y="202"/>
                  </a:cubicBezTo>
                  <a:cubicBezTo>
                    <a:pt x="0" y="273"/>
                    <a:pt x="57" y="285"/>
                    <a:pt x="96" y="285"/>
                  </a:cubicBezTo>
                  <a:cubicBezTo>
                    <a:pt x="141" y="285"/>
                    <a:pt x="181" y="268"/>
                    <a:pt x="198" y="241"/>
                  </a:cubicBezTo>
                  <a:cubicBezTo>
                    <a:pt x="214" y="260"/>
                    <a:pt x="234" y="286"/>
                    <a:pt x="300" y="285"/>
                  </a:cubicBezTo>
                  <a:cubicBezTo>
                    <a:pt x="346" y="285"/>
                    <a:pt x="400" y="263"/>
                    <a:pt x="419" y="198"/>
                  </a:cubicBezTo>
                  <a:lnTo>
                    <a:pt x="345" y="198"/>
                  </a:lnTo>
                  <a:close/>
                  <a:moveTo>
                    <a:pt x="238" y="115"/>
                  </a:moveTo>
                  <a:cubicBezTo>
                    <a:pt x="242" y="79"/>
                    <a:pt x="260" y="58"/>
                    <a:pt x="294" y="58"/>
                  </a:cubicBezTo>
                  <a:cubicBezTo>
                    <a:pt x="316" y="58"/>
                    <a:pt x="344" y="71"/>
                    <a:pt x="349" y="115"/>
                  </a:cubicBezTo>
                  <a:lnTo>
                    <a:pt x="238" y="115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3" name="Freeform 124">
              <a:extLst>
                <a:ext uri="{FF2B5EF4-FFF2-40B4-BE49-F238E27FC236}">
                  <a16:creationId xmlns:a16="http://schemas.microsoft.com/office/drawing/2014/main" id="{6E31DD63-B379-E1AC-487D-5400E6CA2A2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7338" y="5121275"/>
              <a:ext cx="53975" cy="93662"/>
            </a:xfrm>
            <a:custGeom>
              <a:avLst/>
              <a:gdLst>
                <a:gd name="T0" fmla="*/ 0 w 158"/>
                <a:gd name="T1" fmla="*/ 7 h 277"/>
                <a:gd name="T2" fmla="*/ 69 w 158"/>
                <a:gd name="T3" fmla="*/ 7 h 277"/>
                <a:gd name="T4" fmla="*/ 69 w 158"/>
                <a:gd name="T5" fmla="*/ 54 h 277"/>
                <a:gd name="T6" fmla="*/ 70 w 158"/>
                <a:gd name="T7" fmla="*/ 54 h 277"/>
                <a:gd name="T8" fmla="*/ 144 w 158"/>
                <a:gd name="T9" fmla="*/ 0 h 277"/>
                <a:gd name="T10" fmla="*/ 158 w 158"/>
                <a:gd name="T11" fmla="*/ 1 h 277"/>
                <a:gd name="T12" fmla="*/ 158 w 158"/>
                <a:gd name="T13" fmla="*/ 73 h 277"/>
                <a:gd name="T14" fmla="*/ 137 w 158"/>
                <a:gd name="T15" fmla="*/ 72 h 277"/>
                <a:gd name="T16" fmla="*/ 72 w 158"/>
                <a:gd name="T17" fmla="*/ 136 h 277"/>
                <a:gd name="T18" fmla="*/ 72 w 158"/>
                <a:gd name="T19" fmla="*/ 277 h 277"/>
                <a:gd name="T20" fmla="*/ 0 w 158"/>
                <a:gd name="T21" fmla="*/ 277 h 277"/>
                <a:gd name="T22" fmla="*/ 0 w 158"/>
                <a:gd name="T23" fmla="*/ 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8" h="277">
                  <a:moveTo>
                    <a:pt x="0" y="7"/>
                  </a:moveTo>
                  <a:cubicBezTo>
                    <a:pt x="69" y="7"/>
                    <a:pt x="69" y="7"/>
                    <a:pt x="69" y="7"/>
                  </a:cubicBezTo>
                  <a:cubicBezTo>
                    <a:pt x="69" y="54"/>
                    <a:pt x="69" y="54"/>
                    <a:pt x="69" y="54"/>
                  </a:cubicBezTo>
                  <a:cubicBezTo>
                    <a:pt x="70" y="54"/>
                    <a:pt x="70" y="54"/>
                    <a:pt x="70" y="54"/>
                  </a:cubicBezTo>
                  <a:cubicBezTo>
                    <a:pt x="84" y="26"/>
                    <a:pt x="101" y="0"/>
                    <a:pt x="144" y="0"/>
                  </a:cubicBezTo>
                  <a:cubicBezTo>
                    <a:pt x="148" y="0"/>
                    <a:pt x="153" y="0"/>
                    <a:pt x="158" y="1"/>
                  </a:cubicBezTo>
                  <a:cubicBezTo>
                    <a:pt x="158" y="73"/>
                    <a:pt x="158" y="73"/>
                    <a:pt x="158" y="73"/>
                  </a:cubicBezTo>
                  <a:cubicBezTo>
                    <a:pt x="152" y="72"/>
                    <a:pt x="144" y="72"/>
                    <a:pt x="137" y="72"/>
                  </a:cubicBezTo>
                  <a:cubicBezTo>
                    <a:pt x="82" y="72"/>
                    <a:pt x="72" y="106"/>
                    <a:pt x="72" y="136"/>
                  </a:cubicBezTo>
                  <a:cubicBezTo>
                    <a:pt x="72" y="277"/>
                    <a:pt x="72" y="277"/>
                    <a:pt x="72" y="277"/>
                  </a:cubicBezTo>
                  <a:cubicBezTo>
                    <a:pt x="0" y="277"/>
                    <a:pt x="0" y="277"/>
                    <a:pt x="0" y="277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4" name="Freeform 125">
              <a:extLst>
                <a:ext uri="{FF2B5EF4-FFF2-40B4-BE49-F238E27FC236}">
                  <a16:creationId xmlns:a16="http://schemas.microsoft.com/office/drawing/2014/main" id="{59EB35D0-5319-6FE9-C74E-6A2A55ACD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7188" y="5091113"/>
              <a:ext cx="85725" cy="123825"/>
            </a:xfrm>
            <a:custGeom>
              <a:avLst/>
              <a:gdLst>
                <a:gd name="T0" fmla="*/ 16 w 54"/>
                <a:gd name="T1" fmla="*/ 78 h 78"/>
                <a:gd name="T2" fmla="*/ 0 w 54"/>
                <a:gd name="T3" fmla="*/ 78 h 78"/>
                <a:gd name="T4" fmla="*/ 0 w 54"/>
                <a:gd name="T5" fmla="*/ 0 h 78"/>
                <a:gd name="T6" fmla="*/ 16 w 54"/>
                <a:gd name="T7" fmla="*/ 0 h 78"/>
                <a:gd name="T8" fmla="*/ 16 w 54"/>
                <a:gd name="T9" fmla="*/ 42 h 78"/>
                <a:gd name="T10" fmla="*/ 35 w 54"/>
                <a:gd name="T11" fmla="*/ 20 h 78"/>
                <a:gd name="T12" fmla="*/ 54 w 54"/>
                <a:gd name="T13" fmla="*/ 20 h 78"/>
                <a:gd name="T14" fmla="*/ 33 w 54"/>
                <a:gd name="T15" fmla="*/ 43 h 78"/>
                <a:gd name="T16" fmla="*/ 54 w 54"/>
                <a:gd name="T17" fmla="*/ 78 h 78"/>
                <a:gd name="T18" fmla="*/ 36 w 54"/>
                <a:gd name="T19" fmla="*/ 78 h 78"/>
                <a:gd name="T20" fmla="*/ 22 w 54"/>
                <a:gd name="T21" fmla="*/ 53 h 78"/>
                <a:gd name="T22" fmla="*/ 16 w 54"/>
                <a:gd name="T23" fmla="*/ 60 h 78"/>
                <a:gd name="T24" fmla="*/ 16 w 5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4" h="78">
                  <a:moveTo>
                    <a:pt x="16" y="78"/>
                  </a:moveTo>
                  <a:lnTo>
                    <a:pt x="0" y="78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42"/>
                  </a:lnTo>
                  <a:lnTo>
                    <a:pt x="35" y="20"/>
                  </a:lnTo>
                  <a:lnTo>
                    <a:pt x="54" y="20"/>
                  </a:lnTo>
                  <a:lnTo>
                    <a:pt x="33" y="43"/>
                  </a:lnTo>
                  <a:lnTo>
                    <a:pt x="54" y="78"/>
                  </a:lnTo>
                  <a:lnTo>
                    <a:pt x="36" y="78"/>
                  </a:lnTo>
                  <a:lnTo>
                    <a:pt x="22" y="53"/>
                  </a:lnTo>
                  <a:lnTo>
                    <a:pt x="16" y="60"/>
                  </a:lnTo>
                  <a:lnTo>
                    <a:pt x="16" y="78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5" name="Freeform 126">
              <a:extLst>
                <a:ext uri="{FF2B5EF4-FFF2-40B4-BE49-F238E27FC236}">
                  <a16:creationId xmlns:a16="http://schemas.microsoft.com/office/drawing/2014/main" id="{D0AA17A7-9DB4-A867-D41D-A3C4BFBDAB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97675" y="5121275"/>
              <a:ext cx="87313" cy="96837"/>
            </a:xfrm>
            <a:custGeom>
              <a:avLst/>
              <a:gdLst>
                <a:gd name="T0" fmla="*/ 73 w 257"/>
                <a:gd name="T1" fmla="*/ 115 h 285"/>
                <a:gd name="T2" fmla="*/ 129 w 257"/>
                <a:gd name="T3" fmla="*/ 58 h 285"/>
                <a:gd name="T4" fmla="*/ 184 w 257"/>
                <a:gd name="T5" fmla="*/ 115 h 285"/>
                <a:gd name="T6" fmla="*/ 73 w 257"/>
                <a:gd name="T7" fmla="*/ 115 h 285"/>
                <a:gd name="T8" fmla="*/ 181 w 257"/>
                <a:gd name="T9" fmla="*/ 198 h 285"/>
                <a:gd name="T10" fmla="*/ 135 w 257"/>
                <a:gd name="T11" fmla="*/ 228 h 285"/>
                <a:gd name="T12" fmla="*/ 71 w 257"/>
                <a:gd name="T13" fmla="*/ 161 h 285"/>
                <a:gd name="T14" fmla="*/ 257 w 257"/>
                <a:gd name="T15" fmla="*/ 161 h 285"/>
                <a:gd name="T16" fmla="*/ 257 w 257"/>
                <a:gd name="T17" fmla="*/ 149 h 285"/>
                <a:gd name="T18" fmla="*/ 130 w 257"/>
                <a:gd name="T19" fmla="*/ 0 h 285"/>
                <a:gd name="T20" fmla="*/ 0 w 257"/>
                <a:gd name="T21" fmla="*/ 136 h 285"/>
                <a:gd name="T22" fmla="*/ 135 w 257"/>
                <a:gd name="T23" fmla="*/ 285 h 285"/>
                <a:gd name="T24" fmla="*/ 254 w 257"/>
                <a:gd name="T25" fmla="*/ 198 h 285"/>
                <a:gd name="T26" fmla="*/ 181 w 257"/>
                <a:gd name="T27" fmla="*/ 198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7" h="285">
                  <a:moveTo>
                    <a:pt x="73" y="115"/>
                  </a:moveTo>
                  <a:cubicBezTo>
                    <a:pt x="77" y="79"/>
                    <a:pt x="95" y="58"/>
                    <a:pt x="129" y="58"/>
                  </a:cubicBezTo>
                  <a:cubicBezTo>
                    <a:pt x="152" y="58"/>
                    <a:pt x="180" y="71"/>
                    <a:pt x="184" y="115"/>
                  </a:cubicBezTo>
                  <a:lnTo>
                    <a:pt x="73" y="115"/>
                  </a:lnTo>
                  <a:close/>
                  <a:moveTo>
                    <a:pt x="181" y="198"/>
                  </a:moveTo>
                  <a:cubicBezTo>
                    <a:pt x="175" y="217"/>
                    <a:pt x="155" y="228"/>
                    <a:pt x="135" y="228"/>
                  </a:cubicBezTo>
                  <a:cubicBezTo>
                    <a:pt x="77" y="228"/>
                    <a:pt x="73" y="182"/>
                    <a:pt x="71" y="161"/>
                  </a:cubicBezTo>
                  <a:cubicBezTo>
                    <a:pt x="257" y="161"/>
                    <a:pt x="257" y="161"/>
                    <a:pt x="257" y="161"/>
                  </a:cubicBezTo>
                  <a:cubicBezTo>
                    <a:pt x="257" y="149"/>
                    <a:pt x="257" y="149"/>
                    <a:pt x="257" y="149"/>
                  </a:cubicBezTo>
                  <a:cubicBezTo>
                    <a:pt x="257" y="25"/>
                    <a:pt x="183" y="0"/>
                    <a:pt x="130" y="0"/>
                  </a:cubicBezTo>
                  <a:cubicBezTo>
                    <a:pt x="11" y="0"/>
                    <a:pt x="0" y="104"/>
                    <a:pt x="0" y="136"/>
                  </a:cubicBezTo>
                  <a:cubicBezTo>
                    <a:pt x="0" y="248"/>
                    <a:pt x="59" y="285"/>
                    <a:pt x="135" y="285"/>
                  </a:cubicBezTo>
                  <a:cubicBezTo>
                    <a:pt x="181" y="285"/>
                    <a:pt x="235" y="263"/>
                    <a:pt x="254" y="198"/>
                  </a:cubicBezTo>
                  <a:lnTo>
                    <a:pt x="181" y="198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6" name="Freeform 127">
              <a:extLst>
                <a:ext uri="{FF2B5EF4-FFF2-40B4-BE49-F238E27FC236}">
                  <a16:creationId xmlns:a16="http://schemas.microsoft.com/office/drawing/2014/main" id="{DDF1CE07-03FA-947B-75BF-0F5207BF34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58013" y="5091113"/>
              <a:ext cx="112713" cy="127000"/>
            </a:xfrm>
            <a:custGeom>
              <a:avLst/>
              <a:gdLst>
                <a:gd name="T0" fmla="*/ 170 w 329"/>
                <a:gd name="T1" fmla="*/ 84 h 375"/>
                <a:gd name="T2" fmla="*/ 136 w 329"/>
                <a:gd name="T3" fmla="*/ 129 h 375"/>
                <a:gd name="T4" fmla="*/ 110 w 329"/>
                <a:gd name="T5" fmla="*/ 84 h 375"/>
                <a:gd name="T6" fmla="*/ 139 w 329"/>
                <a:gd name="T7" fmla="*/ 54 h 375"/>
                <a:gd name="T8" fmla="*/ 170 w 329"/>
                <a:gd name="T9" fmla="*/ 84 h 375"/>
                <a:gd name="T10" fmla="*/ 263 w 329"/>
                <a:gd name="T11" fmla="*/ 286 h 375"/>
                <a:gd name="T12" fmla="*/ 305 w 329"/>
                <a:gd name="T13" fmla="*/ 176 h 375"/>
                <a:gd name="T14" fmla="*/ 242 w 329"/>
                <a:gd name="T15" fmla="*/ 176 h 375"/>
                <a:gd name="T16" fmla="*/ 223 w 329"/>
                <a:gd name="T17" fmla="*/ 236 h 375"/>
                <a:gd name="T18" fmla="*/ 171 w 329"/>
                <a:gd name="T19" fmla="*/ 172 h 375"/>
                <a:gd name="T20" fmla="*/ 231 w 329"/>
                <a:gd name="T21" fmla="*/ 85 h 375"/>
                <a:gd name="T22" fmla="*/ 142 w 329"/>
                <a:gd name="T23" fmla="*/ 0 h 375"/>
                <a:gd name="T24" fmla="*/ 45 w 329"/>
                <a:gd name="T25" fmla="*/ 84 h 375"/>
                <a:gd name="T26" fmla="*/ 78 w 329"/>
                <a:gd name="T27" fmla="*/ 160 h 375"/>
                <a:gd name="T28" fmla="*/ 70 w 329"/>
                <a:gd name="T29" fmla="*/ 165 h 375"/>
                <a:gd name="T30" fmla="*/ 0 w 329"/>
                <a:gd name="T31" fmla="*/ 271 h 375"/>
                <a:gd name="T32" fmla="*/ 114 w 329"/>
                <a:gd name="T33" fmla="*/ 375 h 375"/>
                <a:gd name="T34" fmla="*/ 218 w 329"/>
                <a:gd name="T35" fmla="*/ 334 h 375"/>
                <a:gd name="T36" fmla="*/ 243 w 329"/>
                <a:gd name="T37" fmla="*/ 365 h 375"/>
                <a:gd name="T38" fmla="*/ 329 w 329"/>
                <a:gd name="T39" fmla="*/ 365 h 375"/>
                <a:gd name="T40" fmla="*/ 263 w 329"/>
                <a:gd name="T41" fmla="*/ 286 h 375"/>
                <a:gd name="T42" fmla="*/ 181 w 329"/>
                <a:gd name="T43" fmla="*/ 290 h 375"/>
                <a:gd name="T44" fmla="*/ 125 w 329"/>
                <a:gd name="T45" fmla="*/ 315 h 375"/>
                <a:gd name="T46" fmla="*/ 71 w 329"/>
                <a:gd name="T47" fmla="*/ 267 h 375"/>
                <a:gd name="T48" fmla="*/ 114 w 329"/>
                <a:gd name="T49" fmla="*/ 206 h 375"/>
                <a:gd name="T50" fmla="*/ 181 w 329"/>
                <a:gd name="T51" fmla="*/ 29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29" h="375">
                  <a:moveTo>
                    <a:pt x="170" y="84"/>
                  </a:moveTo>
                  <a:cubicBezTo>
                    <a:pt x="170" y="103"/>
                    <a:pt x="156" y="117"/>
                    <a:pt x="136" y="129"/>
                  </a:cubicBezTo>
                  <a:cubicBezTo>
                    <a:pt x="119" y="110"/>
                    <a:pt x="110" y="96"/>
                    <a:pt x="110" y="84"/>
                  </a:cubicBezTo>
                  <a:cubicBezTo>
                    <a:pt x="110" y="64"/>
                    <a:pt x="123" y="54"/>
                    <a:pt x="139" y="54"/>
                  </a:cubicBezTo>
                  <a:cubicBezTo>
                    <a:pt x="157" y="54"/>
                    <a:pt x="170" y="64"/>
                    <a:pt x="170" y="84"/>
                  </a:cubicBezTo>
                  <a:close/>
                  <a:moveTo>
                    <a:pt x="263" y="286"/>
                  </a:moveTo>
                  <a:cubicBezTo>
                    <a:pt x="287" y="253"/>
                    <a:pt x="300" y="225"/>
                    <a:pt x="305" y="176"/>
                  </a:cubicBezTo>
                  <a:cubicBezTo>
                    <a:pt x="242" y="176"/>
                    <a:pt x="242" y="176"/>
                    <a:pt x="242" y="176"/>
                  </a:cubicBezTo>
                  <a:cubicBezTo>
                    <a:pt x="239" y="204"/>
                    <a:pt x="232" y="221"/>
                    <a:pt x="223" y="236"/>
                  </a:cubicBezTo>
                  <a:cubicBezTo>
                    <a:pt x="171" y="172"/>
                    <a:pt x="171" y="172"/>
                    <a:pt x="171" y="172"/>
                  </a:cubicBezTo>
                  <a:cubicBezTo>
                    <a:pt x="186" y="163"/>
                    <a:pt x="231" y="136"/>
                    <a:pt x="231" y="85"/>
                  </a:cubicBezTo>
                  <a:cubicBezTo>
                    <a:pt x="231" y="26"/>
                    <a:pt x="182" y="0"/>
                    <a:pt x="142" y="0"/>
                  </a:cubicBezTo>
                  <a:cubicBezTo>
                    <a:pt x="85" y="0"/>
                    <a:pt x="45" y="34"/>
                    <a:pt x="45" y="84"/>
                  </a:cubicBezTo>
                  <a:cubicBezTo>
                    <a:pt x="45" y="116"/>
                    <a:pt x="62" y="143"/>
                    <a:pt x="78" y="160"/>
                  </a:cubicBezTo>
                  <a:cubicBezTo>
                    <a:pt x="70" y="165"/>
                    <a:pt x="70" y="165"/>
                    <a:pt x="70" y="165"/>
                  </a:cubicBezTo>
                  <a:cubicBezTo>
                    <a:pt x="9" y="202"/>
                    <a:pt x="0" y="236"/>
                    <a:pt x="0" y="271"/>
                  </a:cubicBezTo>
                  <a:cubicBezTo>
                    <a:pt x="0" y="326"/>
                    <a:pt x="44" y="375"/>
                    <a:pt x="114" y="375"/>
                  </a:cubicBezTo>
                  <a:cubicBezTo>
                    <a:pt x="169" y="375"/>
                    <a:pt x="197" y="356"/>
                    <a:pt x="218" y="334"/>
                  </a:cubicBezTo>
                  <a:cubicBezTo>
                    <a:pt x="243" y="365"/>
                    <a:pt x="243" y="365"/>
                    <a:pt x="243" y="365"/>
                  </a:cubicBezTo>
                  <a:cubicBezTo>
                    <a:pt x="329" y="365"/>
                    <a:pt x="329" y="365"/>
                    <a:pt x="329" y="365"/>
                  </a:cubicBezTo>
                  <a:lnTo>
                    <a:pt x="263" y="286"/>
                  </a:lnTo>
                  <a:close/>
                  <a:moveTo>
                    <a:pt x="181" y="290"/>
                  </a:moveTo>
                  <a:cubicBezTo>
                    <a:pt x="169" y="301"/>
                    <a:pt x="148" y="315"/>
                    <a:pt x="125" y="315"/>
                  </a:cubicBezTo>
                  <a:cubicBezTo>
                    <a:pt x="82" y="315"/>
                    <a:pt x="71" y="281"/>
                    <a:pt x="71" y="267"/>
                  </a:cubicBezTo>
                  <a:cubicBezTo>
                    <a:pt x="71" y="238"/>
                    <a:pt x="84" y="228"/>
                    <a:pt x="114" y="206"/>
                  </a:cubicBezTo>
                  <a:lnTo>
                    <a:pt x="181" y="290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7" name="Freeform 128">
              <a:extLst>
                <a:ext uri="{FF2B5EF4-FFF2-40B4-BE49-F238E27FC236}">
                  <a16:creationId xmlns:a16="http://schemas.microsoft.com/office/drawing/2014/main" id="{49D3E70C-2D68-1497-0897-DB57AD3988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08688" y="5300663"/>
              <a:ext cx="95250" cy="123825"/>
            </a:xfrm>
            <a:custGeom>
              <a:avLst/>
              <a:gdLst>
                <a:gd name="T0" fmla="*/ 76 w 281"/>
                <a:gd name="T1" fmla="*/ 171 h 366"/>
                <a:gd name="T2" fmla="*/ 76 w 281"/>
                <a:gd name="T3" fmla="*/ 63 h 366"/>
                <a:gd name="T4" fmla="*/ 137 w 281"/>
                <a:gd name="T5" fmla="*/ 63 h 366"/>
                <a:gd name="T6" fmla="*/ 204 w 281"/>
                <a:gd name="T7" fmla="*/ 114 h 366"/>
                <a:gd name="T8" fmla="*/ 147 w 281"/>
                <a:gd name="T9" fmla="*/ 171 h 366"/>
                <a:gd name="T10" fmla="*/ 76 w 281"/>
                <a:gd name="T11" fmla="*/ 171 h 366"/>
                <a:gd name="T12" fmla="*/ 76 w 281"/>
                <a:gd name="T13" fmla="*/ 234 h 366"/>
                <a:gd name="T14" fmla="*/ 164 w 281"/>
                <a:gd name="T15" fmla="*/ 234 h 366"/>
                <a:gd name="T16" fmla="*/ 281 w 281"/>
                <a:gd name="T17" fmla="*/ 117 h 366"/>
                <a:gd name="T18" fmla="*/ 167 w 281"/>
                <a:gd name="T19" fmla="*/ 0 h 366"/>
                <a:gd name="T20" fmla="*/ 0 w 281"/>
                <a:gd name="T21" fmla="*/ 0 h 366"/>
                <a:gd name="T22" fmla="*/ 0 w 281"/>
                <a:gd name="T23" fmla="*/ 366 h 366"/>
                <a:gd name="T24" fmla="*/ 76 w 281"/>
                <a:gd name="T25" fmla="*/ 366 h 366"/>
                <a:gd name="T26" fmla="*/ 76 w 281"/>
                <a:gd name="T27" fmla="*/ 234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1" h="366">
                  <a:moveTo>
                    <a:pt x="76" y="171"/>
                  </a:moveTo>
                  <a:cubicBezTo>
                    <a:pt x="76" y="63"/>
                    <a:pt x="76" y="63"/>
                    <a:pt x="76" y="63"/>
                  </a:cubicBezTo>
                  <a:cubicBezTo>
                    <a:pt x="137" y="63"/>
                    <a:pt x="137" y="63"/>
                    <a:pt x="137" y="63"/>
                  </a:cubicBezTo>
                  <a:cubicBezTo>
                    <a:pt x="184" y="63"/>
                    <a:pt x="204" y="78"/>
                    <a:pt x="204" y="114"/>
                  </a:cubicBezTo>
                  <a:cubicBezTo>
                    <a:pt x="204" y="130"/>
                    <a:pt x="204" y="171"/>
                    <a:pt x="147" y="171"/>
                  </a:cubicBezTo>
                  <a:lnTo>
                    <a:pt x="76" y="171"/>
                  </a:lnTo>
                  <a:close/>
                  <a:moveTo>
                    <a:pt x="76" y="234"/>
                  </a:moveTo>
                  <a:cubicBezTo>
                    <a:pt x="164" y="234"/>
                    <a:pt x="164" y="234"/>
                    <a:pt x="164" y="234"/>
                  </a:cubicBezTo>
                  <a:cubicBezTo>
                    <a:pt x="262" y="234"/>
                    <a:pt x="281" y="150"/>
                    <a:pt x="281" y="117"/>
                  </a:cubicBezTo>
                  <a:cubicBezTo>
                    <a:pt x="281" y="46"/>
                    <a:pt x="238" y="0"/>
                    <a:pt x="16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66"/>
                    <a:pt x="0" y="366"/>
                    <a:pt x="0" y="366"/>
                  </a:cubicBezTo>
                  <a:cubicBezTo>
                    <a:pt x="76" y="366"/>
                    <a:pt x="76" y="366"/>
                    <a:pt x="76" y="366"/>
                  </a:cubicBezTo>
                  <a:lnTo>
                    <a:pt x="76" y="234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8" name="Freeform 129">
              <a:extLst>
                <a:ext uri="{FF2B5EF4-FFF2-40B4-BE49-F238E27FC236}">
                  <a16:creationId xmlns:a16="http://schemas.microsoft.com/office/drawing/2014/main" id="{DC9A8164-F026-5076-3390-6F41FCCF3C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15050" y="5330825"/>
              <a:ext cx="87313" cy="96837"/>
            </a:xfrm>
            <a:custGeom>
              <a:avLst/>
              <a:gdLst>
                <a:gd name="T0" fmla="*/ 73 w 257"/>
                <a:gd name="T1" fmla="*/ 115 h 285"/>
                <a:gd name="T2" fmla="*/ 129 w 257"/>
                <a:gd name="T3" fmla="*/ 58 h 285"/>
                <a:gd name="T4" fmla="*/ 184 w 257"/>
                <a:gd name="T5" fmla="*/ 115 h 285"/>
                <a:gd name="T6" fmla="*/ 73 w 257"/>
                <a:gd name="T7" fmla="*/ 115 h 285"/>
                <a:gd name="T8" fmla="*/ 181 w 257"/>
                <a:gd name="T9" fmla="*/ 198 h 285"/>
                <a:gd name="T10" fmla="*/ 135 w 257"/>
                <a:gd name="T11" fmla="*/ 228 h 285"/>
                <a:gd name="T12" fmla="*/ 71 w 257"/>
                <a:gd name="T13" fmla="*/ 162 h 285"/>
                <a:gd name="T14" fmla="*/ 257 w 257"/>
                <a:gd name="T15" fmla="*/ 162 h 285"/>
                <a:gd name="T16" fmla="*/ 257 w 257"/>
                <a:gd name="T17" fmla="*/ 149 h 285"/>
                <a:gd name="T18" fmla="*/ 130 w 257"/>
                <a:gd name="T19" fmla="*/ 0 h 285"/>
                <a:gd name="T20" fmla="*/ 0 w 257"/>
                <a:gd name="T21" fmla="*/ 137 h 285"/>
                <a:gd name="T22" fmla="*/ 135 w 257"/>
                <a:gd name="T23" fmla="*/ 285 h 285"/>
                <a:gd name="T24" fmla="*/ 254 w 257"/>
                <a:gd name="T25" fmla="*/ 198 h 285"/>
                <a:gd name="T26" fmla="*/ 181 w 257"/>
                <a:gd name="T27" fmla="*/ 198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7" h="285">
                  <a:moveTo>
                    <a:pt x="73" y="115"/>
                  </a:moveTo>
                  <a:cubicBezTo>
                    <a:pt x="77" y="80"/>
                    <a:pt x="95" y="58"/>
                    <a:pt x="129" y="58"/>
                  </a:cubicBezTo>
                  <a:cubicBezTo>
                    <a:pt x="152" y="58"/>
                    <a:pt x="180" y="72"/>
                    <a:pt x="184" y="115"/>
                  </a:cubicBezTo>
                  <a:lnTo>
                    <a:pt x="73" y="115"/>
                  </a:lnTo>
                  <a:close/>
                  <a:moveTo>
                    <a:pt x="181" y="198"/>
                  </a:moveTo>
                  <a:cubicBezTo>
                    <a:pt x="175" y="218"/>
                    <a:pt x="155" y="228"/>
                    <a:pt x="135" y="228"/>
                  </a:cubicBezTo>
                  <a:cubicBezTo>
                    <a:pt x="77" y="228"/>
                    <a:pt x="73" y="182"/>
                    <a:pt x="71" y="162"/>
                  </a:cubicBezTo>
                  <a:cubicBezTo>
                    <a:pt x="257" y="162"/>
                    <a:pt x="257" y="162"/>
                    <a:pt x="257" y="162"/>
                  </a:cubicBezTo>
                  <a:cubicBezTo>
                    <a:pt x="257" y="149"/>
                    <a:pt x="257" y="149"/>
                    <a:pt x="257" y="149"/>
                  </a:cubicBezTo>
                  <a:cubicBezTo>
                    <a:pt x="257" y="25"/>
                    <a:pt x="183" y="0"/>
                    <a:pt x="130" y="0"/>
                  </a:cubicBezTo>
                  <a:cubicBezTo>
                    <a:pt x="11" y="0"/>
                    <a:pt x="0" y="104"/>
                    <a:pt x="0" y="137"/>
                  </a:cubicBezTo>
                  <a:cubicBezTo>
                    <a:pt x="0" y="248"/>
                    <a:pt x="59" y="285"/>
                    <a:pt x="135" y="285"/>
                  </a:cubicBezTo>
                  <a:cubicBezTo>
                    <a:pt x="181" y="285"/>
                    <a:pt x="235" y="263"/>
                    <a:pt x="254" y="198"/>
                  </a:cubicBezTo>
                  <a:lnTo>
                    <a:pt x="181" y="198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9" name="Freeform 130">
              <a:extLst>
                <a:ext uri="{FF2B5EF4-FFF2-40B4-BE49-F238E27FC236}">
                  <a16:creationId xmlns:a16="http://schemas.microsoft.com/office/drawing/2014/main" id="{5473C072-90AB-D4BF-4C83-718F5245623D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1888" y="5308600"/>
              <a:ext cx="52388" cy="117475"/>
            </a:xfrm>
            <a:custGeom>
              <a:avLst/>
              <a:gdLst>
                <a:gd name="T0" fmla="*/ 108 w 152"/>
                <a:gd name="T1" fmla="*/ 73 h 347"/>
                <a:gd name="T2" fmla="*/ 152 w 152"/>
                <a:gd name="T3" fmla="*/ 73 h 347"/>
                <a:gd name="T4" fmla="*/ 152 w 152"/>
                <a:gd name="T5" fmla="*/ 124 h 347"/>
                <a:gd name="T6" fmla="*/ 108 w 152"/>
                <a:gd name="T7" fmla="*/ 124 h 347"/>
                <a:gd name="T8" fmla="*/ 108 w 152"/>
                <a:gd name="T9" fmla="*/ 271 h 347"/>
                <a:gd name="T10" fmla="*/ 137 w 152"/>
                <a:gd name="T11" fmla="*/ 293 h 347"/>
                <a:gd name="T12" fmla="*/ 152 w 152"/>
                <a:gd name="T13" fmla="*/ 292 h 347"/>
                <a:gd name="T14" fmla="*/ 152 w 152"/>
                <a:gd name="T15" fmla="*/ 346 h 347"/>
                <a:gd name="T16" fmla="*/ 119 w 152"/>
                <a:gd name="T17" fmla="*/ 347 h 347"/>
                <a:gd name="T18" fmla="*/ 109 w 152"/>
                <a:gd name="T19" fmla="*/ 347 h 347"/>
                <a:gd name="T20" fmla="*/ 37 w 152"/>
                <a:gd name="T21" fmla="*/ 288 h 347"/>
                <a:gd name="T22" fmla="*/ 37 w 152"/>
                <a:gd name="T23" fmla="*/ 124 h 347"/>
                <a:gd name="T24" fmla="*/ 0 w 152"/>
                <a:gd name="T25" fmla="*/ 124 h 347"/>
                <a:gd name="T26" fmla="*/ 0 w 152"/>
                <a:gd name="T27" fmla="*/ 73 h 347"/>
                <a:gd name="T28" fmla="*/ 37 w 152"/>
                <a:gd name="T29" fmla="*/ 73 h 347"/>
                <a:gd name="T30" fmla="*/ 37 w 152"/>
                <a:gd name="T31" fmla="*/ 0 h 347"/>
                <a:gd name="T32" fmla="*/ 108 w 152"/>
                <a:gd name="T33" fmla="*/ 0 h 347"/>
                <a:gd name="T34" fmla="*/ 108 w 152"/>
                <a:gd name="T35" fmla="*/ 73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347">
                  <a:moveTo>
                    <a:pt x="108" y="73"/>
                  </a:moveTo>
                  <a:cubicBezTo>
                    <a:pt x="152" y="73"/>
                    <a:pt x="152" y="73"/>
                    <a:pt x="152" y="73"/>
                  </a:cubicBezTo>
                  <a:cubicBezTo>
                    <a:pt x="152" y="124"/>
                    <a:pt x="152" y="124"/>
                    <a:pt x="152" y="124"/>
                  </a:cubicBezTo>
                  <a:cubicBezTo>
                    <a:pt x="108" y="124"/>
                    <a:pt x="108" y="124"/>
                    <a:pt x="108" y="124"/>
                  </a:cubicBezTo>
                  <a:cubicBezTo>
                    <a:pt x="108" y="271"/>
                    <a:pt x="108" y="271"/>
                    <a:pt x="108" y="271"/>
                  </a:cubicBezTo>
                  <a:cubicBezTo>
                    <a:pt x="108" y="287"/>
                    <a:pt x="108" y="293"/>
                    <a:pt x="137" y="293"/>
                  </a:cubicBezTo>
                  <a:cubicBezTo>
                    <a:pt x="142" y="293"/>
                    <a:pt x="147" y="292"/>
                    <a:pt x="152" y="292"/>
                  </a:cubicBezTo>
                  <a:cubicBezTo>
                    <a:pt x="152" y="346"/>
                    <a:pt x="152" y="346"/>
                    <a:pt x="152" y="346"/>
                  </a:cubicBezTo>
                  <a:cubicBezTo>
                    <a:pt x="141" y="346"/>
                    <a:pt x="130" y="347"/>
                    <a:pt x="119" y="347"/>
                  </a:cubicBezTo>
                  <a:cubicBezTo>
                    <a:pt x="109" y="347"/>
                    <a:pt x="109" y="347"/>
                    <a:pt x="109" y="347"/>
                  </a:cubicBezTo>
                  <a:cubicBezTo>
                    <a:pt x="48" y="347"/>
                    <a:pt x="37" y="323"/>
                    <a:pt x="37" y="288"/>
                  </a:cubicBezTo>
                  <a:cubicBezTo>
                    <a:pt x="37" y="124"/>
                    <a:pt x="37" y="124"/>
                    <a:pt x="37" y="124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37" y="73"/>
                    <a:pt x="37" y="73"/>
                    <a:pt x="37" y="73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08" y="0"/>
                    <a:pt x="108" y="0"/>
                    <a:pt x="108" y="0"/>
                  </a:cubicBezTo>
                  <a:lnTo>
                    <a:pt x="108" y="73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0" name="Freeform 131">
              <a:extLst>
                <a:ext uri="{FF2B5EF4-FFF2-40B4-BE49-F238E27FC236}">
                  <a16:creationId xmlns:a16="http://schemas.microsoft.com/office/drawing/2014/main" id="{73594926-92AE-5CDE-4552-FCBA9D5335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73800" y="5330825"/>
              <a:ext cx="87313" cy="96837"/>
            </a:xfrm>
            <a:custGeom>
              <a:avLst/>
              <a:gdLst>
                <a:gd name="T0" fmla="*/ 73 w 257"/>
                <a:gd name="T1" fmla="*/ 115 h 285"/>
                <a:gd name="T2" fmla="*/ 129 w 257"/>
                <a:gd name="T3" fmla="*/ 58 h 285"/>
                <a:gd name="T4" fmla="*/ 184 w 257"/>
                <a:gd name="T5" fmla="*/ 115 h 285"/>
                <a:gd name="T6" fmla="*/ 73 w 257"/>
                <a:gd name="T7" fmla="*/ 115 h 285"/>
                <a:gd name="T8" fmla="*/ 181 w 257"/>
                <a:gd name="T9" fmla="*/ 198 h 285"/>
                <a:gd name="T10" fmla="*/ 135 w 257"/>
                <a:gd name="T11" fmla="*/ 228 h 285"/>
                <a:gd name="T12" fmla="*/ 71 w 257"/>
                <a:gd name="T13" fmla="*/ 162 h 285"/>
                <a:gd name="T14" fmla="*/ 257 w 257"/>
                <a:gd name="T15" fmla="*/ 162 h 285"/>
                <a:gd name="T16" fmla="*/ 257 w 257"/>
                <a:gd name="T17" fmla="*/ 149 h 285"/>
                <a:gd name="T18" fmla="*/ 130 w 257"/>
                <a:gd name="T19" fmla="*/ 0 h 285"/>
                <a:gd name="T20" fmla="*/ 0 w 257"/>
                <a:gd name="T21" fmla="*/ 137 h 285"/>
                <a:gd name="T22" fmla="*/ 135 w 257"/>
                <a:gd name="T23" fmla="*/ 285 h 285"/>
                <a:gd name="T24" fmla="*/ 254 w 257"/>
                <a:gd name="T25" fmla="*/ 198 h 285"/>
                <a:gd name="T26" fmla="*/ 181 w 257"/>
                <a:gd name="T27" fmla="*/ 198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7" h="285">
                  <a:moveTo>
                    <a:pt x="73" y="115"/>
                  </a:moveTo>
                  <a:cubicBezTo>
                    <a:pt x="78" y="80"/>
                    <a:pt x="95" y="58"/>
                    <a:pt x="129" y="58"/>
                  </a:cubicBezTo>
                  <a:cubicBezTo>
                    <a:pt x="152" y="58"/>
                    <a:pt x="180" y="72"/>
                    <a:pt x="184" y="115"/>
                  </a:cubicBezTo>
                  <a:lnTo>
                    <a:pt x="73" y="115"/>
                  </a:lnTo>
                  <a:close/>
                  <a:moveTo>
                    <a:pt x="181" y="198"/>
                  </a:moveTo>
                  <a:cubicBezTo>
                    <a:pt x="175" y="218"/>
                    <a:pt x="155" y="228"/>
                    <a:pt x="135" y="228"/>
                  </a:cubicBezTo>
                  <a:cubicBezTo>
                    <a:pt x="78" y="228"/>
                    <a:pt x="73" y="182"/>
                    <a:pt x="71" y="162"/>
                  </a:cubicBezTo>
                  <a:cubicBezTo>
                    <a:pt x="257" y="162"/>
                    <a:pt x="257" y="162"/>
                    <a:pt x="257" y="162"/>
                  </a:cubicBezTo>
                  <a:cubicBezTo>
                    <a:pt x="257" y="149"/>
                    <a:pt x="257" y="149"/>
                    <a:pt x="257" y="149"/>
                  </a:cubicBezTo>
                  <a:cubicBezTo>
                    <a:pt x="257" y="25"/>
                    <a:pt x="183" y="0"/>
                    <a:pt x="130" y="0"/>
                  </a:cubicBezTo>
                  <a:cubicBezTo>
                    <a:pt x="11" y="0"/>
                    <a:pt x="0" y="104"/>
                    <a:pt x="0" y="137"/>
                  </a:cubicBezTo>
                  <a:cubicBezTo>
                    <a:pt x="0" y="248"/>
                    <a:pt x="59" y="285"/>
                    <a:pt x="135" y="285"/>
                  </a:cubicBezTo>
                  <a:cubicBezTo>
                    <a:pt x="181" y="285"/>
                    <a:pt x="235" y="263"/>
                    <a:pt x="254" y="198"/>
                  </a:cubicBezTo>
                  <a:lnTo>
                    <a:pt x="181" y="198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1" name="Freeform 132">
              <a:extLst>
                <a:ext uri="{FF2B5EF4-FFF2-40B4-BE49-F238E27FC236}">
                  <a16:creationId xmlns:a16="http://schemas.microsoft.com/office/drawing/2014/main" id="{69FB5155-294C-886F-0078-383C51E7E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8575" y="5330825"/>
              <a:ext cx="53975" cy="93662"/>
            </a:xfrm>
            <a:custGeom>
              <a:avLst/>
              <a:gdLst>
                <a:gd name="T0" fmla="*/ 0 w 157"/>
                <a:gd name="T1" fmla="*/ 7 h 278"/>
                <a:gd name="T2" fmla="*/ 68 w 157"/>
                <a:gd name="T3" fmla="*/ 7 h 278"/>
                <a:gd name="T4" fmla="*/ 68 w 157"/>
                <a:gd name="T5" fmla="*/ 54 h 278"/>
                <a:gd name="T6" fmla="*/ 69 w 157"/>
                <a:gd name="T7" fmla="*/ 54 h 278"/>
                <a:gd name="T8" fmla="*/ 143 w 157"/>
                <a:gd name="T9" fmla="*/ 0 h 278"/>
                <a:gd name="T10" fmla="*/ 157 w 157"/>
                <a:gd name="T11" fmla="*/ 1 h 278"/>
                <a:gd name="T12" fmla="*/ 157 w 157"/>
                <a:gd name="T13" fmla="*/ 73 h 278"/>
                <a:gd name="T14" fmla="*/ 136 w 157"/>
                <a:gd name="T15" fmla="*/ 72 h 278"/>
                <a:gd name="T16" fmla="*/ 71 w 157"/>
                <a:gd name="T17" fmla="*/ 137 h 278"/>
                <a:gd name="T18" fmla="*/ 71 w 157"/>
                <a:gd name="T19" fmla="*/ 278 h 278"/>
                <a:gd name="T20" fmla="*/ 0 w 157"/>
                <a:gd name="T21" fmla="*/ 278 h 278"/>
                <a:gd name="T22" fmla="*/ 0 w 157"/>
                <a:gd name="T23" fmla="*/ 7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7" h="278">
                  <a:moveTo>
                    <a:pt x="0" y="7"/>
                  </a:moveTo>
                  <a:cubicBezTo>
                    <a:pt x="68" y="7"/>
                    <a:pt x="68" y="7"/>
                    <a:pt x="68" y="7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9" y="54"/>
                    <a:pt x="69" y="54"/>
                    <a:pt x="69" y="54"/>
                  </a:cubicBezTo>
                  <a:cubicBezTo>
                    <a:pt x="84" y="26"/>
                    <a:pt x="100" y="0"/>
                    <a:pt x="143" y="0"/>
                  </a:cubicBezTo>
                  <a:cubicBezTo>
                    <a:pt x="148" y="0"/>
                    <a:pt x="152" y="0"/>
                    <a:pt x="157" y="1"/>
                  </a:cubicBezTo>
                  <a:cubicBezTo>
                    <a:pt x="157" y="73"/>
                    <a:pt x="157" y="73"/>
                    <a:pt x="157" y="73"/>
                  </a:cubicBezTo>
                  <a:cubicBezTo>
                    <a:pt x="151" y="72"/>
                    <a:pt x="143" y="72"/>
                    <a:pt x="136" y="72"/>
                  </a:cubicBezTo>
                  <a:cubicBezTo>
                    <a:pt x="81" y="72"/>
                    <a:pt x="71" y="107"/>
                    <a:pt x="71" y="137"/>
                  </a:cubicBezTo>
                  <a:cubicBezTo>
                    <a:pt x="71" y="278"/>
                    <a:pt x="71" y="278"/>
                    <a:pt x="71" y="278"/>
                  </a:cubicBezTo>
                  <a:cubicBezTo>
                    <a:pt x="0" y="278"/>
                    <a:pt x="0" y="278"/>
                    <a:pt x="0" y="278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2" name="Freeform 133">
              <a:extLst>
                <a:ext uri="{FF2B5EF4-FFF2-40B4-BE49-F238E27FC236}">
                  <a16:creationId xmlns:a16="http://schemas.microsoft.com/office/drawing/2014/main" id="{778AEB21-50C7-18E1-223C-2E729962860A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0488" y="5330825"/>
              <a:ext cx="84138" cy="96837"/>
            </a:xfrm>
            <a:custGeom>
              <a:avLst/>
              <a:gdLst>
                <a:gd name="T0" fmla="*/ 171 w 249"/>
                <a:gd name="T1" fmla="*/ 89 h 285"/>
                <a:gd name="T2" fmla="*/ 123 w 249"/>
                <a:gd name="T3" fmla="*/ 54 h 285"/>
                <a:gd name="T4" fmla="*/ 80 w 249"/>
                <a:gd name="T5" fmla="*/ 80 h 285"/>
                <a:gd name="T6" fmla="*/ 249 w 249"/>
                <a:gd name="T7" fmla="*/ 192 h 285"/>
                <a:gd name="T8" fmla="*/ 131 w 249"/>
                <a:gd name="T9" fmla="*/ 285 h 285"/>
                <a:gd name="T10" fmla="*/ 0 w 249"/>
                <a:gd name="T11" fmla="*/ 191 h 285"/>
                <a:gd name="T12" fmla="*/ 74 w 249"/>
                <a:gd name="T13" fmla="*/ 191 h 285"/>
                <a:gd name="T14" fmla="*/ 133 w 249"/>
                <a:gd name="T15" fmla="*/ 231 h 285"/>
                <a:gd name="T16" fmla="*/ 178 w 249"/>
                <a:gd name="T17" fmla="*/ 203 h 285"/>
                <a:gd name="T18" fmla="*/ 10 w 249"/>
                <a:gd name="T19" fmla="*/ 90 h 285"/>
                <a:gd name="T20" fmla="*/ 119 w 249"/>
                <a:gd name="T21" fmla="*/ 0 h 285"/>
                <a:gd name="T22" fmla="*/ 241 w 249"/>
                <a:gd name="T23" fmla="*/ 89 h 285"/>
                <a:gd name="T24" fmla="*/ 171 w 249"/>
                <a:gd name="T25" fmla="*/ 89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9" h="285">
                  <a:moveTo>
                    <a:pt x="171" y="89"/>
                  </a:moveTo>
                  <a:cubicBezTo>
                    <a:pt x="168" y="72"/>
                    <a:pt x="162" y="54"/>
                    <a:pt x="123" y="54"/>
                  </a:cubicBezTo>
                  <a:cubicBezTo>
                    <a:pt x="85" y="54"/>
                    <a:pt x="80" y="69"/>
                    <a:pt x="80" y="80"/>
                  </a:cubicBezTo>
                  <a:cubicBezTo>
                    <a:pt x="80" y="123"/>
                    <a:pt x="249" y="92"/>
                    <a:pt x="249" y="192"/>
                  </a:cubicBezTo>
                  <a:cubicBezTo>
                    <a:pt x="249" y="271"/>
                    <a:pt x="173" y="285"/>
                    <a:pt x="131" y="285"/>
                  </a:cubicBezTo>
                  <a:cubicBezTo>
                    <a:pt x="69" y="285"/>
                    <a:pt x="2" y="263"/>
                    <a:pt x="0" y="191"/>
                  </a:cubicBezTo>
                  <a:cubicBezTo>
                    <a:pt x="74" y="191"/>
                    <a:pt x="74" y="191"/>
                    <a:pt x="74" y="191"/>
                  </a:cubicBezTo>
                  <a:cubicBezTo>
                    <a:pt x="74" y="214"/>
                    <a:pt x="88" y="231"/>
                    <a:pt x="133" y="231"/>
                  </a:cubicBezTo>
                  <a:cubicBezTo>
                    <a:pt x="169" y="231"/>
                    <a:pt x="178" y="213"/>
                    <a:pt x="178" y="203"/>
                  </a:cubicBezTo>
                  <a:cubicBezTo>
                    <a:pt x="178" y="158"/>
                    <a:pt x="10" y="192"/>
                    <a:pt x="10" y="90"/>
                  </a:cubicBezTo>
                  <a:cubicBezTo>
                    <a:pt x="10" y="51"/>
                    <a:pt x="35" y="0"/>
                    <a:pt x="119" y="0"/>
                  </a:cubicBezTo>
                  <a:cubicBezTo>
                    <a:pt x="172" y="0"/>
                    <a:pt x="235" y="13"/>
                    <a:pt x="241" y="89"/>
                  </a:cubicBezTo>
                  <a:lnTo>
                    <a:pt x="171" y="89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3" name="Freeform 134">
              <a:extLst>
                <a:ext uri="{FF2B5EF4-FFF2-40B4-BE49-F238E27FC236}">
                  <a16:creationId xmlns:a16="http://schemas.microsoft.com/office/drawing/2014/main" id="{0179888A-683F-8808-B609-8DC63AD231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35738" y="5330825"/>
              <a:ext cx="87313" cy="96837"/>
            </a:xfrm>
            <a:custGeom>
              <a:avLst/>
              <a:gdLst>
                <a:gd name="T0" fmla="*/ 73 w 257"/>
                <a:gd name="T1" fmla="*/ 115 h 285"/>
                <a:gd name="T2" fmla="*/ 129 w 257"/>
                <a:gd name="T3" fmla="*/ 58 h 285"/>
                <a:gd name="T4" fmla="*/ 184 w 257"/>
                <a:gd name="T5" fmla="*/ 115 h 285"/>
                <a:gd name="T6" fmla="*/ 73 w 257"/>
                <a:gd name="T7" fmla="*/ 115 h 285"/>
                <a:gd name="T8" fmla="*/ 181 w 257"/>
                <a:gd name="T9" fmla="*/ 198 h 285"/>
                <a:gd name="T10" fmla="*/ 135 w 257"/>
                <a:gd name="T11" fmla="*/ 228 h 285"/>
                <a:gd name="T12" fmla="*/ 71 w 257"/>
                <a:gd name="T13" fmla="*/ 162 h 285"/>
                <a:gd name="T14" fmla="*/ 257 w 257"/>
                <a:gd name="T15" fmla="*/ 162 h 285"/>
                <a:gd name="T16" fmla="*/ 257 w 257"/>
                <a:gd name="T17" fmla="*/ 149 h 285"/>
                <a:gd name="T18" fmla="*/ 130 w 257"/>
                <a:gd name="T19" fmla="*/ 0 h 285"/>
                <a:gd name="T20" fmla="*/ 0 w 257"/>
                <a:gd name="T21" fmla="*/ 137 h 285"/>
                <a:gd name="T22" fmla="*/ 135 w 257"/>
                <a:gd name="T23" fmla="*/ 285 h 285"/>
                <a:gd name="T24" fmla="*/ 254 w 257"/>
                <a:gd name="T25" fmla="*/ 198 h 285"/>
                <a:gd name="T26" fmla="*/ 181 w 257"/>
                <a:gd name="T27" fmla="*/ 198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57" h="285">
                  <a:moveTo>
                    <a:pt x="73" y="115"/>
                  </a:moveTo>
                  <a:cubicBezTo>
                    <a:pt x="78" y="80"/>
                    <a:pt x="95" y="58"/>
                    <a:pt x="129" y="58"/>
                  </a:cubicBezTo>
                  <a:cubicBezTo>
                    <a:pt x="152" y="58"/>
                    <a:pt x="180" y="72"/>
                    <a:pt x="184" y="115"/>
                  </a:cubicBezTo>
                  <a:lnTo>
                    <a:pt x="73" y="115"/>
                  </a:lnTo>
                  <a:close/>
                  <a:moveTo>
                    <a:pt x="181" y="198"/>
                  </a:moveTo>
                  <a:cubicBezTo>
                    <a:pt x="175" y="218"/>
                    <a:pt x="155" y="228"/>
                    <a:pt x="135" y="228"/>
                  </a:cubicBezTo>
                  <a:cubicBezTo>
                    <a:pt x="78" y="228"/>
                    <a:pt x="73" y="182"/>
                    <a:pt x="71" y="162"/>
                  </a:cubicBezTo>
                  <a:cubicBezTo>
                    <a:pt x="257" y="162"/>
                    <a:pt x="257" y="162"/>
                    <a:pt x="257" y="162"/>
                  </a:cubicBezTo>
                  <a:cubicBezTo>
                    <a:pt x="257" y="149"/>
                    <a:pt x="257" y="149"/>
                    <a:pt x="257" y="149"/>
                  </a:cubicBezTo>
                  <a:cubicBezTo>
                    <a:pt x="257" y="25"/>
                    <a:pt x="183" y="0"/>
                    <a:pt x="130" y="0"/>
                  </a:cubicBezTo>
                  <a:cubicBezTo>
                    <a:pt x="11" y="0"/>
                    <a:pt x="0" y="104"/>
                    <a:pt x="0" y="137"/>
                  </a:cubicBezTo>
                  <a:cubicBezTo>
                    <a:pt x="0" y="248"/>
                    <a:pt x="59" y="285"/>
                    <a:pt x="135" y="285"/>
                  </a:cubicBezTo>
                  <a:cubicBezTo>
                    <a:pt x="181" y="285"/>
                    <a:pt x="235" y="263"/>
                    <a:pt x="254" y="198"/>
                  </a:cubicBezTo>
                  <a:lnTo>
                    <a:pt x="181" y="198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4" name="Freeform 135">
              <a:extLst>
                <a:ext uri="{FF2B5EF4-FFF2-40B4-BE49-F238E27FC236}">
                  <a16:creationId xmlns:a16="http://schemas.microsoft.com/office/drawing/2014/main" id="{3E942C9B-FB2E-7D0B-A264-54210B2E8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7338" y="5330825"/>
              <a:ext cx="84138" cy="93662"/>
            </a:xfrm>
            <a:custGeom>
              <a:avLst/>
              <a:gdLst>
                <a:gd name="T0" fmla="*/ 245 w 245"/>
                <a:gd name="T1" fmla="*/ 278 h 278"/>
                <a:gd name="T2" fmla="*/ 174 w 245"/>
                <a:gd name="T3" fmla="*/ 278 h 278"/>
                <a:gd name="T4" fmla="*/ 174 w 245"/>
                <a:gd name="T5" fmla="*/ 113 h 278"/>
                <a:gd name="T6" fmla="*/ 128 w 245"/>
                <a:gd name="T7" fmla="*/ 60 h 278"/>
                <a:gd name="T8" fmla="*/ 72 w 245"/>
                <a:gd name="T9" fmla="*/ 122 h 278"/>
                <a:gd name="T10" fmla="*/ 72 w 245"/>
                <a:gd name="T11" fmla="*/ 278 h 278"/>
                <a:gd name="T12" fmla="*/ 0 w 245"/>
                <a:gd name="T13" fmla="*/ 278 h 278"/>
                <a:gd name="T14" fmla="*/ 0 w 245"/>
                <a:gd name="T15" fmla="*/ 7 h 278"/>
                <a:gd name="T16" fmla="*/ 69 w 245"/>
                <a:gd name="T17" fmla="*/ 7 h 278"/>
                <a:gd name="T18" fmla="*/ 69 w 245"/>
                <a:gd name="T19" fmla="*/ 47 h 278"/>
                <a:gd name="T20" fmla="*/ 70 w 245"/>
                <a:gd name="T21" fmla="*/ 47 h 278"/>
                <a:gd name="T22" fmla="*/ 151 w 245"/>
                <a:gd name="T23" fmla="*/ 0 h 278"/>
                <a:gd name="T24" fmla="*/ 245 w 245"/>
                <a:gd name="T25" fmla="*/ 90 h 278"/>
                <a:gd name="T26" fmla="*/ 245 w 245"/>
                <a:gd name="T27" fmla="*/ 278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5" h="278">
                  <a:moveTo>
                    <a:pt x="245" y="278"/>
                  </a:moveTo>
                  <a:cubicBezTo>
                    <a:pt x="174" y="278"/>
                    <a:pt x="174" y="278"/>
                    <a:pt x="174" y="278"/>
                  </a:cubicBezTo>
                  <a:cubicBezTo>
                    <a:pt x="174" y="113"/>
                    <a:pt x="174" y="113"/>
                    <a:pt x="174" y="113"/>
                  </a:cubicBezTo>
                  <a:cubicBezTo>
                    <a:pt x="174" y="93"/>
                    <a:pt x="173" y="60"/>
                    <a:pt x="128" y="60"/>
                  </a:cubicBezTo>
                  <a:cubicBezTo>
                    <a:pt x="96" y="60"/>
                    <a:pt x="72" y="81"/>
                    <a:pt x="72" y="122"/>
                  </a:cubicBezTo>
                  <a:cubicBezTo>
                    <a:pt x="72" y="278"/>
                    <a:pt x="72" y="278"/>
                    <a:pt x="72" y="278"/>
                  </a:cubicBezTo>
                  <a:cubicBezTo>
                    <a:pt x="0" y="278"/>
                    <a:pt x="0" y="278"/>
                    <a:pt x="0" y="278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69" y="7"/>
                    <a:pt x="69" y="7"/>
                    <a:pt x="69" y="7"/>
                  </a:cubicBezTo>
                  <a:cubicBezTo>
                    <a:pt x="69" y="47"/>
                    <a:pt x="69" y="47"/>
                    <a:pt x="69" y="47"/>
                  </a:cubicBezTo>
                  <a:cubicBezTo>
                    <a:pt x="70" y="47"/>
                    <a:pt x="70" y="47"/>
                    <a:pt x="70" y="47"/>
                  </a:cubicBezTo>
                  <a:cubicBezTo>
                    <a:pt x="79" y="30"/>
                    <a:pt x="100" y="0"/>
                    <a:pt x="151" y="0"/>
                  </a:cubicBezTo>
                  <a:cubicBezTo>
                    <a:pt x="204" y="0"/>
                    <a:pt x="245" y="31"/>
                    <a:pt x="245" y="90"/>
                  </a:cubicBezTo>
                  <a:lnTo>
                    <a:pt x="245" y="278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5" name="Freeform 136">
              <a:extLst>
                <a:ext uri="{FF2B5EF4-FFF2-40B4-BE49-F238E27FC236}">
                  <a16:creationId xmlns:a16="http://schemas.microsoft.com/office/drawing/2014/main" id="{F1599910-17D1-2150-4074-CB39E37A18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97675" y="5330825"/>
              <a:ext cx="85725" cy="96837"/>
            </a:xfrm>
            <a:custGeom>
              <a:avLst/>
              <a:gdLst>
                <a:gd name="T0" fmla="*/ 167 w 253"/>
                <a:gd name="T1" fmla="*/ 181 h 285"/>
                <a:gd name="T2" fmla="*/ 104 w 253"/>
                <a:gd name="T3" fmla="*/ 234 h 285"/>
                <a:gd name="T4" fmla="*/ 71 w 253"/>
                <a:gd name="T5" fmla="*/ 201 h 285"/>
                <a:gd name="T6" fmla="*/ 119 w 253"/>
                <a:gd name="T7" fmla="*/ 161 h 285"/>
                <a:gd name="T8" fmla="*/ 167 w 253"/>
                <a:gd name="T9" fmla="*/ 146 h 285"/>
                <a:gd name="T10" fmla="*/ 167 w 253"/>
                <a:gd name="T11" fmla="*/ 181 h 285"/>
                <a:gd name="T12" fmla="*/ 237 w 253"/>
                <a:gd name="T13" fmla="*/ 78 h 285"/>
                <a:gd name="T14" fmla="*/ 129 w 253"/>
                <a:gd name="T15" fmla="*/ 0 h 285"/>
                <a:gd name="T16" fmla="*/ 8 w 253"/>
                <a:gd name="T17" fmla="*/ 95 h 285"/>
                <a:gd name="T18" fmla="*/ 77 w 253"/>
                <a:gd name="T19" fmla="*/ 95 h 285"/>
                <a:gd name="T20" fmla="*/ 121 w 253"/>
                <a:gd name="T21" fmla="*/ 57 h 285"/>
                <a:gd name="T22" fmla="*/ 167 w 253"/>
                <a:gd name="T23" fmla="*/ 88 h 285"/>
                <a:gd name="T24" fmla="*/ 142 w 253"/>
                <a:gd name="T25" fmla="*/ 110 h 285"/>
                <a:gd name="T26" fmla="*/ 78 w 253"/>
                <a:gd name="T27" fmla="*/ 119 h 285"/>
                <a:gd name="T28" fmla="*/ 0 w 253"/>
                <a:gd name="T29" fmla="*/ 206 h 285"/>
                <a:gd name="T30" fmla="*/ 82 w 253"/>
                <a:gd name="T31" fmla="*/ 285 h 285"/>
                <a:gd name="T32" fmla="*/ 169 w 253"/>
                <a:gd name="T33" fmla="*/ 246 h 285"/>
                <a:gd name="T34" fmla="*/ 176 w 253"/>
                <a:gd name="T35" fmla="*/ 278 h 285"/>
                <a:gd name="T36" fmla="*/ 253 w 253"/>
                <a:gd name="T37" fmla="*/ 278 h 285"/>
                <a:gd name="T38" fmla="*/ 253 w 253"/>
                <a:gd name="T39" fmla="*/ 267 h 285"/>
                <a:gd name="T40" fmla="*/ 237 w 253"/>
                <a:gd name="T41" fmla="*/ 225 h 285"/>
                <a:gd name="T42" fmla="*/ 237 w 253"/>
                <a:gd name="T43" fmla="*/ 78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53" h="285">
                  <a:moveTo>
                    <a:pt x="167" y="181"/>
                  </a:moveTo>
                  <a:cubicBezTo>
                    <a:pt x="167" y="214"/>
                    <a:pt x="135" y="234"/>
                    <a:pt x="104" y="234"/>
                  </a:cubicBezTo>
                  <a:cubicBezTo>
                    <a:pt x="90" y="234"/>
                    <a:pt x="71" y="226"/>
                    <a:pt x="71" y="201"/>
                  </a:cubicBezTo>
                  <a:cubicBezTo>
                    <a:pt x="71" y="172"/>
                    <a:pt x="93" y="165"/>
                    <a:pt x="119" y="161"/>
                  </a:cubicBezTo>
                  <a:cubicBezTo>
                    <a:pt x="149" y="156"/>
                    <a:pt x="160" y="152"/>
                    <a:pt x="167" y="146"/>
                  </a:cubicBezTo>
                  <a:lnTo>
                    <a:pt x="167" y="181"/>
                  </a:lnTo>
                  <a:close/>
                  <a:moveTo>
                    <a:pt x="237" y="78"/>
                  </a:moveTo>
                  <a:cubicBezTo>
                    <a:pt x="237" y="12"/>
                    <a:pt x="167" y="0"/>
                    <a:pt x="129" y="0"/>
                  </a:cubicBezTo>
                  <a:cubicBezTo>
                    <a:pt x="74" y="0"/>
                    <a:pt x="16" y="12"/>
                    <a:pt x="8" y="95"/>
                  </a:cubicBezTo>
                  <a:cubicBezTo>
                    <a:pt x="77" y="95"/>
                    <a:pt x="77" y="95"/>
                    <a:pt x="77" y="95"/>
                  </a:cubicBezTo>
                  <a:cubicBezTo>
                    <a:pt x="79" y="79"/>
                    <a:pt x="85" y="57"/>
                    <a:pt x="121" y="57"/>
                  </a:cubicBezTo>
                  <a:cubicBezTo>
                    <a:pt x="139" y="57"/>
                    <a:pt x="167" y="58"/>
                    <a:pt x="167" y="88"/>
                  </a:cubicBezTo>
                  <a:cubicBezTo>
                    <a:pt x="167" y="104"/>
                    <a:pt x="154" y="108"/>
                    <a:pt x="142" y="110"/>
                  </a:cubicBezTo>
                  <a:cubicBezTo>
                    <a:pt x="78" y="119"/>
                    <a:pt x="78" y="119"/>
                    <a:pt x="78" y="119"/>
                  </a:cubicBezTo>
                  <a:cubicBezTo>
                    <a:pt x="33" y="126"/>
                    <a:pt x="0" y="153"/>
                    <a:pt x="0" y="206"/>
                  </a:cubicBezTo>
                  <a:cubicBezTo>
                    <a:pt x="0" y="262"/>
                    <a:pt x="41" y="285"/>
                    <a:pt x="82" y="285"/>
                  </a:cubicBezTo>
                  <a:cubicBezTo>
                    <a:pt x="130" y="285"/>
                    <a:pt x="153" y="262"/>
                    <a:pt x="169" y="246"/>
                  </a:cubicBezTo>
                  <a:cubicBezTo>
                    <a:pt x="171" y="261"/>
                    <a:pt x="172" y="265"/>
                    <a:pt x="176" y="278"/>
                  </a:cubicBezTo>
                  <a:cubicBezTo>
                    <a:pt x="253" y="278"/>
                    <a:pt x="253" y="278"/>
                    <a:pt x="253" y="278"/>
                  </a:cubicBezTo>
                  <a:cubicBezTo>
                    <a:pt x="253" y="267"/>
                    <a:pt x="253" y="267"/>
                    <a:pt x="253" y="267"/>
                  </a:cubicBezTo>
                  <a:cubicBezTo>
                    <a:pt x="244" y="264"/>
                    <a:pt x="237" y="257"/>
                    <a:pt x="237" y="225"/>
                  </a:cubicBezTo>
                  <a:lnTo>
                    <a:pt x="237" y="78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6" name="Freeform 137">
              <a:extLst>
                <a:ext uri="{FF2B5EF4-FFF2-40B4-BE49-F238E27FC236}">
                  <a16:creationId xmlns:a16="http://schemas.microsoft.com/office/drawing/2014/main" id="{4A7228B1-70AD-A6F8-FB99-6A189AEEB72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6575" y="5297488"/>
              <a:ext cx="58738" cy="130175"/>
            </a:xfrm>
            <a:custGeom>
              <a:avLst/>
              <a:gdLst>
                <a:gd name="T0" fmla="*/ 12 w 37"/>
                <a:gd name="T1" fmla="*/ 82 h 82"/>
                <a:gd name="T2" fmla="*/ 0 w 37"/>
                <a:gd name="T3" fmla="*/ 82 h 82"/>
                <a:gd name="T4" fmla="*/ 24 w 37"/>
                <a:gd name="T5" fmla="*/ 0 h 82"/>
                <a:gd name="T6" fmla="*/ 37 w 37"/>
                <a:gd name="T7" fmla="*/ 0 h 82"/>
                <a:gd name="T8" fmla="*/ 12 w 37"/>
                <a:gd name="T9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82">
                  <a:moveTo>
                    <a:pt x="12" y="82"/>
                  </a:moveTo>
                  <a:lnTo>
                    <a:pt x="0" y="82"/>
                  </a:lnTo>
                  <a:lnTo>
                    <a:pt x="24" y="0"/>
                  </a:lnTo>
                  <a:lnTo>
                    <a:pt x="37" y="0"/>
                  </a:lnTo>
                  <a:lnTo>
                    <a:pt x="12" y="82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7" name="Freeform 138">
              <a:extLst>
                <a:ext uri="{FF2B5EF4-FFF2-40B4-BE49-F238E27FC236}">
                  <a16:creationId xmlns:a16="http://schemas.microsoft.com/office/drawing/2014/main" id="{3DC3804F-4380-FF48-4AB9-19981C24AF2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43725" y="5330825"/>
              <a:ext cx="84138" cy="96837"/>
            </a:xfrm>
            <a:custGeom>
              <a:avLst/>
              <a:gdLst>
                <a:gd name="T0" fmla="*/ 171 w 249"/>
                <a:gd name="T1" fmla="*/ 89 h 285"/>
                <a:gd name="T2" fmla="*/ 123 w 249"/>
                <a:gd name="T3" fmla="*/ 54 h 285"/>
                <a:gd name="T4" fmla="*/ 79 w 249"/>
                <a:gd name="T5" fmla="*/ 80 h 285"/>
                <a:gd name="T6" fmla="*/ 249 w 249"/>
                <a:gd name="T7" fmla="*/ 192 h 285"/>
                <a:gd name="T8" fmla="*/ 130 w 249"/>
                <a:gd name="T9" fmla="*/ 285 h 285"/>
                <a:gd name="T10" fmla="*/ 0 w 249"/>
                <a:gd name="T11" fmla="*/ 191 h 285"/>
                <a:gd name="T12" fmla="*/ 73 w 249"/>
                <a:gd name="T13" fmla="*/ 191 h 285"/>
                <a:gd name="T14" fmla="*/ 132 w 249"/>
                <a:gd name="T15" fmla="*/ 231 h 285"/>
                <a:gd name="T16" fmla="*/ 178 w 249"/>
                <a:gd name="T17" fmla="*/ 203 h 285"/>
                <a:gd name="T18" fmla="*/ 10 w 249"/>
                <a:gd name="T19" fmla="*/ 90 h 285"/>
                <a:gd name="T20" fmla="*/ 119 w 249"/>
                <a:gd name="T21" fmla="*/ 0 h 285"/>
                <a:gd name="T22" fmla="*/ 241 w 249"/>
                <a:gd name="T23" fmla="*/ 89 h 285"/>
                <a:gd name="T24" fmla="*/ 171 w 249"/>
                <a:gd name="T25" fmla="*/ 89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9" h="285">
                  <a:moveTo>
                    <a:pt x="171" y="89"/>
                  </a:moveTo>
                  <a:cubicBezTo>
                    <a:pt x="168" y="72"/>
                    <a:pt x="162" y="54"/>
                    <a:pt x="123" y="54"/>
                  </a:cubicBezTo>
                  <a:cubicBezTo>
                    <a:pt x="84" y="54"/>
                    <a:pt x="79" y="69"/>
                    <a:pt x="79" y="80"/>
                  </a:cubicBezTo>
                  <a:cubicBezTo>
                    <a:pt x="79" y="123"/>
                    <a:pt x="249" y="92"/>
                    <a:pt x="249" y="192"/>
                  </a:cubicBezTo>
                  <a:cubicBezTo>
                    <a:pt x="249" y="271"/>
                    <a:pt x="172" y="285"/>
                    <a:pt x="130" y="285"/>
                  </a:cubicBezTo>
                  <a:cubicBezTo>
                    <a:pt x="69" y="285"/>
                    <a:pt x="2" y="263"/>
                    <a:pt x="0" y="191"/>
                  </a:cubicBezTo>
                  <a:cubicBezTo>
                    <a:pt x="73" y="191"/>
                    <a:pt x="73" y="191"/>
                    <a:pt x="73" y="191"/>
                  </a:cubicBezTo>
                  <a:cubicBezTo>
                    <a:pt x="73" y="214"/>
                    <a:pt x="87" y="231"/>
                    <a:pt x="132" y="231"/>
                  </a:cubicBezTo>
                  <a:cubicBezTo>
                    <a:pt x="169" y="231"/>
                    <a:pt x="178" y="213"/>
                    <a:pt x="178" y="203"/>
                  </a:cubicBezTo>
                  <a:cubicBezTo>
                    <a:pt x="178" y="158"/>
                    <a:pt x="10" y="192"/>
                    <a:pt x="10" y="90"/>
                  </a:cubicBezTo>
                  <a:cubicBezTo>
                    <a:pt x="10" y="51"/>
                    <a:pt x="35" y="0"/>
                    <a:pt x="119" y="0"/>
                  </a:cubicBezTo>
                  <a:cubicBezTo>
                    <a:pt x="172" y="0"/>
                    <a:pt x="235" y="13"/>
                    <a:pt x="241" y="89"/>
                  </a:cubicBezTo>
                  <a:lnTo>
                    <a:pt x="171" y="89"/>
                  </a:lnTo>
                  <a:close/>
                </a:path>
              </a:pathLst>
            </a:custGeom>
            <a:solidFill>
              <a:srgbClr val="E80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aphicFrame>
        <p:nvGraphicFramePr>
          <p:cNvPr id="219" name="Diagram 218">
            <a:extLst>
              <a:ext uri="{FF2B5EF4-FFF2-40B4-BE49-F238E27FC236}">
                <a16:creationId xmlns:a16="http://schemas.microsoft.com/office/drawing/2014/main" id="{9CD1F035-E5A4-D06E-97A0-730B1DB1791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63280569"/>
              </p:ext>
            </p:extLst>
          </p:nvPr>
        </p:nvGraphicFramePr>
        <p:xfrm>
          <a:off x="4866856" y="2252512"/>
          <a:ext cx="1220524" cy="914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223" name="Grafik 222">
            <a:extLst>
              <a:ext uri="{FF2B5EF4-FFF2-40B4-BE49-F238E27FC236}">
                <a16:creationId xmlns:a16="http://schemas.microsoft.com/office/drawing/2014/main" id="{5D309FBC-06B2-6C78-668E-9FF3BA95731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267639" y="1998732"/>
            <a:ext cx="1996916" cy="918870"/>
          </a:xfrm>
          <a:prstGeom prst="rect">
            <a:avLst/>
          </a:prstGeom>
        </p:spPr>
      </p:pic>
      <p:graphicFrame>
        <p:nvGraphicFramePr>
          <p:cNvPr id="224" name="Diagram 223">
            <a:extLst>
              <a:ext uri="{FF2B5EF4-FFF2-40B4-BE49-F238E27FC236}">
                <a16:creationId xmlns:a16="http://schemas.microsoft.com/office/drawing/2014/main" id="{AEB6AA23-EA41-4149-C3DE-2E8984A33F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29942117"/>
              </p:ext>
            </p:extLst>
          </p:nvPr>
        </p:nvGraphicFramePr>
        <p:xfrm>
          <a:off x="10524652" y="2231877"/>
          <a:ext cx="1220524" cy="914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25" name="Rektangel 224">
            <a:extLst>
              <a:ext uri="{FF2B5EF4-FFF2-40B4-BE49-F238E27FC236}">
                <a16:creationId xmlns:a16="http://schemas.microsoft.com/office/drawing/2014/main" id="{CF083EBF-5F13-569B-7683-E3D7F3B3DA73}"/>
              </a:ext>
            </a:extLst>
          </p:cNvPr>
          <p:cNvSpPr/>
          <p:nvPr/>
        </p:nvSpPr>
        <p:spPr>
          <a:xfrm>
            <a:off x="4890550" y="2964555"/>
            <a:ext cx="1220525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tabLst>
                <a:tab pos="3141663" algn="r"/>
              </a:tabLst>
            </a:pPr>
            <a:r>
              <a:rPr lang="da-DK" sz="900" dirty="0">
                <a:solidFill>
                  <a:srgbClr val="58595B"/>
                </a:solidFill>
              </a:rPr>
              <a:t>Andel af omsætning</a:t>
            </a:r>
            <a:endParaRPr lang="da-DK" dirty="0"/>
          </a:p>
        </p:txBody>
      </p:sp>
      <p:sp>
        <p:nvSpPr>
          <p:cNvPr id="226" name="Rektangel 225">
            <a:extLst>
              <a:ext uri="{FF2B5EF4-FFF2-40B4-BE49-F238E27FC236}">
                <a16:creationId xmlns:a16="http://schemas.microsoft.com/office/drawing/2014/main" id="{DB0AEFFC-9C66-2745-AB8A-66C68B44A551}"/>
              </a:ext>
            </a:extLst>
          </p:cNvPr>
          <p:cNvSpPr/>
          <p:nvPr/>
        </p:nvSpPr>
        <p:spPr>
          <a:xfrm>
            <a:off x="10541702" y="2961329"/>
            <a:ext cx="1220525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tabLst>
                <a:tab pos="3141663" algn="r"/>
              </a:tabLst>
            </a:pPr>
            <a:r>
              <a:rPr lang="da-DK" sz="900" dirty="0">
                <a:solidFill>
                  <a:srgbClr val="58595B"/>
                </a:solidFill>
              </a:rPr>
              <a:t>Andel af omsætning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336161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el 7">
            <a:extLst>
              <a:ext uri="{FF2B5EF4-FFF2-40B4-BE49-F238E27FC236}">
                <a16:creationId xmlns:a16="http://schemas.microsoft.com/office/drawing/2014/main" id="{7FC523AB-AA09-47DC-B349-A050110A42F5}"/>
              </a:ext>
            </a:extLst>
          </p:cNvPr>
          <p:cNvSpPr txBox="1">
            <a:spLocks/>
          </p:cNvSpPr>
          <p:nvPr/>
        </p:nvSpPr>
        <p:spPr>
          <a:xfrm>
            <a:off x="675630" y="1324212"/>
            <a:ext cx="10828984" cy="90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1000"/>
              </a:lnSpc>
              <a:spcBef>
                <a:spcPct val="0"/>
              </a:spcBef>
              <a:buNone/>
              <a:defRPr sz="30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>
                <a:solidFill>
                  <a:schemeClr val="tx1"/>
                </a:solidFill>
              </a:rPr>
              <a:t>Udfordringer i Scandi Byg og MT Højgaard International </a:t>
            </a:r>
            <a:endParaRPr lang="da-DK" dirty="0"/>
          </a:p>
        </p:txBody>
      </p:sp>
      <p:pic>
        <p:nvPicPr>
          <p:cNvPr id="218" name="Grafik 217">
            <a:extLst>
              <a:ext uri="{FF2B5EF4-FFF2-40B4-BE49-F238E27FC236}">
                <a16:creationId xmlns:a16="http://schemas.microsoft.com/office/drawing/2014/main" id="{3A2D92BE-5E21-48D1-83BC-1A47293A813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275093" y="1994484"/>
            <a:ext cx="1952642" cy="898498"/>
          </a:xfrm>
          <a:prstGeom prst="rect">
            <a:avLst/>
          </a:prstGeom>
        </p:spPr>
      </p:pic>
      <p:sp>
        <p:nvSpPr>
          <p:cNvPr id="220" name="Rektangel 219">
            <a:extLst>
              <a:ext uri="{FF2B5EF4-FFF2-40B4-BE49-F238E27FC236}">
                <a16:creationId xmlns:a16="http://schemas.microsoft.com/office/drawing/2014/main" id="{C5C16F86-996A-4278-95BF-1B7C07794053}"/>
              </a:ext>
            </a:extLst>
          </p:cNvPr>
          <p:cNvSpPr/>
          <p:nvPr/>
        </p:nvSpPr>
        <p:spPr>
          <a:xfrm>
            <a:off x="6465002" y="2813204"/>
            <a:ext cx="4292813" cy="12238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4000" lvl="1" indent="-144000">
              <a:lnSpc>
                <a:spcPct val="115000"/>
              </a:lnSpc>
              <a:spcAft>
                <a:spcPts val="600"/>
              </a:spcAft>
              <a:buFont typeface="Verdana" panose="020B0604030504040204" pitchFamily="34" charset="0"/>
              <a:buChar char="·"/>
            </a:pPr>
            <a:r>
              <a:rPr lang="da-DK" sz="1300" dirty="0">
                <a:solidFill>
                  <a:srgbClr val="58595B"/>
                </a:solidFill>
              </a:rPr>
              <a:t>Oprydning/afslutning af gamle sager i Grønland</a:t>
            </a:r>
          </a:p>
          <a:p>
            <a:pPr marL="144000" lvl="1" indent="-144000">
              <a:lnSpc>
                <a:spcPct val="115000"/>
              </a:lnSpc>
              <a:spcAft>
                <a:spcPts val="600"/>
              </a:spcAft>
              <a:buFont typeface="Verdana" panose="020B0604030504040204" pitchFamily="34" charset="0"/>
              <a:buChar char="·"/>
            </a:pPr>
            <a:r>
              <a:rPr lang="da-DK" sz="1300" dirty="0">
                <a:solidFill>
                  <a:srgbClr val="58595B"/>
                </a:solidFill>
              </a:rPr>
              <a:t>Afvikling på Færøerne, RTS Contractors fortsætter  </a:t>
            </a:r>
          </a:p>
          <a:p>
            <a:pPr marL="144000" lvl="1" indent="-144000">
              <a:lnSpc>
                <a:spcPct val="115000"/>
              </a:lnSpc>
              <a:spcAft>
                <a:spcPts val="600"/>
              </a:spcAft>
              <a:buFont typeface="Verdana" panose="020B0604030504040204" pitchFamily="34" charset="0"/>
              <a:buChar char="·"/>
            </a:pPr>
            <a:r>
              <a:rPr lang="da-DK" sz="1300" dirty="0">
                <a:solidFill>
                  <a:srgbClr val="58595B"/>
                </a:solidFill>
              </a:rPr>
              <a:t>Lav aktivitet i SETH, men spændende pipeline</a:t>
            </a:r>
          </a:p>
          <a:p>
            <a:pPr marL="144000" lvl="1" indent="-144000">
              <a:lnSpc>
                <a:spcPct val="115000"/>
              </a:lnSpc>
              <a:spcAft>
                <a:spcPts val="600"/>
              </a:spcAft>
              <a:buFont typeface="Verdana" panose="020B0604030504040204" pitchFamily="34" charset="0"/>
              <a:buChar char="·"/>
            </a:pPr>
            <a:r>
              <a:rPr lang="da-DK" sz="1300" dirty="0">
                <a:solidFill>
                  <a:srgbClr val="58595B"/>
                </a:solidFill>
              </a:rPr>
              <a:t>Aflevering af </a:t>
            </a:r>
            <a:r>
              <a:rPr lang="da-DK" sz="1300" dirty="0" err="1">
                <a:solidFill>
                  <a:srgbClr val="58595B"/>
                </a:solidFill>
              </a:rPr>
              <a:t>Hisingbron</a:t>
            </a:r>
            <a:r>
              <a:rPr lang="da-DK" sz="1300" dirty="0">
                <a:solidFill>
                  <a:srgbClr val="58595B"/>
                </a:solidFill>
              </a:rPr>
              <a:t> i Sverige </a:t>
            </a:r>
          </a:p>
        </p:txBody>
      </p:sp>
      <p:graphicFrame>
        <p:nvGraphicFramePr>
          <p:cNvPr id="222" name="Diagram 221">
            <a:extLst>
              <a:ext uri="{FF2B5EF4-FFF2-40B4-BE49-F238E27FC236}">
                <a16:creationId xmlns:a16="http://schemas.microsoft.com/office/drawing/2014/main" id="{0EA07EA9-A30A-42BC-8E9B-99B867C94A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25292709"/>
              </p:ext>
            </p:extLst>
          </p:nvPr>
        </p:nvGraphicFramePr>
        <p:xfrm>
          <a:off x="10512201" y="2223351"/>
          <a:ext cx="1220524" cy="914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684A6BE2-B1FD-48BE-BB25-076427DFA6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04613" y="403550"/>
            <a:ext cx="342899" cy="146519"/>
          </a:xfrm>
        </p:spPr>
        <p:txBody>
          <a:bodyPr/>
          <a:lstStyle/>
          <a:p>
            <a:pPr>
              <a:spcAft>
                <a:spcPts val="600"/>
              </a:spcAft>
            </a:pPr>
            <a:fld id="{24C8C45C-947F-4981-8B3F-4F32E973C901}" type="slidenum">
              <a:rPr lang="da-DK" smtClean="0"/>
              <a:pPr>
                <a:spcAft>
                  <a:spcPts val="600"/>
                </a:spcAft>
              </a:pPr>
              <a:t>8</a:t>
            </a:fld>
            <a:endParaRPr lang="da-DK" dirty="0"/>
          </a:p>
        </p:txBody>
      </p:sp>
      <p:graphicFrame>
        <p:nvGraphicFramePr>
          <p:cNvPr id="36" name="Table 11">
            <a:extLst>
              <a:ext uri="{FF2B5EF4-FFF2-40B4-BE49-F238E27FC236}">
                <a16:creationId xmlns:a16="http://schemas.microsoft.com/office/drawing/2014/main" id="{1CBF5416-A14A-4A4E-8884-EAF0E45AE71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49684797"/>
              </p:ext>
            </p:extLst>
          </p:nvPr>
        </p:nvGraphicFramePr>
        <p:xfrm>
          <a:off x="6465002" y="4904990"/>
          <a:ext cx="5220578" cy="1531066"/>
        </p:xfrm>
        <a:graphic>
          <a:graphicData uri="http://schemas.openxmlformats.org/drawingml/2006/table">
            <a:tbl>
              <a:tblPr bandCol="1">
                <a:tableStyleId>{7DF18680-E054-41AD-8BC1-D1AEF772440D}</a:tableStyleId>
              </a:tblPr>
              <a:tblGrid>
                <a:gridCol w="3403862">
                  <a:extLst>
                    <a:ext uri="{9D8B030D-6E8A-4147-A177-3AD203B41FA5}">
                      <a16:colId xmlns:a16="http://schemas.microsoft.com/office/drawing/2014/main" val="2362714525"/>
                    </a:ext>
                  </a:extLst>
                </a:gridCol>
                <a:gridCol w="908358">
                  <a:extLst>
                    <a:ext uri="{9D8B030D-6E8A-4147-A177-3AD203B41FA5}">
                      <a16:colId xmlns:a16="http://schemas.microsoft.com/office/drawing/2014/main" val="3713261334"/>
                    </a:ext>
                  </a:extLst>
                </a:gridCol>
                <a:gridCol w="908358">
                  <a:extLst>
                    <a:ext uri="{9D8B030D-6E8A-4147-A177-3AD203B41FA5}">
                      <a16:colId xmlns:a16="http://schemas.microsoft.com/office/drawing/2014/main" val="651737527"/>
                    </a:ext>
                  </a:extLst>
                </a:gridCol>
              </a:tblGrid>
              <a:tr h="576238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eløb i mio. kr.</a:t>
                      </a:r>
                    </a:p>
                  </a:txBody>
                  <a:tcPr marL="76957" marR="0" marT="0" marB="0" anchor="ctr"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 H1-22</a:t>
                      </a:r>
                    </a:p>
                  </a:txBody>
                  <a:tcPr marL="76957" marR="76957" marT="0" marB="0" anchor="ctr"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 H1-21</a:t>
                      </a:r>
                    </a:p>
                  </a:txBody>
                  <a:tcPr marL="76957" marR="76957" marT="0" marB="0" anchor="ctr"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4823625"/>
                  </a:ext>
                </a:extLst>
              </a:tr>
              <a:tr h="318276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msætning</a:t>
                      </a:r>
                    </a:p>
                  </a:txBody>
                  <a:tcPr marL="76957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81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E7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85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8951967"/>
                  </a:ext>
                </a:extLst>
              </a:tr>
              <a:tr h="318276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riftsresultat før særlige poster</a:t>
                      </a:r>
                    </a:p>
                  </a:txBody>
                  <a:tcPr marL="76957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,1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E7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11,0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6065203"/>
                  </a:ext>
                </a:extLst>
              </a:tr>
              <a:tr h="318276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rdrebeholdning</a:t>
                      </a:r>
                    </a:p>
                  </a:txBody>
                  <a:tcPr marL="76957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19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E7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.215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5333436"/>
                  </a:ext>
                </a:extLst>
              </a:tr>
            </a:tbl>
          </a:graphicData>
        </a:graphic>
      </p:graphicFrame>
      <p:cxnSp>
        <p:nvCxnSpPr>
          <p:cNvPr id="38" name="Lige forbindelse 37">
            <a:extLst>
              <a:ext uri="{FF2B5EF4-FFF2-40B4-BE49-F238E27FC236}">
                <a16:creationId xmlns:a16="http://schemas.microsoft.com/office/drawing/2014/main" id="{7A496586-3BCD-46E2-9A2F-017795831180}"/>
              </a:ext>
            </a:extLst>
          </p:cNvPr>
          <p:cNvCxnSpPr>
            <a:cxnSpLocks/>
          </p:cNvCxnSpPr>
          <p:nvPr/>
        </p:nvCxnSpPr>
        <p:spPr>
          <a:xfrm>
            <a:off x="6105525" y="2224212"/>
            <a:ext cx="0" cy="3652713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6" name="Diagram 25">
            <a:extLst>
              <a:ext uri="{FF2B5EF4-FFF2-40B4-BE49-F238E27FC236}">
                <a16:creationId xmlns:a16="http://schemas.microsoft.com/office/drawing/2014/main" id="{CDD2823B-6874-3D21-1CF1-AE6CB8398B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15057069"/>
              </p:ext>
            </p:extLst>
          </p:nvPr>
        </p:nvGraphicFramePr>
        <p:xfrm>
          <a:off x="4866217" y="2224212"/>
          <a:ext cx="1220524" cy="914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7" name="Rektangel 26">
            <a:extLst>
              <a:ext uri="{FF2B5EF4-FFF2-40B4-BE49-F238E27FC236}">
                <a16:creationId xmlns:a16="http://schemas.microsoft.com/office/drawing/2014/main" id="{7FECCF7C-CD65-12AF-90EA-81F5DD9D2911}"/>
              </a:ext>
            </a:extLst>
          </p:cNvPr>
          <p:cNvSpPr/>
          <p:nvPr/>
        </p:nvSpPr>
        <p:spPr>
          <a:xfrm>
            <a:off x="4885000" y="3425225"/>
            <a:ext cx="1220525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tabLst>
                <a:tab pos="3141663" algn="r"/>
              </a:tabLst>
            </a:pPr>
            <a:r>
              <a:rPr lang="da-DK" b="1" dirty="0">
                <a:solidFill>
                  <a:schemeClr val="accent1"/>
                </a:solidFill>
              </a:rPr>
              <a:t>-32%</a:t>
            </a:r>
          </a:p>
          <a:p>
            <a:pPr algn="ctr">
              <a:tabLst>
                <a:tab pos="3141663" algn="r"/>
              </a:tabLst>
            </a:pPr>
            <a:r>
              <a:rPr lang="da-DK" sz="900" dirty="0">
                <a:solidFill>
                  <a:srgbClr val="58595B"/>
                </a:solidFill>
              </a:rPr>
              <a:t>Omsætningsvækst</a:t>
            </a:r>
            <a:endParaRPr lang="da-DK" dirty="0"/>
          </a:p>
        </p:txBody>
      </p:sp>
      <p:sp>
        <p:nvSpPr>
          <p:cNvPr id="29" name="Rektangel 28">
            <a:extLst>
              <a:ext uri="{FF2B5EF4-FFF2-40B4-BE49-F238E27FC236}">
                <a16:creationId xmlns:a16="http://schemas.microsoft.com/office/drawing/2014/main" id="{10AB5978-14C1-A89E-366B-8A85C017374F}"/>
              </a:ext>
            </a:extLst>
          </p:cNvPr>
          <p:cNvSpPr/>
          <p:nvPr/>
        </p:nvSpPr>
        <p:spPr>
          <a:xfrm>
            <a:off x="595946" y="2817207"/>
            <a:ext cx="3987881" cy="12238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4000" lvl="1" indent="-144000">
              <a:lnSpc>
                <a:spcPct val="115000"/>
              </a:lnSpc>
              <a:spcAft>
                <a:spcPts val="600"/>
              </a:spcAft>
              <a:buFont typeface="Verdana" panose="020B0604030504040204" pitchFamily="34" charset="0"/>
              <a:buChar char="·"/>
            </a:pPr>
            <a:r>
              <a:rPr lang="da-DK" sz="1300" dirty="0">
                <a:solidFill>
                  <a:srgbClr val="58595B"/>
                </a:solidFill>
              </a:rPr>
              <a:t>Lav kapacitetsudnyttelse  </a:t>
            </a:r>
          </a:p>
          <a:p>
            <a:pPr marL="144000" lvl="1" indent="-144000">
              <a:lnSpc>
                <a:spcPct val="115000"/>
              </a:lnSpc>
              <a:spcAft>
                <a:spcPts val="600"/>
              </a:spcAft>
              <a:buFont typeface="Verdana" panose="020B0604030504040204" pitchFamily="34" charset="0"/>
              <a:buChar char="·"/>
            </a:pPr>
            <a:r>
              <a:rPr lang="da-DK" sz="1300" dirty="0">
                <a:solidFill>
                  <a:srgbClr val="58595B"/>
                </a:solidFill>
              </a:rPr>
              <a:t>Historisk høj ordreindgang   </a:t>
            </a:r>
          </a:p>
          <a:p>
            <a:pPr marL="144000" lvl="1" indent="-144000">
              <a:lnSpc>
                <a:spcPct val="115000"/>
              </a:lnSpc>
              <a:spcAft>
                <a:spcPts val="600"/>
              </a:spcAft>
              <a:buFont typeface="Verdana" panose="020B0604030504040204" pitchFamily="34" charset="0"/>
              <a:buChar char="·"/>
            </a:pPr>
            <a:r>
              <a:rPr lang="da-DK" sz="1300" dirty="0">
                <a:solidFill>
                  <a:srgbClr val="58595B"/>
                </a:solidFill>
              </a:rPr>
              <a:t>Nye ordrer får først effekt i 2023 </a:t>
            </a:r>
          </a:p>
          <a:p>
            <a:pPr marL="144000" lvl="1" indent="-144000">
              <a:lnSpc>
                <a:spcPct val="115000"/>
              </a:lnSpc>
              <a:spcAft>
                <a:spcPts val="600"/>
              </a:spcAft>
              <a:buFont typeface="Verdana" panose="020B0604030504040204" pitchFamily="34" charset="0"/>
              <a:buChar char="·"/>
            </a:pPr>
            <a:r>
              <a:rPr lang="da-DK" sz="1300" dirty="0">
                <a:solidFill>
                  <a:srgbClr val="58595B"/>
                </a:solidFill>
              </a:rPr>
              <a:t>Fortsat fokus på produktivitet  </a:t>
            </a:r>
          </a:p>
        </p:txBody>
      </p:sp>
      <p:graphicFrame>
        <p:nvGraphicFramePr>
          <p:cNvPr id="31" name="Table 11">
            <a:extLst>
              <a:ext uri="{FF2B5EF4-FFF2-40B4-BE49-F238E27FC236}">
                <a16:creationId xmlns:a16="http://schemas.microsoft.com/office/drawing/2014/main" id="{5294BA07-A1D7-FB24-9F7F-9D6118F30E8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13728885"/>
              </p:ext>
            </p:extLst>
          </p:nvPr>
        </p:nvGraphicFramePr>
        <p:xfrm>
          <a:off x="587388" y="4904990"/>
          <a:ext cx="5220579" cy="1543691"/>
        </p:xfrm>
        <a:graphic>
          <a:graphicData uri="http://schemas.openxmlformats.org/drawingml/2006/table">
            <a:tbl>
              <a:tblPr bandCol="1">
                <a:tableStyleId>{7DF18680-E054-41AD-8BC1-D1AEF772440D}</a:tableStyleId>
              </a:tblPr>
              <a:tblGrid>
                <a:gridCol w="3403865">
                  <a:extLst>
                    <a:ext uri="{9D8B030D-6E8A-4147-A177-3AD203B41FA5}">
                      <a16:colId xmlns:a16="http://schemas.microsoft.com/office/drawing/2014/main" val="2362714525"/>
                    </a:ext>
                  </a:extLst>
                </a:gridCol>
                <a:gridCol w="908357">
                  <a:extLst>
                    <a:ext uri="{9D8B030D-6E8A-4147-A177-3AD203B41FA5}">
                      <a16:colId xmlns:a16="http://schemas.microsoft.com/office/drawing/2014/main" val="3713261334"/>
                    </a:ext>
                  </a:extLst>
                </a:gridCol>
                <a:gridCol w="908357">
                  <a:extLst>
                    <a:ext uri="{9D8B030D-6E8A-4147-A177-3AD203B41FA5}">
                      <a16:colId xmlns:a16="http://schemas.microsoft.com/office/drawing/2014/main" val="651737527"/>
                    </a:ext>
                  </a:extLst>
                </a:gridCol>
              </a:tblGrid>
              <a:tr h="573821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eløb i mio. kr.</a:t>
                      </a:r>
                    </a:p>
                  </a:txBody>
                  <a:tcPr marL="76957" marR="0" marT="0" marB="0" anchor="ctr"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 H1-22</a:t>
                      </a:r>
                    </a:p>
                  </a:txBody>
                  <a:tcPr marL="76957" marR="76957" marT="0" marB="0" anchor="ctr"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 H1-21</a:t>
                      </a:r>
                    </a:p>
                  </a:txBody>
                  <a:tcPr marL="76957" marR="76957" marT="0" marB="0" anchor="ctr"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4823625"/>
                  </a:ext>
                </a:extLst>
              </a:tr>
              <a:tr h="32329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msætning</a:t>
                      </a:r>
                    </a:p>
                  </a:txBody>
                  <a:tcPr marL="76957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55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E7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27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8951967"/>
                  </a:ext>
                </a:extLst>
              </a:tr>
              <a:tr h="32329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riftsresultat før særlige poster</a:t>
                      </a:r>
                    </a:p>
                  </a:txBody>
                  <a:tcPr marL="76957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13,6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E7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,4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6065203"/>
                  </a:ext>
                </a:extLst>
              </a:tr>
              <a:tr h="32329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rdrebeholdning</a:t>
                      </a:r>
                    </a:p>
                  </a:txBody>
                  <a:tcPr marL="76957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591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E7E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5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16</a:t>
                      </a:r>
                    </a:p>
                  </a:txBody>
                  <a:tcPr marL="76957" marR="76957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210074"/>
                  </a:ext>
                </a:extLst>
              </a:tr>
            </a:tbl>
          </a:graphicData>
        </a:graphic>
      </p:graphicFrame>
      <p:grpSp>
        <p:nvGrpSpPr>
          <p:cNvPr id="33" name="Gruppe 32">
            <a:extLst>
              <a:ext uri="{FF2B5EF4-FFF2-40B4-BE49-F238E27FC236}">
                <a16:creationId xmlns:a16="http://schemas.microsoft.com/office/drawing/2014/main" id="{0816B06E-7E0D-782E-EE2A-85217C3C355A}"/>
              </a:ext>
            </a:extLst>
          </p:cNvPr>
          <p:cNvGrpSpPr>
            <a:grpSpLocks noChangeAspect="1"/>
          </p:cNvGrpSpPr>
          <p:nvPr/>
        </p:nvGrpSpPr>
        <p:grpSpPr>
          <a:xfrm>
            <a:off x="675630" y="2304348"/>
            <a:ext cx="1101805" cy="317389"/>
            <a:chOff x="7085013" y="4059238"/>
            <a:chExt cx="1449387" cy="417512"/>
          </a:xfrm>
        </p:grpSpPr>
        <p:sp>
          <p:nvSpPr>
            <p:cNvPr id="34" name="Freeform 139">
              <a:extLst>
                <a:ext uri="{FF2B5EF4-FFF2-40B4-BE49-F238E27FC236}">
                  <a16:creationId xmlns:a16="http://schemas.microsoft.com/office/drawing/2014/main" id="{8B87A9A7-B145-4049-8EA8-22205A8B83D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5013" y="4129088"/>
              <a:ext cx="144463" cy="188912"/>
            </a:xfrm>
            <a:custGeom>
              <a:avLst/>
              <a:gdLst>
                <a:gd name="T0" fmla="*/ 182 w 422"/>
                <a:gd name="T1" fmla="*/ 550 h 550"/>
                <a:gd name="T2" fmla="*/ 3 w 422"/>
                <a:gd name="T3" fmla="*/ 531 h 550"/>
                <a:gd name="T4" fmla="*/ 3 w 422"/>
                <a:gd name="T5" fmla="*/ 449 h 550"/>
                <a:gd name="T6" fmla="*/ 169 w 422"/>
                <a:gd name="T7" fmla="*/ 473 h 550"/>
                <a:gd name="T8" fmla="*/ 317 w 422"/>
                <a:gd name="T9" fmla="*/ 395 h 550"/>
                <a:gd name="T10" fmla="*/ 157 w 422"/>
                <a:gd name="T11" fmla="*/ 305 h 550"/>
                <a:gd name="T12" fmla="*/ 0 w 422"/>
                <a:gd name="T13" fmla="*/ 155 h 550"/>
                <a:gd name="T14" fmla="*/ 217 w 422"/>
                <a:gd name="T15" fmla="*/ 0 h 550"/>
                <a:gd name="T16" fmla="*/ 387 w 422"/>
                <a:gd name="T17" fmla="*/ 15 h 550"/>
                <a:gd name="T18" fmla="*/ 387 w 422"/>
                <a:gd name="T19" fmla="*/ 95 h 550"/>
                <a:gd name="T20" fmla="*/ 235 w 422"/>
                <a:gd name="T21" fmla="*/ 78 h 550"/>
                <a:gd name="T22" fmla="*/ 101 w 422"/>
                <a:gd name="T23" fmla="*/ 148 h 550"/>
                <a:gd name="T24" fmla="*/ 422 w 422"/>
                <a:gd name="T25" fmla="*/ 382 h 550"/>
                <a:gd name="T26" fmla="*/ 182 w 422"/>
                <a:gd name="T27" fmla="*/ 55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22" h="550">
                  <a:moveTo>
                    <a:pt x="182" y="550"/>
                  </a:moveTo>
                  <a:cubicBezTo>
                    <a:pt x="119" y="550"/>
                    <a:pt x="60" y="542"/>
                    <a:pt x="3" y="531"/>
                  </a:cubicBezTo>
                  <a:cubicBezTo>
                    <a:pt x="3" y="449"/>
                    <a:pt x="3" y="449"/>
                    <a:pt x="3" y="449"/>
                  </a:cubicBezTo>
                  <a:cubicBezTo>
                    <a:pt x="64" y="462"/>
                    <a:pt x="116" y="473"/>
                    <a:pt x="169" y="473"/>
                  </a:cubicBezTo>
                  <a:cubicBezTo>
                    <a:pt x="243" y="473"/>
                    <a:pt x="317" y="455"/>
                    <a:pt x="317" y="395"/>
                  </a:cubicBezTo>
                  <a:cubicBezTo>
                    <a:pt x="317" y="324"/>
                    <a:pt x="210" y="318"/>
                    <a:pt x="157" y="305"/>
                  </a:cubicBezTo>
                  <a:cubicBezTo>
                    <a:pt x="84" y="286"/>
                    <a:pt x="0" y="258"/>
                    <a:pt x="0" y="155"/>
                  </a:cubicBezTo>
                  <a:cubicBezTo>
                    <a:pt x="0" y="34"/>
                    <a:pt x="111" y="0"/>
                    <a:pt x="217" y="0"/>
                  </a:cubicBezTo>
                  <a:cubicBezTo>
                    <a:pt x="292" y="0"/>
                    <a:pt x="346" y="9"/>
                    <a:pt x="387" y="15"/>
                  </a:cubicBezTo>
                  <a:cubicBezTo>
                    <a:pt x="387" y="95"/>
                    <a:pt x="387" y="95"/>
                    <a:pt x="387" y="95"/>
                  </a:cubicBezTo>
                  <a:cubicBezTo>
                    <a:pt x="338" y="86"/>
                    <a:pt x="285" y="78"/>
                    <a:pt x="235" y="78"/>
                  </a:cubicBezTo>
                  <a:cubicBezTo>
                    <a:pt x="184" y="78"/>
                    <a:pt x="101" y="86"/>
                    <a:pt x="101" y="148"/>
                  </a:cubicBezTo>
                  <a:cubicBezTo>
                    <a:pt x="101" y="263"/>
                    <a:pt x="422" y="180"/>
                    <a:pt x="422" y="382"/>
                  </a:cubicBezTo>
                  <a:cubicBezTo>
                    <a:pt x="422" y="486"/>
                    <a:pt x="338" y="550"/>
                    <a:pt x="182" y="550"/>
                  </a:cubicBezTo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Freeform 140">
              <a:extLst>
                <a:ext uri="{FF2B5EF4-FFF2-40B4-BE49-F238E27FC236}">
                  <a16:creationId xmlns:a16="http://schemas.microsoft.com/office/drawing/2014/main" id="{E22CED32-A836-3905-2E3D-943E4AC82FF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40588" y="4129088"/>
              <a:ext cx="144463" cy="188912"/>
            </a:xfrm>
            <a:custGeom>
              <a:avLst/>
              <a:gdLst>
                <a:gd name="T0" fmla="*/ 290 w 427"/>
                <a:gd name="T1" fmla="*/ 550 h 550"/>
                <a:gd name="T2" fmla="*/ 0 w 427"/>
                <a:gd name="T3" fmla="*/ 265 h 550"/>
                <a:gd name="T4" fmla="*/ 284 w 427"/>
                <a:gd name="T5" fmla="*/ 0 h 550"/>
                <a:gd name="T6" fmla="*/ 421 w 427"/>
                <a:gd name="T7" fmla="*/ 12 h 550"/>
                <a:gd name="T8" fmla="*/ 421 w 427"/>
                <a:gd name="T9" fmla="*/ 91 h 550"/>
                <a:gd name="T10" fmla="*/ 318 w 427"/>
                <a:gd name="T11" fmla="*/ 80 h 550"/>
                <a:gd name="T12" fmla="*/ 107 w 427"/>
                <a:gd name="T13" fmla="*/ 267 h 550"/>
                <a:gd name="T14" fmla="*/ 319 w 427"/>
                <a:gd name="T15" fmla="*/ 471 h 550"/>
                <a:gd name="T16" fmla="*/ 427 w 427"/>
                <a:gd name="T17" fmla="*/ 460 h 550"/>
                <a:gd name="T18" fmla="*/ 427 w 427"/>
                <a:gd name="T19" fmla="*/ 537 h 550"/>
                <a:gd name="T20" fmla="*/ 290 w 427"/>
                <a:gd name="T21" fmla="*/ 55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27" h="550">
                  <a:moveTo>
                    <a:pt x="290" y="550"/>
                  </a:moveTo>
                  <a:cubicBezTo>
                    <a:pt x="119" y="550"/>
                    <a:pt x="0" y="456"/>
                    <a:pt x="0" y="265"/>
                  </a:cubicBezTo>
                  <a:cubicBezTo>
                    <a:pt x="0" y="96"/>
                    <a:pt x="126" y="0"/>
                    <a:pt x="284" y="0"/>
                  </a:cubicBezTo>
                  <a:cubicBezTo>
                    <a:pt x="339" y="0"/>
                    <a:pt x="371" y="3"/>
                    <a:pt x="421" y="12"/>
                  </a:cubicBezTo>
                  <a:cubicBezTo>
                    <a:pt x="421" y="91"/>
                    <a:pt x="421" y="91"/>
                    <a:pt x="421" y="91"/>
                  </a:cubicBezTo>
                  <a:cubicBezTo>
                    <a:pt x="379" y="84"/>
                    <a:pt x="351" y="80"/>
                    <a:pt x="318" y="80"/>
                  </a:cubicBezTo>
                  <a:cubicBezTo>
                    <a:pt x="198" y="79"/>
                    <a:pt x="107" y="131"/>
                    <a:pt x="107" y="267"/>
                  </a:cubicBezTo>
                  <a:cubicBezTo>
                    <a:pt x="107" y="404"/>
                    <a:pt x="188" y="472"/>
                    <a:pt x="319" y="471"/>
                  </a:cubicBezTo>
                  <a:cubicBezTo>
                    <a:pt x="348" y="470"/>
                    <a:pt x="380" y="468"/>
                    <a:pt x="427" y="460"/>
                  </a:cubicBezTo>
                  <a:cubicBezTo>
                    <a:pt x="427" y="537"/>
                    <a:pt x="427" y="537"/>
                    <a:pt x="427" y="537"/>
                  </a:cubicBezTo>
                  <a:cubicBezTo>
                    <a:pt x="375" y="547"/>
                    <a:pt x="333" y="550"/>
                    <a:pt x="290" y="550"/>
                  </a:cubicBezTo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Freeform 141">
              <a:extLst>
                <a:ext uri="{FF2B5EF4-FFF2-40B4-BE49-F238E27FC236}">
                  <a16:creationId xmlns:a16="http://schemas.microsoft.com/office/drawing/2014/main" id="{6FDF90FE-1224-A33C-8E3E-322A47D1D5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96163" y="4129088"/>
              <a:ext cx="157163" cy="188912"/>
            </a:xfrm>
            <a:custGeom>
              <a:avLst/>
              <a:gdLst>
                <a:gd name="T0" fmla="*/ 232 w 463"/>
                <a:gd name="T1" fmla="*/ 550 h 550"/>
                <a:gd name="T2" fmla="*/ 0 w 463"/>
                <a:gd name="T3" fmla="*/ 377 h 550"/>
                <a:gd name="T4" fmla="*/ 277 w 463"/>
                <a:gd name="T5" fmla="*/ 212 h 550"/>
                <a:gd name="T6" fmla="*/ 363 w 463"/>
                <a:gd name="T7" fmla="*/ 215 h 550"/>
                <a:gd name="T8" fmla="*/ 211 w 463"/>
                <a:gd name="T9" fmla="*/ 77 h 550"/>
                <a:gd name="T10" fmla="*/ 36 w 463"/>
                <a:gd name="T11" fmla="*/ 98 h 550"/>
                <a:gd name="T12" fmla="*/ 36 w 463"/>
                <a:gd name="T13" fmla="*/ 19 h 550"/>
                <a:gd name="T14" fmla="*/ 222 w 463"/>
                <a:gd name="T15" fmla="*/ 0 h 550"/>
                <a:gd name="T16" fmla="*/ 463 w 463"/>
                <a:gd name="T17" fmla="*/ 175 h 550"/>
                <a:gd name="T18" fmla="*/ 463 w 463"/>
                <a:gd name="T19" fmla="*/ 538 h 550"/>
                <a:gd name="T20" fmla="*/ 232 w 463"/>
                <a:gd name="T21" fmla="*/ 550 h 550"/>
                <a:gd name="T22" fmla="*/ 364 w 463"/>
                <a:gd name="T23" fmla="*/ 290 h 550"/>
                <a:gd name="T24" fmla="*/ 274 w 463"/>
                <a:gd name="T25" fmla="*/ 287 h 550"/>
                <a:gd name="T26" fmla="*/ 104 w 463"/>
                <a:gd name="T27" fmla="*/ 380 h 550"/>
                <a:gd name="T28" fmla="*/ 265 w 463"/>
                <a:gd name="T29" fmla="*/ 478 h 550"/>
                <a:gd name="T30" fmla="*/ 364 w 463"/>
                <a:gd name="T31" fmla="*/ 473 h 550"/>
                <a:gd name="T32" fmla="*/ 364 w 463"/>
                <a:gd name="T33" fmla="*/ 290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3" h="550">
                  <a:moveTo>
                    <a:pt x="232" y="550"/>
                  </a:moveTo>
                  <a:cubicBezTo>
                    <a:pt x="95" y="550"/>
                    <a:pt x="0" y="520"/>
                    <a:pt x="0" y="377"/>
                  </a:cubicBezTo>
                  <a:cubicBezTo>
                    <a:pt x="0" y="213"/>
                    <a:pt x="167" y="212"/>
                    <a:pt x="277" y="212"/>
                  </a:cubicBezTo>
                  <a:cubicBezTo>
                    <a:pt x="300" y="212"/>
                    <a:pt x="328" y="215"/>
                    <a:pt x="363" y="215"/>
                  </a:cubicBezTo>
                  <a:cubicBezTo>
                    <a:pt x="363" y="104"/>
                    <a:pt x="358" y="77"/>
                    <a:pt x="211" y="77"/>
                  </a:cubicBezTo>
                  <a:cubicBezTo>
                    <a:pt x="155" y="77"/>
                    <a:pt x="92" y="88"/>
                    <a:pt x="36" y="98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100" y="6"/>
                    <a:pt x="162" y="0"/>
                    <a:pt x="222" y="0"/>
                  </a:cubicBezTo>
                  <a:cubicBezTo>
                    <a:pt x="369" y="0"/>
                    <a:pt x="463" y="20"/>
                    <a:pt x="463" y="175"/>
                  </a:cubicBezTo>
                  <a:cubicBezTo>
                    <a:pt x="463" y="538"/>
                    <a:pt x="463" y="538"/>
                    <a:pt x="463" y="538"/>
                  </a:cubicBezTo>
                  <a:cubicBezTo>
                    <a:pt x="374" y="548"/>
                    <a:pt x="304" y="550"/>
                    <a:pt x="232" y="550"/>
                  </a:cubicBezTo>
                  <a:moveTo>
                    <a:pt x="364" y="290"/>
                  </a:moveTo>
                  <a:cubicBezTo>
                    <a:pt x="321" y="289"/>
                    <a:pt x="289" y="287"/>
                    <a:pt x="274" y="287"/>
                  </a:cubicBezTo>
                  <a:cubicBezTo>
                    <a:pt x="169" y="287"/>
                    <a:pt x="104" y="303"/>
                    <a:pt x="104" y="380"/>
                  </a:cubicBezTo>
                  <a:cubicBezTo>
                    <a:pt x="104" y="469"/>
                    <a:pt x="185" y="478"/>
                    <a:pt x="265" y="478"/>
                  </a:cubicBezTo>
                  <a:cubicBezTo>
                    <a:pt x="292" y="478"/>
                    <a:pt x="313" y="476"/>
                    <a:pt x="364" y="473"/>
                  </a:cubicBezTo>
                  <a:lnTo>
                    <a:pt x="364" y="290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Freeform 142">
              <a:extLst>
                <a:ext uri="{FF2B5EF4-FFF2-40B4-BE49-F238E27FC236}">
                  <a16:creationId xmlns:a16="http://schemas.microsoft.com/office/drawing/2014/main" id="{CC89DC59-2634-BF16-1F2D-2FBC37A9B49C}"/>
                </a:ext>
              </a:extLst>
            </p:cNvPr>
            <p:cNvSpPr>
              <a:spLocks/>
            </p:cNvSpPr>
            <p:nvPr/>
          </p:nvSpPr>
          <p:spPr bwMode="auto">
            <a:xfrm>
              <a:off x="7578725" y="4129088"/>
              <a:ext cx="158750" cy="184150"/>
            </a:xfrm>
            <a:custGeom>
              <a:avLst/>
              <a:gdLst>
                <a:gd name="T0" fmla="*/ 363 w 465"/>
                <a:gd name="T1" fmla="*/ 539 h 539"/>
                <a:gd name="T2" fmla="*/ 363 w 465"/>
                <a:gd name="T3" fmla="*/ 202 h 539"/>
                <a:gd name="T4" fmla="*/ 271 w 465"/>
                <a:gd name="T5" fmla="*/ 85 h 539"/>
                <a:gd name="T6" fmla="*/ 99 w 465"/>
                <a:gd name="T7" fmla="*/ 133 h 539"/>
                <a:gd name="T8" fmla="*/ 99 w 465"/>
                <a:gd name="T9" fmla="*/ 539 h 539"/>
                <a:gd name="T10" fmla="*/ 0 w 465"/>
                <a:gd name="T11" fmla="*/ 539 h 539"/>
                <a:gd name="T12" fmla="*/ 0 w 465"/>
                <a:gd name="T13" fmla="*/ 10 h 539"/>
                <a:gd name="T14" fmla="*/ 92 w 465"/>
                <a:gd name="T15" fmla="*/ 10 h 539"/>
                <a:gd name="T16" fmla="*/ 92 w 465"/>
                <a:gd name="T17" fmla="*/ 59 h 539"/>
                <a:gd name="T18" fmla="*/ 306 w 465"/>
                <a:gd name="T19" fmla="*/ 0 h 539"/>
                <a:gd name="T20" fmla="*/ 465 w 465"/>
                <a:gd name="T21" fmla="*/ 161 h 539"/>
                <a:gd name="T22" fmla="*/ 465 w 465"/>
                <a:gd name="T23" fmla="*/ 539 h 539"/>
                <a:gd name="T24" fmla="*/ 363 w 465"/>
                <a:gd name="T25" fmla="*/ 539 h 5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5" h="539">
                  <a:moveTo>
                    <a:pt x="363" y="539"/>
                  </a:moveTo>
                  <a:cubicBezTo>
                    <a:pt x="363" y="202"/>
                    <a:pt x="363" y="202"/>
                    <a:pt x="363" y="202"/>
                  </a:cubicBezTo>
                  <a:cubicBezTo>
                    <a:pt x="363" y="146"/>
                    <a:pt x="362" y="85"/>
                    <a:pt x="271" y="85"/>
                  </a:cubicBezTo>
                  <a:cubicBezTo>
                    <a:pt x="220" y="85"/>
                    <a:pt x="145" y="114"/>
                    <a:pt x="99" y="133"/>
                  </a:cubicBezTo>
                  <a:cubicBezTo>
                    <a:pt x="99" y="539"/>
                    <a:pt x="99" y="539"/>
                    <a:pt x="99" y="539"/>
                  </a:cubicBezTo>
                  <a:cubicBezTo>
                    <a:pt x="0" y="539"/>
                    <a:pt x="0" y="539"/>
                    <a:pt x="0" y="53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92" y="10"/>
                    <a:pt x="92" y="10"/>
                    <a:pt x="92" y="10"/>
                  </a:cubicBezTo>
                  <a:cubicBezTo>
                    <a:pt x="92" y="59"/>
                    <a:pt x="92" y="59"/>
                    <a:pt x="92" y="59"/>
                  </a:cubicBezTo>
                  <a:cubicBezTo>
                    <a:pt x="197" y="12"/>
                    <a:pt x="233" y="0"/>
                    <a:pt x="306" y="0"/>
                  </a:cubicBezTo>
                  <a:cubicBezTo>
                    <a:pt x="381" y="0"/>
                    <a:pt x="465" y="44"/>
                    <a:pt x="465" y="161"/>
                  </a:cubicBezTo>
                  <a:cubicBezTo>
                    <a:pt x="465" y="539"/>
                    <a:pt x="465" y="539"/>
                    <a:pt x="465" y="539"/>
                  </a:cubicBezTo>
                  <a:lnTo>
                    <a:pt x="363" y="539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Freeform 143">
              <a:extLst>
                <a:ext uri="{FF2B5EF4-FFF2-40B4-BE49-F238E27FC236}">
                  <a16:creationId xmlns:a16="http://schemas.microsoft.com/office/drawing/2014/main" id="{274CECC6-E1EE-8DAE-268E-43AC038832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56525" y="4059238"/>
              <a:ext cx="165100" cy="258762"/>
            </a:xfrm>
            <a:custGeom>
              <a:avLst/>
              <a:gdLst>
                <a:gd name="T0" fmla="*/ 484 w 485"/>
                <a:gd name="T1" fmla="*/ 738 h 756"/>
                <a:gd name="T2" fmla="*/ 291 w 485"/>
                <a:gd name="T3" fmla="*/ 756 h 756"/>
                <a:gd name="T4" fmla="*/ 0 w 485"/>
                <a:gd name="T5" fmla="*/ 485 h 756"/>
                <a:gd name="T6" fmla="*/ 268 w 485"/>
                <a:gd name="T7" fmla="*/ 202 h 756"/>
                <a:gd name="T8" fmla="*/ 383 w 485"/>
                <a:gd name="T9" fmla="*/ 209 h 756"/>
                <a:gd name="T10" fmla="*/ 383 w 485"/>
                <a:gd name="T11" fmla="*/ 0 h 756"/>
                <a:gd name="T12" fmla="*/ 484 w 485"/>
                <a:gd name="T13" fmla="*/ 0 h 756"/>
                <a:gd name="T14" fmla="*/ 484 w 485"/>
                <a:gd name="T15" fmla="*/ 738 h 756"/>
                <a:gd name="T16" fmla="*/ 383 w 485"/>
                <a:gd name="T17" fmla="*/ 289 h 756"/>
                <a:gd name="T18" fmla="*/ 290 w 485"/>
                <a:gd name="T19" fmla="*/ 280 h 756"/>
                <a:gd name="T20" fmla="*/ 107 w 485"/>
                <a:gd name="T21" fmla="*/ 482 h 756"/>
                <a:gd name="T22" fmla="*/ 295 w 485"/>
                <a:gd name="T23" fmla="*/ 680 h 756"/>
                <a:gd name="T24" fmla="*/ 383 w 485"/>
                <a:gd name="T25" fmla="*/ 675 h 756"/>
                <a:gd name="T26" fmla="*/ 383 w 485"/>
                <a:gd name="T27" fmla="*/ 289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5" h="756">
                  <a:moveTo>
                    <a:pt x="484" y="738"/>
                  </a:moveTo>
                  <a:cubicBezTo>
                    <a:pt x="484" y="738"/>
                    <a:pt x="352" y="756"/>
                    <a:pt x="291" y="756"/>
                  </a:cubicBezTo>
                  <a:cubicBezTo>
                    <a:pt x="124" y="756"/>
                    <a:pt x="0" y="663"/>
                    <a:pt x="0" y="485"/>
                  </a:cubicBezTo>
                  <a:cubicBezTo>
                    <a:pt x="0" y="316"/>
                    <a:pt x="95" y="202"/>
                    <a:pt x="268" y="202"/>
                  </a:cubicBezTo>
                  <a:cubicBezTo>
                    <a:pt x="289" y="202"/>
                    <a:pt x="326" y="201"/>
                    <a:pt x="383" y="209"/>
                  </a:cubicBezTo>
                  <a:cubicBezTo>
                    <a:pt x="383" y="0"/>
                    <a:pt x="383" y="0"/>
                    <a:pt x="383" y="0"/>
                  </a:cubicBezTo>
                  <a:cubicBezTo>
                    <a:pt x="484" y="0"/>
                    <a:pt x="484" y="0"/>
                    <a:pt x="484" y="0"/>
                  </a:cubicBezTo>
                  <a:cubicBezTo>
                    <a:pt x="484" y="0"/>
                    <a:pt x="485" y="620"/>
                    <a:pt x="484" y="738"/>
                  </a:cubicBezTo>
                  <a:moveTo>
                    <a:pt x="383" y="289"/>
                  </a:moveTo>
                  <a:cubicBezTo>
                    <a:pt x="341" y="282"/>
                    <a:pt x="313" y="280"/>
                    <a:pt x="290" y="280"/>
                  </a:cubicBezTo>
                  <a:cubicBezTo>
                    <a:pt x="172" y="280"/>
                    <a:pt x="107" y="344"/>
                    <a:pt x="107" y="482"/>
                  </a:cubicBezTo>
                  <a:cubicBezTo>
                    <a:pt x="107" y="599"/>
                    <a:pt x="175" y="680"/>
                    <a:pt x="295" y="680"/>
                  </a:cubicBezTo>
                  <a:cubicBezTo>
                    <a:pt x="315" y="680"/>
                    <a:pt x="340" y="679"/>
                    <a:pt x="383" y="675"/>
                  </a:cubicBezTo>
                  <a:lnTo>
                    <a:pt x="383" y="289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Freeform 144">
              <a:extLst>
                <a:ext uri="{FF2B5EF4-FFF2-40B4-BE49-F238E27FC236}">
                  <a16:creationId xmlns:a16="http://schemas.microsoft.com/office/drawing/2014/main" id="{5531FF18-2182-CE7A-7102-36844D8AB5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23225" y="4059238"/>
              <a:ext cx="163513" cy="258762"/>
            </a:xfrm>
            <a:custGeom>
              <a:avLst/>
              <a:gdLst>
                <a:gd name="T0" fmla="*/ 189 w 481"/>
                <a:gd name="T1" fmla="*/ 756 h 756"/>
                <a:gd name="T2" fmla="*/ 0 w 481"/>
                <a:gd name="T3" fmla="*/ 739 h 756"/>
                <a:gd name="T4" fmla="*/ 0 w 481"/>
                <a:gd name="T5" fmla="*/ 0 h 756"/>
                <a:gd name="T6" fmla="*/ 101 w 481"/>
                <a:gd name="T7" fmla="*/ 0 h 756"/>
                <a:gd name="T8" fmla="*/ 101 w 481"/>
                <a:gd name="T9" fmla="*/ 211 h 756"/>
                <a:gd name="T10" fmla="*/ 218 w 481"/>
                <a:gd name="T11" fmla="*/ 203 h 756"/>
                <a:gd name="T12" fmla="*/ 481 w 481"/>
                <a:gd name="T13" fmla="*/ 482 h 756"/>
                <a:gd name="T14" fmla="*/ 189 w 481"/>
                <a:gd name="T15" fmla="*/ 756 h 756"/>
                <a:gd name="T16" fmla="*/ 191 w 481"/>
                <a:gd name="T17" fmla="*/ 280 h 756"/>
                <a:gd name="T18" fmla="*/ 100 w 481"/>
                <a:gd name="T19" fmla="*/ 287 h 756"/>
                <a:gd name="T20" fmla="*/ 100 w 481"/>
                <a:gd name="T21" fmla="*/ 674 h 756"/>
                <a:gd name="T22" fmla="*/ 189 w 481"/>
                <a:gd name="T23" fmla="*/ 680 h 756"/>
                <a:gd name="T24" fmla="*/ 374 w 481"/>
                <a:gd name="T25" fmla="*/ 481 h 756"/>
                <a:gd name="T26" fmla="*/ 191 w 481"/>
                <a:gd name="T27" fmla="*/ 280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1" h="756">
                  <a:moveTo>
                    <a:pt x="189" y="756"/>
                  </a:moveTo>
                  <a:cubicBezTo>
                    <a:pt x="147" y="756"/>
                    <a:pt x="0" y="739"/>
                    <a:pt x="0" y="7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1" y="211"/>
                    <a:pt x="101" y="211"/>
                    <a:pt x="101" y="211"/>
                  </a:cubicBezTo>
                  <a:cubicBezTo>
                    <a:pt x="163" y="203"/>
                    <a:pt x="203" y="203"/>
                    <a:pt x="218" y="203"/>
                  </a:cubicBezTo>
                  <a:cubicBezTo>
                    <a:pt x="379" y="203"/>
                    <a:pt x="481" y="305"/>
                    <a:pt x="481" y="482"/>
                  </a:cubicBezTo>
                  <a:cubicBezTo>
                    <a:pt x="481" y="657"/>
                    <a:pt x="356" y="756"/>
                    <a:pt x="189" y="756"/>
                  </a:cubicBezTo>
                  <a:moveTo>
                    <a:pt x="191" y="280"/>
                  </a:moveTo>
                  <a:cubicBezTo>
                    <a:pt x="169" y="280"/>
                    <a:pt x="137" y="282"/>
                    <a:pt x="100" y="287"/>
                  </a:cubicBezTo>
                  <a:cubicBezTo>
                    <a:pt x="100" y="674"/>
                    <a:pt x="100" y="674"/>
                    <a:pt x="100" y="674"/>
                  </a:cubicBezTo>
                  <a:cubicBezTo>
                    <a:pt x="143" y="680"/>
                    <a:pt x="171" y="680"/>
                    <a:pt x="189" y="680"/>
                  </a:cubicBezTo>
                  <a:cubicBezTo>
                    <a:pt x="312" y="680"/>
                    <a:pt x="374" y="602"/>
                    <a:pt x="374" y="481"/>
                  </a:cubicBezTo>
                  <a:cubicBezTo>
                    <a:pt x="374" y="351"/>
                    <a:pt x="317" y="280"/>
                    <a:pt x="191" y="280"/>
                  </a:cubicBezTo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Freeform 145">
              <a:extLst>
                <a:ext uri="{FF2B5EF4-FFF2-40B4-BE49-F238E27FC236}">
                  <a16:creationId xmlns:a16="http://schemas.microsoft.com/office/drawing/2014/main" id="{4FBD12D8-2BB2-F020-8826-B80B760555C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7213" y="4133850"/>
              <a:ext cx="180975" cy="223837"/>
            </a:xfrm>
            <a:custGeom>
              <a:avLst/>
              <a:gdLst>
                <a:gd name="T0" fmla="*/ 114 w 114"/>
                <a:gd name="T1" fmla="*/ 0 h 141"/>
                <a:gd name="T2" fmla="*/ 90 w 114"/>
                <a:gd name="T3" fmla="*/ 0 h 141"/>
                <a:gd name="T4" fmla="*/ 58 w 114"/>
                <a:gd name="T5" fmla="*/ 96 h 141"/>
                <a:gd name="T6" fmla="*/ 24 w 114"/>
                <a:gd name="T7" fmla="*/ 0 h 141"/>
                <a:gd name="T8" fmla="*/ 0 w 114"/>
                <a:gd name="T9" fmla="*/ 0 h 141"/>
                <a:gd name="T10" fmla="*/ 42 w 114"/>
                <a:gd name="T11" fmla="*/ 113 h 141"/>
                <a:gd name="T12" fmla="*/ 51 w 114"/>
                <a:gd name="T13" fmla="*/ 113 h 141"/>
                <a:gd name="T14" fmla="*/ 40 w 114"/>
                <a:gd name="T15" fmla="*/ 141 h 141"/>
                <a:gd name="T16" fmla="*/ 62 w 114"/>
                <a:gd name="T17" fmla="*/ 141 h 141"/>
                <a:gd name="T18" fmla="*/ 114 w 114"/>
                <a:gd name="T1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4" h="141">
                  <a:moveTo>
                    <a:pt x="114" y="0"/>
                  </a:moveTo>
                  <a:lnTo>
                    <a:pt x="90" y="0"/>
                  </a:lnTo>
                  <a:lnTo>
                    <a:pt x="58" y="96"/>
                  </a:lnTo>
                  <a:lnTo>
                    <a:pt x="24" y="0"/>
                  </a:lnTo>
                  <a:lnTo>
                    <a:pt x="0" y="0"/>
                  </a:lnTo>
                  <a:lnTo>
                    <a:pt x="42" y="113"/>
                  </a:lnTo>
                  <a:lnTo>
                    <a:pt x="51" y="113"/>
                  </a:lnTo>
                  <a:lnTo>
                    <a:pt x="40" y="141"/>
                  </a:lnTo>
                  <a:lnTo>
                    <a:pt x="62" y="141"/>
                  </a:lnTo>
                  <a:lnTo>
                    <a:pt x="114" y="0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Freeform 146">
              <a:extLst>
                <a:ext uri="{FF2B5EF4-FFF2-40B4-BE49-F238E27FC236}">
                  <a16:creationId xmlns:a16="http://schemas.microsoft.com/office/drawing/2014/main" id="{79185E9A-21BB-4450-B534-39ACFE4EDB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56600" y="4127500"/>
              <a:ext cx="177800" cy="230187"/>
            </a:xfrm>
            <a:custGeom>
              <a:avLst/>
              <a:gdLst>
                <a:gd name="T0" fmla="*/ 508 w 519"/>
                <a:gd name="T1" fmla="*/ 600 h 673"/>
                <a:gd name="T2" fmla="*/ 163 w 519"/>
                <a:gd name="T3" fmla="*/ 473 h 673"/>
                <a:gd name="T4" fmla="*/ 111 w 519"/>
                <a:gd name="T5" fmla="*/ 442 h 673"/>
                <a:gd name="T6" fmla="*/ 166 w 519"/>
                <a:gd name="T7" fmla="*/ 373 h 673"/>
                <a:gd name="T8" fmla="*/ 221 w 519"/>
                <a:gd name="T9" fmla="*/ 378 h 673"/>
                <a:gd name="T10" fmla="*/ 449 w 519"/>
                <a:gd name="T11" fmla="*/ 192 h 673"/>
                <a:gd name="T12" fmla="*/ 403 w 519"/>
                <a:gd name="T13" fmla="*/ 77 h 673"/>
                <a:gd name="T14" fmla="*/ 519 w 519"/>
                <a:gd name="T15" fmla="*/ 84 h 673"/>
                <a:gd name="T16" fmla="*/ 519 w 519"/>
                <a:gd name="T17" fmla="*/ 0 h 673"/>
                <a:gd name="T18" fmla="*/ 296 w 519"/>
                <a:gd name="T19" fmla="*/ 13 h 673"/>
                <a:gd name="T20" fmla="*/ 222 w 519"/>
                <a:gd name="T21" fmla="*/ 7 h 673"/>
                <a:gd name="T22" fmla="*/ 0 w 519"/>
                <a:gd name="T23" fmla="*/ 193 h 673"/>
                <a:gd name="T24" fmla="*/ 85 w 519"/>
                <a:gd name="T25" fmla="*/ 342 h 673"/>
                <a:gd name="T26" fmla="*/ 10 w 519"/>
                <a:gd name="T27" fmla="*/ 462 h 673"/>
                <a:gd name="T28" fmla="*/ 217 w 519"/>
                <a:gd name="T29" fmla="*/ 564 h 673"/>
                <a:gd name="T30" fmla="*/ 289 w 519"/>
                <a:gd name="T31" fmla="*/ 564 h 673"/>
                <a:gd name="T32" fmla="*/ 401 w 519"/>
                <a:gd name="T33" fmla="*/ 615 h 673"/>
                <a:gd name="T34" fmla="*/ 345 w 519"/>
                <a:gd name="T35" fmla="*/ 673 h 673"/>
                <a:gd name="T36" fmla="*/ 489 w 519"/>
                <a:gd name="T37" fmla="*/ 673 h 673"/>
                <a:gd name="T38" fmla="*/ 508 w 519"/>
                <a:gd name="T39" fmla="*/ 600 h 673"/>
                <a:gd name="T40" fmla="*/ 222 w 519"/>
                <a:gd name="T41" fmla="*/ 79 h 673"/>
                <a:gd name="T42" fmla="*/ 344 w 519"/>
                <a:gd name="T43" fmla="*/ 188 h 673"/>
                <a:gd name="T44" fmla="*/ 222 w 519"/>
                <a:gd name="T45" fmla="*/ 304 h 673"/>
                <a:gd name="T46" fmla="*/ 105 w 519"/>
                <a:gd name="T47" fmla="*/ 188 h 673"/>
                <a:gd name="T48" fmla="*/ 222 w 519"/>
                <a:gd name="T49" fmla="*/ 79 h 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19" h="673">
                  <a:moveTo>
                    <a:pt x="508" y="600"/>
                  </a:moveTo>
                  <a:cubicBezTo>
                    <a:pt x="508" y="436"/>
                    <a:pt x="266" y="484"/>
                    <a:pt x="163" y="473"/>
                  </a:cubicBezTo>
                  <a:cubicBezTo>
                    <a:pt x="125" y="468"/>
                    <a:pt x="111" y="458"/>
                    <a:pt x="111" y="442"/>
                  </a:cubicBezTo>
                  <a:cubicBezTo>
                    <a:pt x="111" y="413"/>
                    <a:pt x="143" y="388"/>
                    <a:pt x="166" y="373"/>
                  </a:cubicBezTo>
                  <a:cubicBezTo>
                    <a:pt x="184" y="376"/>
                    <a:pt x="203" y="378"/>
                    <a:pt x="221" y="378"/>
                  </a:cubicBezTo>
                  <a:cubicBezTo>
                    <a:pt x="404" y="378"/>
                    <a:pt x="449" y="272"/>
                    <a:pt x="449" y="192"/>
                  </a:cubicBezTo>
                  <a:cubicBezTo>
                    <a:pt x="449" y="142"/>
                    <a:pt x="430" y="103"/>
                    <a:pt x="403" y="77"/>
                  </a:cubicBezTo>
                  <a:cubicBezTo>
                    <a:pt x="441" y="80"/>
                    <a:pt x="497" y="84"/>
                    <a:pt x="519" y="84"/>
                  </a:cubicBezTo>
                  <a:cubicBezTo>
                    <a:pt x="519" y="0"/>
                    <a:pt x="519" y="0"/>
                    <a:pt x="519" y="0"/>
                  </a:cubicBezTo>
                  <a:cubicBezTo>
                    <a:pt x="296" y="13"/>
                    <a:pt x="296" y="13"/>
                    <a:pt x="296" y="13"/>
                  </a:cubicBezTo>
                  <a:cubicBezTo>
                    <a:pt x="276" y="10"/>
                    <a:pt x="254" y="7"/>
                    <a:pt x="222" y="7"/>
                  </a:cubicBezTo>
                  <a:cubicBezTo>
                    <a:pt x="95" y="7"/>
                    <a:pt x="0" y="69"/>
                    <a:pt x="0" y="193"/>
                  </a:cubicBezTo>
                  <a:cubicBezTo>
                    <a:pt x="0" y="282"/>
                    <a:pt x="49" y="322"/>
                    <a:pt x="85" y="342"/>
                  </a:cubicBezTo>
                  <a:cubicBezTo>
                    <a:pt x="36" y="377"/>
                    <a:pt x="10" y="412"/>
                    <a:pt x="10" y="462"/>
                  </a:cubicBezTo>
                  <a:cubicBezTo>
                    <a:pt x="10" y="556"/>
                    <a:pt x="113" y="565"/>
                    <a:pt x="217" y="564"/>
                  </a:cubicBezTo>
                  <a:cubicBezTo>
                    <a:pt x="289" y="564"/>
                    <a:pt x="289" y="564"/>
                    <a:pt x="289" y="564"/>
                  </a:cubicBezTo>
                  <a:cubicBezTo>
                    <a:pt x="324" y="565"/>
                    <a:pt x="401" y="564"/>
                    <a:pt x="401" y="615"/>
                  </a:cubicBezTo>
                  <a:cubicBezTo>
                    <a:pt x="401" y="638"/>
                    <a:pt x="380" y="658"/>
                    <a:pt x="345" y="673"/>
                  </a:cubicBezTo>
                  <a:cubicBezTo>
                    <a:pt x="489" y="673"/>
                    <a:pt x="489" y="673"/>
                    <a:pt x="489" y="673"/>
                  </a:cubicBezTo>
                  <a:cubicBezTo>
                    <a:pt x="501" y="652"/>
                    <a:pt x="508" y="628"/>
                    <a:pt x="508" y="600"/>
                  </a:cubicBezTo>
                  <a:moveTo>
                    <a:pt x="222" y="79"/>
                  </a:moveTo>
                  <a:cubicBezTo>
                    <a:pt x="296" y="79"/>
                    <a:pt x="344" y="118"/>
                    <a:pt x="344" y="188"/>
                  </a:cubicBezTo>
                  <a:cubicBezTo>
                    <a:pt x="344" y="270"/>
                    <a:pt x="303" y="304"/>
                    <a:pt x="222" y="304"/>
                  </a:cubicBezTo>
                  <a:cubicBezTo>
                    <a:pt x="154" y="304"/>
                    <a:pt x="105" y="269"/>
                    <a:pt x="105" y="188"/>
                  </a:cubicBezTo>
                  <a:cubicBezTo>
                    <a:pt x="105" y="121"/>
                    <a:pt x="148" y="79"/>
                    <a:pt x="222" y="79"/>
                  </a:cubicBezTo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Rectangle 147">
              <a:extLst>
                <a:ext uri="{FF2B5EF4-FFF2-40B4-BE49-F238E27FC236}">
                  <a16:creationId xmlns:a16="http://schemas.microsoft.com/office/drawing/2014/main" id="{487FB9C3-EE32-1F63-68CF-A5E6C07B0D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54963" y="4133850"/>
              <a:ext cx="34925" cy="179387"/>
            </a:xfrm>
            <a:prstGeom prst="rect">
              <a:avLst/>
            </a:pr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Freeform 148">
              <a:extLst>
                <a:ext uri="{FF2B5EF4-FFF2-40B4-BE49-F238E27FC236}">
                  <a16:creationId xmlns:a16="http://schemas.microsoft.com/office/drawing/2014/main" id="{6699138B-8A07-A06A-64AA-0E84817E07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54963" y="4059238"/>
              <a:ext cx="34925" cy="33337"/>
            </a:xfrm>
            <a:custGeom>
              <a:avLst/>
              <a:gdLst>
                <a:gd name="T0" fmla="*/ 22 w 22"/>
                <a:gd name="T1" fmla="*/ 21 h 21"/>
                <a:gd name="T2" fmla="*/ 0 w 22"/>
                <a:gd name="T3" fmla="*/ 21 h 21"/>
                <a:gd name="T4" fmla="*/ 0 w 22"/>
                <a:gd name="T5" fmla="*/ 0 h 21"/>
                <a:gd name="T6" fmla="*/ 22 w 22"/>
                <a:gd name="T7" fmla="*/ 0 h 21"/>
                <a:gd name="T8" fmla="*/ 22 w 22"/>
                <a:gd name="T9" fmla="*/ 21 h 21"/>
                <a:gd name="T10" fmla="*/ 4 w 22"/>
                <a:gd name="T11" fmla="*/ 18 h 21"/>
                <a:gd name="T12" fmla="*/ 19 w 22"/>
                <a:gd name="T13" fmla="*/ 18 h 21"/>
                <a:gd name="T14" fmla="*/ 19 w 22"/>
                <a:gd name="T15" fmla="*/ 4 h 21"/>
                <a:gd name="T16" fmla="*/ 4 w 22"/>
                <a:gd name="T17" fmla="*/ 4 h 21"/>
                <a:gd name="T18" fmla="*/ 4 w 22"/>
                <a:gd name="T19" fmla="*/ 1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21">
                  <a:moveTo>
                    <a:pt x="22" y="21"/>
                  </a:moveTo>
                  <a:lnTo>
                    <a:pt x="0" y="21"/>
                  </a:lnTo>
                  <a:lnTo>
                    <a:pt x="0" y="0"/>
                  </a:lnTo>
                  <a:lnTo>
                    <a:pt x="22" y="0"/>
                  </a:lnTo>
                  <a:lnTo>
                    <a:pt x="22" y="21"/>
                  </a:lnTo>
                  <a:close/>
                  <a:moveTo>
                    <a:pt x="4" y="18"/>
                  </a:moveTo>
                  <a:lnTo>
                    <a:pt x="19" y="18"/>
                  </a:lnTo>
                  <a:lnTo>
                    <a:pt x="19" y="4"/>
                  </a:lnTo>
                  <a:lnTo>
                    <a:pt x="4" y="4"/>
                  </a:lnTo>
                  <a:lnTo>
                    <a:pt x="4" y="18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Freeform 149">
              <a:extLst>
                <a:ext uri="{FF2B5EF4-FFF2-40B4-BE49-F238E27FC236}">
                  <a16:creationId xmlns:a16="http://schemas.microsoft.com/office/drawing/2014/main" id="{C46FB29E-494C-C2F8-CBC4-FEFC5CCFDF6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45363" y="4416425"/>
              <a:ext cx="41275" cy="60325"/>
            </a:xfrm>
            <a:custGeom>
              <a:avLst/>
              <a:gdLst>
                <a:gd name="T0" fmla="*/ 0 w 26"/>
                <a:gd name="T1" fmla="*/ 5 h 38"/>
                <a:gd name="T2" fmla="*/ 10 w 26"/>
                <a:gd name="T3" fmla="*/ 5 h 38"/>
                <a:gd name="T4" fmla="*/ 10 w 26"/>
                <a:gd name="T5" fmla="*/ 38 h 38"/>
                <a:gd name="T6" fmla="*/ 16 w 26"/>
                <a:gd name="T7" fmla="*/ 38 h 38"/>
                <a:gd name="T8" fmla="*/ 16 w 26"/>
                <a:gd name="T9" fmla="*/ 5 h 38"/>
                <a:gd name="T10" fmla="*/ 26 w 26"/>
                <a:gd name="T11" fmla="*/ 5 h 38"/>
                <a:gd name="T12" fmla="*/ 26 w 26"/>
                <a:gd name="T13" fmla="*/ 0 h 38"/>
                <a:gd name="T14" fmla="*/ 0 w 26"/>
                <a:gd name="T15" fmla="*/ 0 h 38"/>
                <a:gd name="T16" fmla="*/ 0 w 26"/>
                <a:gd name="T17" fmla="*/ 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38">
                  <a:moveTo>
                    <a:pt x="0" y="5"/>
                  </a:moveTo>
                  <a:lnTo>
                    <a:pt x="10" y="5"/>
                  </a:lnTo>
                  <a:lnTo>
                    <a:pt x="10" y="38"/>
                  </a:lnTo>
                  <a:lnTo>
                    <a:pt x="16" y="38"/>
                  </a:lnTo>
                  <a:lnTo>
                    <a:pt x="16" y="5"/>
                  </a:lnTo>
                  <a:lnTo>
                    <a:pt x="26" y="5"/>
                  </a:lnTo>
                  <a:lnTo>
                    <a:pt x="26" y="0"/>
                  </a:lnTo>
                  <a:lnTo>
                    <a:pt x="0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Freeform 150">
              <a:extLst>
                <a:ext uri="{FF2B5EF4-FFF2-40B4-BE49-F238E27FC236}">
                  <a16:creationId xmlns:a16="http://schemas.microsoft.com/office/drawing/2014/main" id="{458322E4-9A7C-B9A9-2967-FEF4127AA8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94575" y="4416425"/>
              <a:ext cx="71438" cy="60325"/>
            </a:xfrm>
            <a:custGeom>
              <a:avLst/>
              <a:gdLst>
                <a:gd name="T0" fmla="*/ 123 w 209"/>
                <a:gd name="T1" fmla="*/ 99 h 180"/>
                <a:gd name="T2" fmla="*/ 201 w 209"/>
                <a:gd name="T3" fmla="*/ 99 h 180"/>
                <a:gd name="T4" fmla="*/ 201 w 209"/>
                <a:gd name="T5" fmla="*/ 75 h 180"/>
                <a:gd name="T6" fmla="*/ 123 w 209"/>
                <a:gd name="T7" fmla="*/ 75 h 180"/>
                <a:gd name="T8" fmla="*/ 123 w 209"/>
                <a:gd name="T9" fmla="*/ 24 h 180"/>
                <a:gd name="T10" fmla="*/ 207 w 209"/>
                <a:gd name="T11" fmla="*/ 24 h 180"/>
                <a:gd name="T12" fmla="*/ 207 w 209"/>
                <a:gd name="T13" fmla="*/ 0 h 180"/>
                <a:gd name="T14" fmla="*/ 87 w 209"/>
                <a:gd name="T15" fmla="*/ 0 h 180"/>
                <a:gd name="T16" fmla="*/ 6 w 209"/>
                <a:gd name="T17" fmla="*/ 118 h 180"/>
                <a:gd name="T18" fmla="*/ 0 w 209"/>
                <a:gd name="T19" fmla="*/ 138 h 180"/>
                <a:gd name="T20" fmla="*/ 0 w 209"/>
                <a:gd name="T21" fmla="*/ 180 h 180"/>
                <a:gd name="T22" fmla="*/ 27 w 209"/>
                <a:gd name="T23" fmla="*/ 180 h 180"/>
                <a:gd name="T24" fmla="*/ 27 w 209"/>
                <a:gd name="T25" fmla="*/ 138 h 180"/>
                <a:gd name="T26" fmla="*/ 95 w 209"/>
                <a:gd name="T27" fmla="*/ 138 h 180"/>
                <a:gd name="T28" fmla="*/ 95 w 209"/>
                <a:gd name="T29" fmla="*/ 180 h 180"/>
                <a:gd name="T30" fmla="*/ 209 w 209"/>
                <a:gd name="T31" fmla="*/ 180 h 180"/>
                <a:gd name="T32" fmla="*/ 209 w 209"/>
                <a:gd name="T33" fmla="*/ 155 h 180"/>
                <a:gd name="T34" fmla="*/ 123 w 209"/>
                <a:gd name="T35" fmla="*/ 155 h 180"/>
                <a:gd name="T36" fmla="*/ 123 w 209"/>
                <a:gd name="T37" fmla="*/ 99 h 180"/>
                <a:gd name="T38" fmla="*/ 95 w 209"/>
                <a:gd name="T39" fmla="*/ 31 h 180"/>
                <a:gd name="T40" fmla="*/ 95 w 209"/>
                <a:gd name="T41" fmla="*/ 114 h 180"/>
                <a:gd name="T42" fmla="*/ 39 w 209"/>
                <a:gd name="T43" fmla="*/ 114 h 180"/>
                <a:gd name="T44" fmla="*/ 95 w 209"/>
                <a:gd name="T45" fmla="*/ 31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9" h="180">
                  <a:moveTo>
                    <a:pt x="123" y="99"/>
                  </a:moveTo>
                  <a:cubicBezTo>
                    <a:pt x="201" y="99"/>
                    <a:pt x="201" y="99"/>
                    <a:pt x="201" y="99"/>
                  </a:cubicBezTo>
                  <a:cubicBezTo>
                    <a:pt x="201" y="75"/>
                    <a:pt x="201" y="75"/>
                    <a:pt x="201" y="75"/>
                  </a:cubicBezTo>
                  <a:cubicBezTo>
                    <a:pt x="123" y="75"/>
                    <a:pt x="123" y="75"/>
                    <a:pt x="123" y="75"/>
                  </a:cubicBezTo>
                  <a:cubicBezTo>
                    <a:pt x="123" y="24"/>
                    <a:pt x="123" y="24"/>
                    <a:pt x="123" y="24"/>
                  </a:cubicBezTo>
                  <a:cubicBezTo>
                    <a:pt x="207" y="24"/>
                    <a:pt x="207" y="24"/>
                    <a:pt x="207" y="24"/>
                  </a:cubicBezTo>
                  <a:cubicBezTo>
                    <a:pt x="207" y="0"/>
                    <a:pt x="207" y="0"/>
                    <a:pt x="207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6" y="118"/>
                    <a:pt x="6" y="118"/>
                    <a:pt x="6" y="118"/>
                  </a:cubicBezTo>
                  <a:cubicBezTo>
                    <a:pt x="2" y="124"/>
                    <a:pt x="0" y="130"/>
                    <a:pt x="0" y="138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27" y="180"/>
                    <a:pt x="27" y="180"/>
                    <a:pt x="27" y="180"/>
                  </a:cubicBezTo>
                  <a:cubicBezTo>
                    <a:pt x="27" y="138"/>
                    <a:pt x="27" y="138"/>
                    <a:pt x="27" y="138"/>
                  </a:cubicBezTo>
                  <a:cubicBezTo>
                    <a:pt x="95" y="138"/>
                    <a:pt x="95" y="138"/>
                    <a:pt x="95" y="138"/>
                  </a:cubicBezTo>
                  <a:cubicBezTo>
                    <a:pt x="95" y="180"/>
                    <a:pt x="95" y="180"/>
                    <a:pt x="95" y="180"/>
                  </a:cubicBezTo>
                  <a:cubicBezTo>
                    <a:pt x="209" y="180"/>
                    <a:pt x="209" y="180"/>
                    <a:pt x="209" y="180"/>
                  </a:cubicBezTo>
                  <a:cubicBezTo>
                    <a:pt x="209" y="155"/>
                    <a:pt x="209" y="155"/>
                    <a:pt x="209" y="155"/>
                  </a:cubicBezTo>
                  <a:cubicBezTo>
                    <a:pt x="123" y="155"/>
                    <a:pt x="123" y="155"/>
                    <a:pt x="123" y="155"/>
                  </a:cubicBezTo>
                  <a:lnTo>
                    <a:pt x="123" y="99"/>
                  </a:lnTo>
                  <a:close/>
                  <a:moveTo>
                    <a:pt x="95" y="31"/>
                  </a:moveTo>
                  <a:cubicBezTo>
                    <a:pt x="95" y="114"/>
                    <a:pt x="95" y="114"/>
                    <a:pt x="95" y="114"/>
                  </a:cubicBezTo>
                  <a:cubicBezTo>
                    <a:pt x="39" y="114"/>
                    <a:pt x="39" y="114"/>
                    <a:pt x="39" y="114"/>
                  </a:cubicBezTo>
                  <a:lnTo>
                    <a:pt x="95" y="31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Freeform 151">
              <a:extLst>
                <a:ext uri="{FF2B5EF4-FFF2-40B4-BE49-F238E27FC236}">
                  <a16:creationId xmlns:a16="http://schemas.microsoft.com/office/drawing/2014/main" id="{61A96BA0-0633-80A2-EB8B-BF1E5969655E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5063" y="4416425"/>
              <a:ext cx="41275" cy="60325"/>
            </a:xfrm>
            <a:custGeom>
              <a:avLst/>
              <a:gdLst>
                <a:gd name="T0" fmla="*/ 21 w 26"/>
                <a:gd name="T1" fmla="*/ 27 h 38"/>
                <a:gd name="T2" fmla="*/ 5 w 26"/>
                <a:gd name="T3" fmla="*/ 0 h 38"/>
                <a:gd name="T4" fmla="*/ 0 w 26"/>
                <a:gd name="T5" fmla="*/ 0 h 38"/>
                <a:gd name="T6" fmla="*/ 0 w 26"/>
                <a:gd name="T7" fmla="*/ 38 h 38"/>
                <a:gd name="T8" fmla="*/ 5 w 26"/>
                <a:gd name="T9" fmla="*/ 38 h 38"/>
                <a:gd name="T10" fmla="*/ 5 w 26"/>
                <a:gd name="T11" fmla="*/ 11 h 38"/>
                <a:gd name="T12" fmla="*/ 21 w 26"/>
                <a:gd name="T13" fmla="*/ 38 h 38"/>
                <a:gd name="T14" fmla="*/ 21 w 26"/>
                <a:gd name="T15" fmla="*/ 38 h 38"/>
                <a:gd name="T16" fmla="*/ 26 w 26"/>
                <a:gd name="T17" fmla="*/ 38 h 38"/>
                <a:gd name="T18" fmla="*/ 26 w 26"/>
                <a:gd name="T19" fmla="*/ 0 h 38"/>
                <a:gd name="T20" fmla="*/ 21 w 26"/>
                <a:gd name="T21" fmla="*/ 0 h 38"/>
                <a:gd name="T22" fmla="*/ 21 w 26"/>
                <a:gd name="T23" fmla="*/ 27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8">
                  <a:moveTo>
                    <a:pt x="21" y="27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38"/>
                  </a:lnTo>
                  <a:lnTo>
                    <a:pt x="5" y="38"/>
                  </a:lnTo>
                  <a:lnTo>
                    <a:pt x="5" y="11"/>
                  </a:lnTo>
                  <a:lnTo>
                    <a:pt x="21" y="38"/>
                  </a:lnTo>
                  <a:lnTo>
                    <a:pt x="21" y="38"/>
                  </a:lnTo>
                  <a:lnTo>
                    <a:pt x="26" y="38"/>
                  </a:lnTo>
                  <a:lnTo>
                    <a:pt x="26" y="0"/>
                  </a:lnTo>
                  <a:lnTo>
                    <a:pt x="21" y="0"/>
                  </a:lnTo>
                  <a:lnTo>
                    <a:pt x="21" y="27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Freeform 152">
              <a:extLst>
                <a:ext uri="{FF2B5EF4-FFF2-40B4-BE49-F238E27FC236}">
                  <a16:creationId xmlns:a16="http://schemas.microsoft.com/office/drawing/2014/main" id="{8F22D7CB-A499-A30E-6913-06E4587F7016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8563" y="4416425"/>
              <a:ext cx="42863" cy="60325"/>
            </a:xfrm>
            <a:custGeom>
              <a:avLst/>
              <a:gdLst>
                <a:gd name="T0" fmla="*/ 84 w 124"/>
                <a:gd name="T1" fmla="*/ 87 h 180"/>
                <a:gd name="T2" fmla="*/ 117 w 124"/>
                <a:gd name="T3" fmla="*/ 55 h 180"/>
                <a:gd name="T4" fmla="*/ 124 w 124"/>
                <a:gd name="T5" fmla="*/ 38 h 180"/>
                <a:gd name="T6" fmla="*/ 124 w 124"/>
                <a:gd name="T7" fmla="*/ 0 h 180"/>
                <a:gd name="T8" fmla="*/ 97 w 124"/>
                <a:gd name="T9" fmla="*/ 0 h 180"/>
                <a:gd name="T10" fmla="*/ 97 w 124"/>
                <a:gd name="T11" fmla="*/ 32 h 180"/>
                <a:gd name="T12" fmla="*/ 94 w 124"/>
                <a:gd name="T13" fmla="*/ 43 h 180"/>
                <a:gd name="T14" fmla="*/ 61 w 124"/>
                <a:gd name="T15" fmla="*/ 75 h 180"/>
                <a:gd name="T16" fmla="*/ 29 w 124"/>
                <a:gd name="T17" fmla="*/ 75 h 180"/>
                <a:gd name="T18" fmla="*/ 29 w 124"/>
                <a:gd name="T19" fmla="*/ 0 h 180"/>
                <a:gd name="T20" fmla="*/ 0 w 124"/>
                <a:gd name="T21" fmla="*/ 0 h 180"/>
                <a:gd name="T22" fmla="*/ 0 w 124"/>
                <a:gd name="T23" fmla="*/ 180 h 180"/>
                <a:gd name="T24" fmla="*/ 29 w 124"/>
                <a:gd name="T25" fmla="*/ 180 h 180"/>
                <a:gd name="T26" fmla="*/ 29 w 124"/>
                <a:gd name="T27" fmla="*/ 99 h 180"/>
                <a:gd name="T28" fmla="*/ 59 w 124"/>
                <a:gd name="T29" fmla="*/ 99 h 180"/>
                <a:gd name="T30" fmla="*/ 93 w 124"/>
                <a:gd name="T31" fmla="*/ 138 h 180"/>
                <a:gd name="T32" fmla="*/ 96 w 124"/>
                <a:gd name="T33" fmla="*/ 148 h 180"/>
                <a:gd name="T34" fmla="*/ 96 w 124"/>
                <a:gd name="T35" fmla="*/ 180 h 180"/>
                <a:gd name="T36" fmla="*/ 124 w 124"/>
                <a:gd name="T37" fmla="*/ 180 h 180"/>
                <a:gd name="T38" fmla="*/ 124 w 124"/>
                <a:gd name="T39" fmla="*/ 142 h 180"/>
                <a:gd name="T40" fmla="*/ 119 w 124"/>
                <a:gd name="T41" fmla="*/ 127 h 180"/>
                <a:gd name="T42" fmla="*/ 84 w 124"/>
                <a:gd name="T43" fmla="*/ 87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24" h="180">
                  <a:moveTo>
                    <a:pt x="84" y="87"/>
                  </a:moveTo>
                  <a:cubicBezTo>
                    <a:pt x="117" y="55"/>
                    <a:pt x="117" y="55"/>
                    <a:pt x="117" y="55"/>
                  </a:cubicBezTo>
                  <a:cubicBezTo>
                    <a:pt x="122" y="50"/>
                    <a:pt x="124" y="44"/>
                    <a:pt x="124" y="38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7" y="32"/>
                    <a:pt x="97" y="32"/>
                    <a:pt x="97" y="32"/>
                  </a:cubicBezTo>
                  <a:cubicBezTo>
                    <a:pt x="97" y="37"/>
                    <a:pt x="96" y="41"/>
                    <a:pt x="94" y="43"/>
                  </a:cubicBezTo>
                  <a:cubicBezTo>
                    <a:pt x="61" y="75"/>
                    <a:pt x="61" y="75"/>
                    <a:pt x="61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29" y="180"/>
                    <a:pt x="29" y="180"/>
                    <a:pt x="29" y="180"/>
                  </a:cubicBezTo>
                  <a:cubicBezTo>
                    <a:pt x="29" y="99"/>
                    <a:pt x="29" y="99"/>
                    <a:pt x="29" y="99"/>
                  </a:cubicBezTo>
                  <a:cubicBezTo>
                    <a:pt x="59" y="99"/>
                    <a:pt x="59" y="99"/>
                    <a:pt x="59" y="99"/>
                  </a:cubicBezTo>
                  <a:cubicBezTo>
                    <a:pt x="93" y="138"/>
                    <a:pt x="93" y="138"/>
                    <a:pt x="93" y="138"/>
                  </a:cubicBezTo>
                  <a:cubicBezTo>
                    <a:pt x="95" y="140"/>
                    <a:pt x="96" y="143"/>
                    <a:pt x="96" y="148"/>
                  </a:cubicBezTo>
                  <a:cubicBezTo>
                    <a:pt x="96" y="180"/>
                    <a:pt x="96" y="180"/>
                    <a:pt x="96" y="180"/>
                  </a:cubicBezTo>
                  <a:cubicBezTo>
                    <a:pt x="124" y="180"/>
                    <a:pt x="124" y="180"/>
                    <a:pt x="124" y="180"/>
                  </a:cubicBezTo>
                  <a:cubicBezTo>
                    <a:pt x="124" y="142"/>
                    <a:pt x="124" y="142"/>
                    <a:pt x="124" y="142"/>
                  </a:cubicBezTo>
                  <a:cubicBezTo>
                    <a:pt x="124" y="136"/>
                    <a:pt x="123" y="131"/>
                    <a:pt x="119" y="127"/>
                  </a:cubicBezTo>
                  <a:lnTo>
                    <a:pt x="84" y="87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Rectangle 153">
              <a:extLst>
                <a:ext uri="{FF2B5EF4-FFF2-40B4-BE49-F238E27FC236}">
                  <a16:creationId xmlns:a16="http://schemas.microsoft.com/office/drawing/2014/main" id="{661BBC97-24CD-0A66-B64B-7629F25417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40638" y="4416425"/>
              <a:ext cx="9525" cy="60325"/>
            </a:xfrm>
            <a:prstGeom prst="rect">
              <a:avLst/>
            </a:pr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Freeform 154">
              <a:extLst>
                <a:ext uri="{FF2B5EF4-FFF2-40B4-BE49-F238E27FC236}">
                  <a16:creationId xmlns:a16="http://schemas.microsoft.com/office/drawing/2014/main" id="{8E2BD34D-015C-60B1-78BA-2D5CBFFCD6C8}"/>
                </a:ext>
              </a:extLst>
            </p:cNvPr>
            <p:cNvSpPr>
              <a:spLocks/>
            </p:cNvSpPr>
            <p:nvPr/>
          </p:nvSpPr>
          <p:spPr bwMode="auto">
            <a:xfrm>
              <a:off x="7700963" y="4416425"/>
              <a:ext cx="42863" cy="60325"/>
            </a:xfrm>
            <a:custGeom>
              <a:avLst/>
              <a:gdLst>
                <a:gd name="T0" fmla="*/ 21 w 27"/>
                <a:gd name="T1" fmla="*/ 27 h 38"/>
                <a:gd name="T2" fmla="*/ 6 w 27"/>
                <a:gd name="T3" fmla="*/ 0 h 38"/>
                <a:gd name="T4" fmla="*/ 0 w 27"/>
                <a:gd name="T5" fmla="*/ 0 h 38"/>
                <a:gd name="T6" fmla="*/ 0 w 27"/>
                <a:gd name="T7" fmla="*/ 38 h 38"/>
                <a:gd name="T8" fmla="*/ 6 w 27"/>
                <a:gd name="T9" fmla="*/ 38 h 38"/>
                <a:gd name="T10" fmla="*/ 6 w 27"/>
                <a:gd name="T11" fmla="*/ 11 h 38"/>
                <a:gd name="T12" fmla="*/ 21 w 27"/>
                <a:gd name="T13" fmla="*/ 38 h 38"/>
                <a:gd name="T14" fmla="*/ 21 w 27"/>
                <a:gd name="T15" fmla="*/ 38 h 38"/>
                <a:gd name="T16" fmla="*/ 27 w 27"/>
                <a:gd name="T17" fmla="*/ 38 h 38"/>
                <a:gd name="T18" fmla="*/ 27 w 27"/>
                <a:gd name="T19" fmla="*/ 0 h 38"/>
                <a:gd name="T20" fmla="*/ 21 w 27"/>
                <a:gd name="T21" fmla="*/ 0 h 38"/>
                <a:gd name="T22" fmla="*/ 21 w 27"/>
                <a:gd name="T23" fmla="*/ 27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" h="38">
                  <a:moveTo>
                    <a:pt x="21" y="27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38"/>
                  </a:lnTo>
                  <a:lnTo>
                    <a:pt x="6" y="38"/>
                  </a:lnTo>
                  <a:lnTo>
                    <a:pt x="6" y="11"/>
                  </a:lnTo>
                  <a:lnTo>
                    <a:pt x="21" y="38"/>
                  </a:lnTo>
                  <a:lnTo>
                    <a:pt x="21" y="38"/>
                  </a:lnTo>
                  <a:lnTo>
                    <a:pt x="27" y="38"/>
                  </a:lnTo>
                  <a:lnTo>
                    <a:pt x="27" y="0"/>
                  </a:lnTo>
                  <a:lnTo>
                    <a:pt x="21" y="0"/>
                  </a:lnTo>
                  <a:lnTo>
                    <a:pt x="21" y="27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4" name="Freeform 155">
              <a:extLst>
                <a:ext uri="{FF2B5EF4-FFF2-40B4-BE49-F238E27FC236}">
                  <a16:creationId xmlns:a16="http://schemas.microsoft.com/office/drawing/2014/main" id="{D24DB89D-7BBA-1BD8-6359-FEDB20F7493B}"/>
                </a:ext>
              </a:extLst>
            </p:cNvPr>
            <p:cNvSpPr>
              <a:spLocks/>
            </p:cNvSpPr>
            <p:nvPr/>
          </p:nvSpPr>
          <p:spPr bwMode="auto">
            <a:xfrm>
              <a:off x="7762875" y="4416425"/>
              <a:ext cx="41275" cy="60325"/>
            </a:xfrm>
            <a:custGeom>
              <a:avLst/>
              <a:gdLst>
                <a:gd name="T0" fmla="*/ 97 w 125"/>
                <a:gd name="T1" fmla="*/ 32 h 180"/>
                <a:gd name="T2" fmla="*/ 94 w 125"/>
                <a:gd name="T3" fmla="*/ 44 h 180"/>
                <a:gd name="T4" fmla="*/ 63 w 125"/>
                <a:gd name="T5" fmla="*/ 91 h 180"/>
                <a:gd name="T6" fmla="*/ 31 w 125"/>
                <a:gd name="T7" fmla="*/ 43 h 180"/>
                <a:gd name="T8" fmla="*/ 28 w 125"/>
                <a:gd name="T9" fmla="*/ 31 h 180"/>
                <a:gd name="T10" fmla="*/ 28 w 125"/>
                <a:gd name="T11" fmla="*/ 0 h 180"/>
                <a:gd name="T12" fmla="*/ 0 w 125"/>
                <a:gd name="T13" fmla="*/ 0 h 180"/>
                <a:gd name="T14" fmla="*/ 0 w 125"/>
                <a:gd name="T15" fmla="*/ 34 h 180"/>
                <a:gd name="T16" fmla="*/ 5 w 125"/>
                <a:gd name="T17" fmla="*/ 51 h 180"/>
                <a:gd name="T18" fmla="*/ 48 w 125"/>
                <a:gd name="T19" fmla="*/ 117 h 180"/>
                <a:gd name="T20" fmla="*/ 48 w 125"/>
                <a:gd name="T21" fmla="*/ 180 h 180"/>
                <a:gd name="T22" fmla="*/ 77 w 125"/>
                <a:gd name="T23" fmla="*/ 180 h 180"/>
                <a:gd name="T24" fmla="*/ 77 w 125"/>
                <a:gd name="T25" fmla="*/ 116 h 180"/>
                <a:gd name="T26" fmla="*/ 120 w 125"/>
                <a:gd name="T27" fmla="*/ 51 h 180"/>
                <a:gd name="T28" fmla="*/ 125 w 125"/>
                <a:gd name="T29" fmla="*/ 34 h 180"/>
                <a:gd name="T30" fmla="*/ 125 w 125"/>
                <a:gd name="T31" fmla="*/ 0 h 180"/>
                <a:gd name="T32" fmla="*/ 97 w 125"/>
                <a:gd name="T33" fmla="*/ 0 h 180"/>
                <a:gd name="T34" fmla="*/ 97 w 125"/>
                <a:gd name="T35" fmla="*/ 3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5" h="180">
                  <a:moveTo>
                    <a:pt x="97" y="32"/>
                  </a:moveTo>
                  <a:cubicBezTo>
                    <a:pt x="97" y="37"/>
                    <a:pt x="96" y="41"/>
                    <a:pt x="94" y="44"/>
                  </a:cubicBezTo>
                  <a:cubicBezTo>
                    <a:pt x="63" y="91"/>
                    <a:pt x="63" y="91"/>
                    <a:pt x="63" y="91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29" y="40"/>
                    <a:pt x="28" y="36"/>
                    <a:pt x="28" y="31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41"/>
                    <a:pt x="2" y="47"/>
                    <a:pt x="5" y="51"/>
                  </a:cubicBezTo>
                  <a:cubicBezTo>
                    <a:pt x="48" y="117"/>
                    <a:pt x="48" y="117"/>
                    <a:pt x="48" y="117"/>
                  </a:cubicBezTo>
                  <a:cubicBezTo>
                    <a:pt x="48" y="180"/>
                    <a:pt x="48" y="180"/>
                    <a:pt x="48" y="180"/>
                  </a:cubicBezTo>
                  <a:cubicBezTo>
                    <a:pt x="77" y="180"/>
                    <a:pt x="77" y="180"/>
                    <a:pt x="77" y="180"/>
                  </a:cubicBezTo>
                  <a:cubicBezTo>
                    <a:pt x="77" y="116"/>
                    <a:pt x="77" y="116"/>
                    <a:pt x="77" y="116"/>
                  </a:cubicBezTo>
                  <a:cubicBezTo>
                    <a:pt x="120" y="51"/>
                    <a:pt x="120" y="51"/>
                    <a:pt x="120" y="51"/>
                  </a:cubicBezTo>
                  <a:cubicBezTo>
                    <a:pt x="123" y="46"/>
                    <a:pt x="125" y="40"/>
                    <a:pt x="125" y="34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97" y="0"/>
                    <a:pt x="97" y="0"/>
                    <a:pt x="97" y="0"/>
                  </a:cubicBezTo>
                  <a:lnTo>
                    <a:pt x="97" y="32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Freeform 156">
              <a:extLst>
                <a:ext uri="{FF2B5EF4-FFF2-40B4-BE49-F238E27FC236}">
                  <a16:creationId xmlns:a16="http://schemas.microsoft.com/office/drawing/2014/main" id="{D10444C7-3DE7-97D1-EE12-C8E62405260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3200" y="4416425"/>
              <a:ext cx="38100" cy="60325"/>
            </a:xfrm>
            <a:custGeom>
              <a:avLst/>
              <a:gdLst>
                <a:gd name="T0" fmla="*/ 6 w 24"/>
                <a:gd name="T1" fmla="*/ 21 h 38"/>
                <a:gd name="T2" fmla="*/ 23 w 24"/>
                <a:gd name="T3" fmla="*/ 21 h 38"/>
                <a:gd name="T4" fmla="*/ 23 w 24"/>
                <a:gd name="T5" fmla="*/ 16 h 38"/>
                <a:gd name="T6" fmla="*/ 6 w 24"/>
                <a:gd name="T7" fmla="*/ 16 h 38"/>
                <a:gd name="T8" fmla="*/ 6 w 24"/>
                <a:gd name="T9" fmla="*/ 5 h 38"/>
                <a:gd name="T10" fmla="*/ 24 w 24"/>
                <a:gd name="T11" fmla="*/ 5 h 38"/>
                <a:gd name="T12" fmla="*/ 24 w 24"/>
                <a:gd name="T13" fmla="*/ 0 h 38"/>
                <a:gd name="T14" fmla="*/ 0 w 24"/>
                <a:gd name="T15" fmla="*/ 0 h 38"/>
                <a:gd name="T16" fmla="*/ 0 w 24"/>
                <a:gd name="T17" fmla="*/ 38 h 38"/>
                <a:gd name="T18" fmla="*/ 24 w 24"/>
                <a:gd name="T19" fmla="*/ 38 h 38"/>
                <a:gd name="T20" fmla="*/ 24 w 24"/>
                <a:gd name="T21" fmla="*/ 33 h 38"/>
                <a:gd name="T22" fmla="*/ 6 w 24"/>
                <a:gd name="T23" fmla="*/ 33 h 38"/>
                <a:gd name="T24" fmla="*/ 6 w 24"/>
                <a:gd name="T25" fmla="*/ 2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38">
                  <a:moveTo>
                    <a:pt x="6" y="21"/>
                  </a:moveTo>
                  <a:lnTo>
                    <a:pt x="23" y="21"/>
                  </a:lnTo>
                  <a:lnTo>
                    <a:pt x="23" y="16"/>
                  </a:lnTo>
                  <a:lnTo>
                    <a:pt x="6" y="16"/>
                  </a:lnTo>
                  <a:lnTo>
                    <a:pt x="6" y="5"/>
                  </a:lnTo>
                  <a:lnTo>
                    <a:pt x="24" y="5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38"/>
                  </a:lnTo>
                  <a:lnTo>
                    <a:pt x="24" y="38"/>
                  </a:lnTo>
                  <a:lnTo>
                    <a:pt x="24" y="33"/>
                  </a:lnTo>
                  <a:lnTo>
                    <a:pt x="6" y="33"/>
                  </a:lnTo>
                  <a:lnTo>
                    <a:pt x="6" y="21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Freeform 157">
              <a:extLst>
                <a:ext uri="{FF2B5EF4-FFF2-40B4-BE49-F238E27FC236}">
                  <a16:creationId xmlns:a16="http://schemas.microsoft.com/office/drawing/2014/main" id="{DA01AF97-3A26-4C82-BEB8-81D448C4AE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10513" y="4416425"/>
              <a:ext cx="41275" cy="60325"/>
            </a:xfrm>
            <a:custGeom>
              <a:avLst/>
              <a:gdLst>
                <a:gd name="T0" fmla="*/ 118 w 119"/>
                <a:gd name="T1" fmla="*/ 71 h 180"/>
                <a:gd name="T2" fmla="*/ 118 w 119"/>
                <a:gd name="T3" fmla="*/ 39 h 180"/>
                <a:gd name="T4" fmla="*/ 79 w 119"/>
                <a:gd name="T5" fmla="*/ 0 h 180"/>
                <a:gd name="T6" fmla="*/ 0 w 119"/>
                <a:gd name="T7" fmla="*/ 0 h 180"/>
                <a:gd name="T8" fmla="*/ 0 w 119"/>
                <a:gd name="T9" fmla="*/ 180 h 180"/>
                <a:gd name="T10" fmla="*/ 28 w 119"/>
                <a:gd name="T11" fmla="*/ 180 h 180"/>
                <a:gd name="T12" fmla="*/ 28 w 119"/>
                <a:gd name="T13" fmla="*/ 109 h 180"/>
                <a:gd name="T14" fmla="*/ 65 w 119"/>
                <a:gd name="T15" fmla="*/ 109 h 180"/>
                <a:gd name="T16" fmla="*/ 89 w 119"/>
                <a:gd name="T17" fmla="*/ 179 h 180"/>
                <a:gd name="T18" fmla="*/ 89 w 119"/>
                <a:gd name="T19" fmla="*/ 180 h 180"/>
                <a:gd name="T20" fmla="*/ 119 w 119"/>
                <a:gd name="T21" fmla="*/ 180 h 180"/>
                <a:gd name="T22" fmla="*/ 94 w 119"/>
                <a:gd name="T23" fmla="*/ 108 h 180"/>
                <a:gd name="T24" fmla="*/ 118 w 119"/>
                <a:gd name="T25" fmla="*/ 71 h 180"/>
                <a:gd name="T26" fmla="*/ 28 w 119"/>
                <a:gd name="T27" fmla="*/ 24 h 180"/>
                <a:gd name="T28" fmla="*/ 77 w 119"/>
                <a:gd name="T29" fmla="*/ 24 h 180"/>
                <a:gd name="T30" fmla="*/ 90 w 119"/>
                <a:gd name="T31" fmla="*/ 37 h 180"/>
                <a:gd name="T32" fmla="*/ 90 w 119"/>
                <a:gd name="T33" fmla="*/ 72 h 180"/>
                <a:gd name="T34" fmla="*/ 77 w 119"/>
                <a:gd name="T35" fmla="*/ 85 h 180"/>
                <a:gd name="T36" fmla="*/ 28 w 119"/>
                <a:gd name="T37" fmla="*/ 85 h 180"/>
                <a:gd name="T38" fmla="*/ 28 w 119"/>
                <a:gd name="T39" fmla="*/ 2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9" h="180">
                  <a:moveTo>
                    <a:pt x="118" y="71"/>
                  </a:moveTo>
                  <a:cubicBezTo>
                    <a:pt x="118" y="39"/>
                    <a:pt x="118" y="39"/>
                    <a:pt x="118" y="39"/>
                  </a:cubicBezTo>
                  <a:cubicBezTo>
                    <a:pt x="118" y="13"/>
                    <a:pt x="105" y="0"/>
                    <a:pt x="7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28" y="180"/>
                    <a:pt x="28" y="180"/>
                    <a:pt x="28" y="180"/>
                  </a:cubicBezTo>
                  <a:cubicBezTo>
                    <a:pt x="28" y="109"/>
                    <a:pt x="28" y="109"/>
                    <a:pt x="28" y="109"/>
                  </a:cubicBezTo>
                  <a:cubicBezTo>
                    <a:pt x="65" y="109"/>
                    <a:pt x="65" y="109"/>
                    <a:pt x="65" y="109"/>
                  </a:cubicBezTo>
                  <a:cubicBezTo>
                    <a:pt x="89" y="179"/>
                    <a:pt x="89" y="179"/>
                    <a:pt x="89" y="179"/>
                  </a:cubicBezTo>
                  <a:cubicBezTo>
                    <a:pt x="89" y="180"/>
                    <a:pt x="89" y="180"/>
                    <a:pt x="89" y="180"/>
                  </a:cubicBezTo>
                  <a:cubicBezTo>
                    <a:pt x="119" y="180"/>
                    <a:pt x="119" y="180"/>
                    <a:pt x="119" y="180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110" y="103"/>
                    <a:pt x="118" y="91"/>
                    <a:pt x="118" y="71"/>
                  </a:cubicBezTo>
                  <a:close/>
                  <a:moveTo>
                    <a:pt x="28" y="24"/>
                  </a:moveTo>
                  <a:cubicBezTo>
                    <a:pt x="77" y="24"/>
                    <a:pt x="77" y="24"/>
                    <a:pt x="77" y="24"/>
                  </a:cubicBezTo>
                  <a:cubicBezTo>
                    <a:pt x="86" y="24"/>
                    <a:pt x="90" y="28"/>
                    <a:pt x="90" y="37"/>
                  </a:cubicBezTo>
                  <a:cubicBezTo>
                    <a:pt x="90" y="72"/>
                    <a:pt x="90" y="72"/>
                    <a:pt x="90" y="72"/>
                  </a:cubicBezTo>
                  <a:cubicBezTo>
                    <a:pt x="90" y="80"/>
                    <a:pt x="86" y="85"/>
                    <a:pt x="77" y="85"/>
                  </a:cubicBezTo>
                  <a:cubicBezTo>
                    <a:pt x="28" y="85"/>
                    <a:pt x="28" y="85"/>
                    <a:pt x="28" y="85"/>
                  </a:cubicBezTo>
                  <a:lnTo>
                    <a:pt x="28" y="24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Freeform 158">
              <a:extLst>
                <a:ext uri="{FF2B5EF4-FFF2-40B4-BE49-F238E27FC236}">
                  <a16:creationId xmlns:a16="http://schemas.microsoft.com/office/drawing/2014/main" id="{FBFF9BB2-BEB3-1B8F-191D-676BC5EEDB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67663" y="4414838"/>
              <a:ext cx="42863" cy="61912"/>
            </a:xfrm>
            <a:custGeom>
              <a:avLst/>
              <a:gdLst>
                <a:gd name="T0" fmla="*/ 78 w 127"/>
                <a:gd name="T1" fmla="*/ 1 h 181"/>
                <a:gd name="T2" fmla="*/ 78 w 127"/>
                <a:gd name="T3" fmla="*/ 0 h 181"/>
                <a:gd name="T4" fmla="*/ 49 w 127"/>
                <a:gd name="T5" fmla="*/ 0 h 181"/>
                <a:gd name="T6" fmla="*/ 3 w 127"/>
                <a:gd name="T7" fmla="*/ 123 h 181"/>
                <a:gd name="T8" fmla="*/ 0 w 127"/>
                <a:gd name="T9" fmla="*/ 139 h 181"/>
                <a:gd name="T10" fmla="*/ 0 w 127"/>
                <a:gd name="T11" fmla="*/ 181 h 181"/>
                <a:gd name="T12" fmla="*/ 27 w 127"/>
                <a:gd name="T13" fmla="*/ 181 h 181"/>
                <a:gd name="T14" fmla="*/ 27 w 127"/>
                <a:gd name="T15" fmla="*/ 139 h 181"/>
                <a:gd name="T16" fmla="*/ 99 w 127"/>
                <a:gd name="T17" fmla="*/ 139 h 181"/>
                <a:gd name="T18" fmla="*/ 99 w 127"/>
                <a:gd name="T19" fmla="*/ 142 h 181"/>
                <a:gd name="T20" fmla="*/ 99 w 127"/>
                <a:gd name="T21" fmla="*/ 181 h 181"/>
                <a:gd name="T22" fmla="*/ 127 w 127"/>
                <a:gd name="T23" fmla="*/ 181 h 181"/>
                <a:gd name="T24" fmla="*/ 127 w 127"/>
                <a:gd name="T25" fmla="*/ 139 h 181"/>
                <a:gd name="T26" fmla="*/ 124 w 127"/>
                <a:gd name="T27" fmla="*/ 123 h 181"/>
                <a:gd name="T28" fmla="*/ 78 w 127"/>
                <a:gd name="T29" fmla="*/ 1 h 181"/>
                <a:gd name="T30" fmla="*/ 92 w 127"/>
                <a:gd name="T31" fmla="*/ 115 h 181"/>
                <a:gd name="T32" fmla="*/ 34 w 127"/>
                <a:gd name="T33" fmla="*/ 115 h 181"/>
                <a:gd name="T34" fmla="*/ 63 w 127"/>
                <a:gd name="T35" fmla="*/ 32 h 181"/>
                <a:gd name="T36" fmla="*/ 92 w 127"/>
                <a:gd name="T37" fmla="*/ 115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7" h="181">
                  <a:moveTo>
                    <a:pt x="78" y="1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3" y="123"/>
                    <a:pt x="3" y="123"/>
                    <a:pt x="3" y="123"/>
                  </a:cubicBezTo>
                  <a:cubicBezTo>
                    <a:pt x="1" y="128"/>
                    <a:pt x="0" y="133"/>
                    <a:pt x="0" y="139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27" y="181"/>
                    <a:pt x="27" y="181"/>
                    <a:pt x="27" y="181"/>
                  </a:cubicBezTo>
                  <a:cubicBezTo>
                    <a:pt x="27" y="139"/>
                    <a:pt x="27" y="139"/>
                    <a:pt x="27" y="139"/>
                  </a:cubicBezTo>
                  <a:cubicBezTo>
                    <a:pt x="99" y="139"/>
                    <a:pt x="99" y="139"/>
                    <a:pt x="99" y="139"/>
                  </a:cubicBezTo>
                  <a:cubicBezTo>
                    <a:pt x="99" y="140"/>
                    <a:pt x="99" y="141"/>
                    <a:pt x="99" y="142"/>
                  </a:cubicBezTo>
                  <a:cubicBezTo>
                    <a:pt x="99" y="181"/>
                    <a:pt x="99" y="181"/>
                    <a:pt x="99" y="181"/>
                  </a:cubicBezTo>
                  <a:cubicBezTo>
                    <a:pt x="127" y="181"/>
                    <a:pt x="127" y="181"/>
                    <a:pt x="127" y="181"/>
                  </a:cubicBezTo>
                  <a:cubicBezTo>
                    <a:pt x="127" y="139"/>
                    <a:pt x="127" y="139"/>
                    <a:pt x="127" y="139"/>
                  </a:cubicBezTo>
                  <a:cubicBezTo>
                    <a:pt x="127" y="132"/>
                    <a:pt x="126" y="127"/>
                    <a:pt x="124" y="123"/>
                  </a:cubicBezTo>
                  <a:lnTo>
                    <a:pt x="78" y="1"/>
                  </a:lnTo>
                  <a:close/>
                  <a:moveTo>
                    <a:pt x="92" y="115"/>
                  </a:moveTo>
                  <a:cubicBezTo>
                    <a:pt x="34" y="115"/>
                    <a:pt x="34" y="115"/>
                    <a:pt x="34" y="115"/>
                  </a:cubicBezTo>
                  <a:cubicBezTo>
                    <a:pt x="63" y="32"/>
                    <a:pt x="63" y="32"/>
                    <a:pt x="63" y="32"/>
                  </a:cubicBezTo>
                  <a:lnTo>
                    <a:pt x="92" y="115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Freeform 159">
              <a:extLst>
                <a:ext uri="{FF2B5EF4-FFF2-40B4-BE49-F238E27FC236}">
                  <a16:creationId xmlns:a16="http://schemas.microsoft.com/office/drawing/2014/main" id="{9A459847-2793-F7E6-27EB-1AAE5F4AC795}"/>
                </a:ext>
              </a:extLst>
            </p:cNvPr>
            <p:cNvSpPr>
              <a:spLocks/>
            </p:cNvSpPr>
            <p:nvPr/>
          </p:nvSpPr>
          <p:spPr bwMode="auto">
            <a:xfrm>
              <a:off x="8029575" y="4416425"/>
              <a:ext cx="50800" cy="60325"/>
            </a:xfrm>
            <a:custGeom>
              <a:avLst/>
              <a:gdLst>
                <a:gd name="T0" fmla="*/ 16 w 32"/>
                <a:gd name="T1" fmla="*/ 19 h 38"/>
                <a:gd name="T2" fmla="*/ 6 w 32"/>
                <a:gd name="T3" fmla="*/ 0 h 38"/>
                <a:gd name="T4" fmla="*/ 6 w 32"/>
                <a:gd name="T5" fmla="*/ 0 h 38"/>
                <a:gd name="T6" fmla="*/ 0 w 32"/>
                <a:gd name="T7" fmla="*/ 0 h 38"/>
                <a:gd name="T8" fmla="*/ 0 w 32"/>
                <a:gd name="T9" fmla="*/ 38 h 38"/>
                <a:gd name="T10" fmla="*/ 6 w 32"/>
                <a:gd name="T11" fmla="*/ 38 h 38"/>
                <a:gd name="T12" fmla="*/ 6 w 32"/>
                <a:gd name="T13" fmla="*/ 11 h 38"/>
                <a:gd name="T14" fmla="*/ 14 w 32"/>
                <a:gd name="T15" fmla="*/ 26 h 38"/>
                <a:gd name="T16" fmla="*/ 18 w 32"/>
                <a:gd name="T17" fmla="*/ 26 h 38"/>
                <a:gd name="T18" fmla="*/ 26 w 32"/>
                <a:gd name="T19" fmla="*/ 11 h 38"/>
                <a:gd name="T20" fmla="*/ 26 w 32"/>
                <a:gd name="T21" fmla="*/ 38 h 38"/>
                <a:gd name="T22" fmla="*/ 32 w 32"/>
                <a:gd name="T23" fmla="*/ 38 h 38"/>
                <a:gd name="T24" fmla="*/ 32 w 32"/>
                <a:gd name="T25" fmla="*/ 0 h 38"/>
                <a:gd name="T26" fmla="*/ 26 w 32"/>
                <a:gd name="T27" fmla="*/ 0 h 38"/>
                <a:gd name="T28" fmla="*/ 16 w 32"/>
                <a:gd name="T29" fmla="*/ 1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38">
                  <a:moveTo>
                    <a:pt x="16" y="19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8"/>
                  </a:lnTo>
                  <a:lnTo>
                    <a:pt x="6" y="38"/>
                  </a:lnTo>
                  <a:lnTo>
                    <a:pt x="6" y="11"/>
                  </a:lnTo>
                  <a:lnTo>
                    <a:pt x="14" y="26"/>
                  </a:lnTo>
                  <a:lnTo>
                    <a:pt x="18" y="26"/>
                  </a:lnTo>
                  <a:lnTo>
                    <a:pt x="26" y="11"/>
                  </a:lnTo>
                  <a:lnTo>
                    <a:pt x="26" y="38"/>
                  </a:lnTo>
                  <a:lnTo>
                    <a:pt x="32" y="38"/>
                  </a:lnTo>
                  <a:lnTo>
                    <a:pt x="32" y="0"/>
                  </a:lnTo>
                  <a:lnTo>
                    <a:pt x="26" y="0"/>
                  </a:lnTo>
                  <a:lnTo>
                    <a:pt x="16" y="19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Freeform 160">
              <a:extLst>
                <a:ext uri="{FF2B5EF4-FFF2-40B4-BE49-F238E27FC236}">
                  <a16:creationId xmlns:a16="http://schemas.microsoft.com/office/drawing/2014/main" id="{4F03F807-9F39-A24E-0309-0382519287E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2600" y="4416425"/>
              <a:ext cx="50800" cy="60325"/>
            </a:xfrm>
            <a:custGeom>
              <a:avLst/>
              <a:gdLst>
                <a:gd name="T0" fmla="*/ 16 w 32"/>
                <a:gd name="T1" fmla="*/ 19 h 38"/>
                <a:gd name="T2" fmla="*/ 6 w 32"/>
                <a:gd name="T3" fmla="*/ 0 h 38"/>
                <a:gd name="T4" fmla="*/ 6 w 32"/>
                <a:gd name="T5" fmla="*/ 0 h 38"/>
                <a:gd name="T6" fmla="*/ 0 w 32"/>
                <a:gd name="T7" fmla="*/ 0 h 38"/>
                <a:gd name="T8" fmla="*/ 0 w 32"/>
                <a:gd name="T9" fmla="*/ 38 h 38"/>
                <a:gd name="T10" fmla="*/ 5 w 32"/>
                <a:gd name="T11" fmla="*/ 38 h 38"/>
                <a:gd name="T12" fmla="*/ 5 w 32"/>
                <a:gd name="T13" fmla="*/ 11 h 38"/>
                <a:gd name="T14" fmla="*/ 14 w 32"/>
                <a:gd name="T15" fmla="*/ 26 h 38"/>
                <a:gd name="T16" fmla="*/ 18 w 32"/>
                <a:gd name="T17" fmla="*/ 26 h 38"/>
                <a:gd name="T18" fmla="*/ 26 w 32"/>
                <a:gd name="T19" fmla="*/ 11 h 38"/>
                <a:gd name="T20" fmla="*/ 26 w 32"/>
                <a:gd name="T21" fmla="*/ 38 h 38"/>
                <a:gd name="T22" fmla="*/ 32 w 32"/>
                <a:gd name="T23" fmla="*/ 38 h 38"/>
                <a:gd name="T24" fmla="*/ 32 w 32"/>
                <a:gd name="T25" fmla="*/ 0 h 38"/>
                <a:gd name="T26" fmla="*/ 26 w 32"/>
                <a:gd name="T27" fmla="*/ 0 h 38"/>
                <a:gd name="T28" fmla="*/ 16 w 32"/>
                <a:gd name="T29" fmla="*/ 1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38">
                  <a:moveTo>
                    <a:pt x="16" y="19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8"/>
                  </a:lnTo>
                  <a:lnTo>
                    <a:pt x="5" y="38"/>
                  </a:lnTo>
                  <a:lnTo>
                    <a:pt x="5" y="11"/>
                  </a:lnTo>
                  <a:lnTo>
                    <a:pt x="14" y="26"/>
                  </a:lnTo>
                  <a:lnTo>
                    <a:pt x="18" y="26"/>
                  </a:lnTo>
                  <a:lnTo>
                    <a:pt x="26" y="11"/>
                  </a:lnTo>
                  <a:lnTo>
                    <a:pt x="26" y="38"/>
                  </a:lnTo>
                  <a:lnTo>
                    <a:pt x="32" y="38"/>
                  </a:lnTo>
                  <a:lnTo>
                    <a:pt x="32" y="0"/>
                  </a:lnTo>
                  <a:lnTo>
                    <a:pt x="26" y="0"/>
                  </a:lnTo>
                  <a:lnTo>
                    <a:pt x="16" y="19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Freeform 161">
              <a:extLst>
                <a:ext uri="{FF2B5EF4-FFF2-40B4-BE49-F238E27FC236}">
                  <a16:creationId xmlns:a16="http://schemas.microsoft.com/office/drawing/2014/main" id="{19B2F065-4B6C-1856-38CE-29B256930CAC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5625" y="4416425"/>
              <a:ext cx="38100" cy="60325"/>
            </a:xfrm>
            <a:custGeom>
              <a:avLst/>
              <a:gdLst>
                <a:gd name="T0" fmla="*/ 6 w 24"/>
                <a:gd name="T1" fmla="*/ 21 h 38"/>
                <a:gd name="T2" fmla="*/ 22 w 24"/>
                <a:gd name="T3" fmla="*/ 21 h 38"/>
                <a:gd name="T4" fmla="*/ 22 w 24"/>
                <a:gd name="T5" fmla="*/ 16 h 38"/>
                <a:gd name="T6" fmla="*/ 6 w 24"/>
                <a:gd name="T7" fmla="*/ 16 h 38"/>
                <a:gd name="T8" fmla="*/ 6 w 24"/>
                <a:gd name="T9" fmla="*/ 5 h 38"/>
                <a:gd name="T10" fmla="*/ 24 w 24"/>
                <a:gd name="T11" fmla="*/ 5 h 38"/>
                <a:gd name="T12" fmla="*/ 24 w 24"/>
                <a:gd name="T13" fmla="*/ 0 h 38"/>
                <a:gd name="T14" fmla="*/ 0 w 24"/>
                <a:gd name="T15" fmla="*/ 0 h 38"/>
                <a:gd name="T16" fmla="*/ 0 w 24"/>
                <a:gd name="T17" fmla="*/ 38 h 38"/>
                <a:gd name="T18" fmla="*/ 24 w 24"/>
                <a:gd name="T19" fmla="*/ 38 h 38"/>
                <a:gd name="T20" fmla="*/ 24 w 24"/>
                <a:gd name="T21" fmla="*/ 33 h 38"/>
                <a:gd name="T22" fmla="*/ 6 w 24"/>
                <a:gd name="T23" fmla="*/ 33 h 38"/>
                <a:gd name="T24" fmla="*/ 6 w 24"/>
                <a:gd name="T25" fmla="*/ 2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38">
                  <a:moveTo>
                    <a:pt x="6" y="21"/>
                  </a:moveTo>
                  <a:lnTo>
                    <a:pt x="22" y="21"/>
                  </a:lnTo>
                  <a:lnTo>
                    <a:pt x="22" y="16"/>
                  </a:lnTo>
                  <a:lnTo>
                    <a:pt x="6" y="16"/>
                  </a:lnTo>
                  <a:lnTo>
                    <a:pt x="6" y="5"/>
                  </a:lnTo>
                  <a:lnTo>
                    <a:pt x="24" y="5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38"/>
                  </a:lnTo>
                  <a:lnTo>
                    <a:pt x="24" y="38"/>
                  </a:lnTo>
                  <a:lnTo>
                    <a:pt x="24" y="33"/>
                  </a:lnTo>
                  <a:lnTo>
                    <a:pt x="6" y="33"/>
                  </a:lnTo>
                  <a:lnTo>
                    <a:pt x="6" y="21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Freeform 162">
              <a:extLst>
                <a:ext uri="{FF2B5EF4-FFF2-40B4-BE49-F238E27FC236}">
                  <a16:creationId xmlns:a16="http://schemas.microsoft.com/office/drawing/2014/main" id="{73D412D7-939F-D1F7-9AA4-BE9442872D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32775" y="4416425"/>
              <a:ext cx="41275" cy="60325"/>
            </a:xfrm>
            <a:custGeom>
              <a:avLst/>
              <a:gdLst>
                <a:gd name="T0" fmla="*/ 94 w 120"/>
                <a:gd name="T1" fmla="*/ 108 h 180"/>
                <a:gd name="T2" fmla="*/ 119 w 120"/>
                <a:gd name="T3" fmla="*/ 71 h 180"/>
                <a:gd name="T4" fmla="*/ 119 w 120"/>
                <a:gd name="T5" fmla="*/ 39 h 180"/>
                <a:gd name="T6" fmla="*/ 80 w 120"/>
                <a:gd name="T7" fmla="*/ 0 h 180"/>
                <a:gd name="T8" fmla="*/ 0 w 120"/>
                <a:gd name="T9" fmla="*/ 0 h 180"/>
                <a:gd name="T10" fmla="*/ 0 w 120"/>
                <a:gd name="T11" fmla="*/ 180 h 180"/>
                <a:gd name="T12" fmla="*/ 28 w 120"/>
                <a:gd name="T13" fmla="*/ 180 h 180"/>
                <a:gd name="T14" fmla="*/ 28 w 120"/>
                <a:gd name="T15" fmla="*/ 109 h 180"/>
                <a:gd name="T16" fmla="*/ 66 w 120"/>
                <a:gd name="T17" fmla="*/ 109 h 180"/>
                <a:gd name="T18" fmla="*/ 89 w 120"/>
                <a:gd name="T19" fmla="*/ 179 h 180"/>
                <a:gd name="T20" fmla="*/ 89 w 120"/>
                <a:gd name="T21" fmla="*/ 180 h 180"/>
                <a:gd name="T22" fmla="*/ 120 w 120"/>
                <a:gd name="T23" fmla="*/ 180 h 180"/>
                <a:gd name="T24" fmla="*/ 94 w 120"/>
                <a:gd name="T25" fmla="*/ 108 h 180"/>
                <a:gd name="T26" fmla="*/ 28 w 120"/>
                <a:gd name="T27" fmla="*/ 24 h 180"/>
                <a:gd name="T28" fmla="*/ 78 w 120"/>
                <a:gd name="T29" fmla="*/ 24 h 180"/>
                <a:gd name="T30" fmla="*/ 90 w 120"/>
                <a:gd name="T31" fmla="*/ 37 h 180"/>
                <a:gd name="T32" fmla="*/ 90 w 120"/>
                <a:gd name="T33" fmla="*/ 72 h 180"/>
                <a:gd name="T34" fmla="*/ 78 w 120"/>
                <a:gd name="T35" fmla="*/ 85 h 180"/>
                <a:gd name="T36" fmla="*/ 28 w 120"/>
                <a:gd name="T37" fmla="*/ 85 h 180"/>
                <a:gd name="T38" fmla="*/ 28 w 120"/>
                <a:gd name="T39" fmla="*/ 2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0" h="180">
                  <a:moveTo>
                    <a:pt x="94" y="108"/>
                  </a:moveTo>
                  <a:cubicBezTo>
                    <a:pt x="110" y="103"/>
                    <a:pt x="119" y="91"/>
                    <a:pt x="119" y="71"/>
                  </a:cubicBezTo>
                  <a:cubicBezTo>
                    <a:pt x="119" y="39"/>
                    <a:pt x="119" y="39"/>
                    <a:pt x="119" y="39"/>
                  </a:cubicBezTo>
                  <a:cubicBezTo>
                    <a:pt x="119" y="13"/>
                    <a:pt x="105" y="0"/>
                    <a:pt x="8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28" y="180"/>
                    <a:pt x="28" y="180"/>
                    <a:pt x="28" y="180"/>
                  </a:cubicBezTo>
                  <a:cubicBezTo>
                    <a:pt x="28" y="109"/>
                    <a:pt x="28" y="109"/>
                    <a:pt x="28" y="109"/>
                  </a:cubicBezTo>
                  <a:cubicBezTo>
                    <a:pt x="66" y="109"/>
                    <a:pt x="66" y="109"/>
                    <a:pt x="66" y="109"/>
                  </a:cubicBezTo>
                  <a:cubicBezTo>
                    <a:pt x="89" y="179"/>
                    <a:pt x="89" y="179"/>
                    <a:pt x="89" y="179"/>
                  </a:cubicBezTo>
                  <a:cubicBezTo>
                    <a:pt x="89" y="180"/>
                    <a:pt x="89" y="180"/>
                    <a:pt x="89" y="180"/>
                  </a:cubicBezTo>
                  <a:cubicBezTo>
                    <a:pt x="120" y="180"/>
                    <a:pt x="120" y="180"/>
                    <a:pt x="120" y="180"/>
                  </a:cubicBezTo>
                  <a:lnTo>
                    <a:pt x="94" y="108"/>
                  </a:lnTo>
                  <a:close/>
                  <a:moveTo>
                    <a:pt x="28" y="24"/>
                  </a:moveTo>
                  <a:cubicBezTo>
                    <a:pt x="78" y="24"/>
                    <a:pt x="78" y="24"/>
                    <a:pt x="78" y="24"/>
                  </a:cubicBezTo>
                  <a:cubicBezTo>
                    <a:pt x="86" y="24"/>
                    <a:pt x="90" y="28"/>
                    <a:pt x="90" y="37"/>
                  </a:cubicBezTo>
                  <a:cubicBezTo>
                    <a:pt x="90" y="72"/>
                    <a:pt x="90" y="72"/>
                    <a:pt x="90" y="72"/>
                  </a:cubicBezTo>
                  <a:cubicBezTo>
                    <a:pt x="90" y="80"/>
                    <a:pt x="86" y="85"/>
                    <a:pt x="78" y="85"/>
                  </a:cubicBezTo>
                  <a:cubicBezTo>
                    <a:pt x="28" y="85"/>
                    <a:pt x="28" y="85"/>
                    <a:pt x="28" y="85"/>
                  </a:cubicBezTo>
                  <a:lnTo>
                    <a:pt x="28" y="24"/>
                  </a:lnTo>
                  <a:close/>
                </a:path>
              </a:pathLst>
            </a:custGeom>
            <a:solidFill>
              <a:srgbClr val="1D1D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" name="Rektangel 1">
            <a:extLst>
              <a:ext uri="{FF2B5EF4-FFF2-40B4-BE49-F238E27FC236}">
                <a16:creationId xmlns:a16="http://schemas.microsoft.com/office/drawing/2014/main" id="{C2CCACB1-D312-6BDA-9B8C-7D137D11F0D2}"/>
              </a:ext>
            </a:extLst>
          </p:cNvPr>
          <p:cNvSpPr/>
          <p:nvPr/>
        </p:nvSpPr>
        <p:spPr>
          <a:xfrm>
            <a:off x="4914501" y="4149080"/>
            <a:ext cx="1152395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tabLst>
                <a:tab pos="3141663" algn="r"/>
              </a:tabLst>
            </a:pPr>
            <a:r>
              <a:rPr lang="da-DK" b="1" dirty="0">
                <a:solidFill>
                  <a:schemeClr val="accent1"/>
                </a:solidFill>
              </a:rPr>
              <a:t>-8,8%</a:t>
            </a:r>
            <a:br>
              <a:rPr lang="da-DK" b="1" dirty="0">
                <a:solidFill>
                  <a:schemeClr val="accent1"/>
                </a:solidFill>
              </a:rPr>
            </a:br>
            <a:r>
              <a:rPr lang="da-DK" sz="900" dirty="0">
                <a:solidFill>
                  <a:srgbClr val="58595B"/>
                </a:solidFill>
              </a:rPr>
              <a:t>Overskudsgrad</a:t>
            </a:r>
            <a:endParaRPr lang="da-DK" dirty="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440CF415-9E5A-05C0-3783-ECA5AD6EC103}"/>
              </a:ext>
            </a:extLst>
          </p:cNvPr>
          <p:cNvSpPr/>
          <p:nvPr/>
        </p:nvSpPr>
        <p:spPr>
          <a:xfrm>
            <a:off x="10512201" y="3425225"/>
            <a:ext cx="1220525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tabLst>
                <a:tab pos="3141663" algn="r"/>
              </a:tabLst>
            </a:pPr>
            <a:r>
              <a:rPr lang="da-DK" b="1" dirty="0">
                <a:solidFill>
                  <a:schemeClr val="accent1"/>
                </a:solidFill>
              </a:rPr>
              <a:t>-1%</a:t>
            </a:r>
          </a:p>
          <a:p>
            <a:pPr algn="ctr">
              <a:tabLst>
                <a:tab pos="3141663" algn="r"/>
              </a:tabLst>
            </a:pPr>
            <a:r>
              <a:rPr lang="da-DK" sz="900" dirty="0">
                <a:solidFill>
                  <a:srgbClr val="58595B"/>
                </a:solidFill>
              </a:rPr>
              <a:t>Omsætningsvækst</a:t>
            </a:r>
            <a:endParaRPr lang="da-DK" dirty="0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FA756000-5785-FA7D-F4C7-1E01DA067A71}"/>
              </a:ext>
            </a:extLst>
          </p:cNvPr>
          <p:cNvSpPr/>
          <p:nvPr/>
        </p:nvSpPr>
        <p:spPr>
          <a:xfrm>
            <a:off x="10541702" y="4149080"/>
            <a:ext cx="1152395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tabLst>
                <a:tab pos="3141663" algn="r"/>
              </a:tabLst>
            </a:pPr>
            <a:r>
              <a:rPr lang="da-DK" b="1" dirty="0">
                <a:solidFill>
                  <a:schemeClr val="accent1"/>
                </a:solidFill>
              </a:rPr>
              <a:t>0,0%</a:t>
            </a:r>
            <a:br>
              <a:rPr lang="da-DK" b="1" dirty="0">
                <a:solidFill>
                  <a:schemeClr val="accent1"/>
                </a:solidFill>
              </a:rPr>
            </a:br>
            <a:r>
              <a:rPr lang="da-DK" sz="900" dirty="0">
                <a:solidFill>
                  <a:srgbClr val="58595B"/>
                </a:solidFill>
              </a:rPr>
              <a:t>Overskudsgrad</a:t>
            </a:r>
            <a:endParaRPr lang="da-DK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D94A8C7D-A386-26B8-4950-42DA09E3434E}"/>
              </a:ext>
            </a:extLst>
          </p:cNvPr>
          <p:cNvSpPr/>
          <p:nvPr/>
        </p:nvSpPr>
        <p:spPr>
          <a:xfrm>
            <a:off x="4890550" y="2964555"/>
            <a:ext cx="1220525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tabLst>
                <a:tab pos="3141663" algn="r"/>
              </a:tabLst>
            </a:pPr>
            <a:r>
              <a:rPr lang="da-DK" sz="900" dirty="0">
                <a:solidFill>
                  <a:srgbClr val="58595B"/>
                </a:solidFill>
              </a:rPr>
              <a:t>Andel af omsætning</a:t>
            </a:r>
            <a:endParaRPr lang="da-DK" dirty="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45495A40-C42B-79E4-1A5B-5046CAD5DA48}"/>
              </a:ext>
            </a:extLst>
          </p:cNvPr>
          <p:cNvSpPr/>
          <p:nvPr/>
        </p:nvSpPr>
        <p:spPr>
          <a:xfrm>
            <a:off x="10541702" y="2961329"/>
            <a:ext cx="1220525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tabLst>
                <a:tab pos="3141663" algn="r"/>
              </a:tabLst>
            </a:pPr>
            <a:r>
              <a:rPr lang="da-DK" sz="900" dirty="0">
                <a:solidFill>
                  <a:srgbClr val="58595B"/>
                </a:solidFill>
              </a:rPr>
              <a:t>Andel af omsætning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0517978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ECDAC06-AF7D-471A-83BD-9B1FB896F4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Udvalgte, endelige ordrer indgået i 2. kvartal 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9357C33F-91D0-45EA-99A7-1519599818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9</a:t>
            </a:fld>
            <a:endParaRPr lang="da-DK" dirty="0"/>
          </a:p>
        </p:txBody>
      </p:sp>
      <p:sp>
        <p:nvSpPr>
          <p:cNvPr id="35" name="Rektangel 34">
            <a:extLst>
              <a:ext uri="{FF2B5EF4-FFF2-40B4-BE49-F238E27FC236}">
                <a16:creationId xmlns:a16="http://schemas.microsoft.com/office/drawing/2014/main" id="{4DA18E68-FCE4-4E2F-BEF7-8D05CF4A6903}"/>
              </a:ext>
            </a:extLst>
          </p:cNvPr>
          <p:cNvSpPr/>
          <p:nvPr/>
        </p:nvSpPr>
        <p:spPr>
          <a:xfrm>
            <a:off x="695756" y="4185296"/>
            <a:ext cx="3348000" cy="1908000"/>
          </a:xfrm>
          <a:prstGeom prst="rect">
            <a:avLst/>
          </a:prstGeom>
          <a:solidFill>
            <a:srgbClr val="002F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4000"/>
              </a:lnSpc>
            </a:pPr>
            <a:endParaRPr lang="da-DK" sz="1700" noProof="0" dirty="0" err="1"/>
          </a:p>
        </p:txBody>
      </p:sp>
      <p:sp>
        <p:nvSpPr>
          <p:cNvPr id="36" name="Tekstboks 27">
            <a:extLst>
              <a:ext uri="{FF2B5EF4-FFF2-40B4-BE49-F238E27FC236}">
                <a16:creationId xmlns:a16="http://schemas.microsoft.com/office/drawing/2014/main" id="{09BA9987-45EC-4DE9-BA9A-21BE4373537A}"/>
              </a:ext>
            </a:extLst>
          </p:cNvPr>
          <p:cNvSpPr txBox="1"/>
          <p:nvPr/>
        </p:nvSpPr>
        <p:spPr>
          <a:xfrm>
            <a:off x="767408" y="5592042"/>
            <a:ext cx="3437819" cy="4706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  <a:defRPr/>
            </a:pPr>
            <a:r>
              <a:rPr kumimoji="0" lang="da-DK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jernvarmeopgave i Mørkhøj </a:t>
            </a:r>
            <a:r>
              <a:rPr lang="da-DK" sz="1400" dirty="0">
                <a:solidFill>
                  <a:schemeClr val="bg1"/>
                </a:solidFill>
                <a:latin typeface="Arial"/>
              </a:rPr>
              <a:t>for </a:t>
            </a:r>
            <a:r>
              <a:rPr kumimoji="0" lang="da-DK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lad-</a:t>
            </a:r>
            <a:br>
              <a:rPr kumimoji="0" lang="da-DK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a-DK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xe</a:t>
            </a:r>
            <a:r>
              <a:rPr kumimoji="0" lang="da-DK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jernvarme. Ordre på 135 mio. kr.</a:t>
            </a:r>
            <a:endParaRPr lang="da-DK" sz="1400" dirty="0">
              <a:solidFill>
                <a:schemeClr val="bg1"/>
              </a:solidFill>
              <a:latin typeface="Arial"/>
            </a:endParaRPr>
          </a:p>
        </p:txBody>
      </p:sp>
      <p:cxnSp>
        <p:nvCxnSpPr>
          <p:cNvPr id="80" name="Lige forbindelse 79">
            <a:extLst>
              <a:ext uri="{FF2B5EF4-FFF2-40B4-BE49-F238E27FC236}">
                <a16:creationId xmlns:a16="http://schemas.microsoft.com/office/drawing/2014/main" id="{3BF812B3-3FB0-4A03-A440-6A3916AEF169}"/>
              </a:ext>
            </a:extLst>
          </p:cNvPr>
          <p:cNvCxnSpPr>
            <a:cxnSpLocks/>
          </p:cNvCxnSpPr>
          <p:nvPr/>
        </p:nvCxnSpPr>
        <p:spPr>
          <a:xfrm>
            <a:off x="4453525" y="3043222"/>
            <a:ext cx="353881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ktangel 80">
            <a:extLst>
              <a:ext uri="{FF2B5EF4-FFF2-40B4-BE49-F238E27FC236}">
                <a16:creationId xmlns:a16="http://schemas.microsoft.com/office/drawing/2014/main" id="{5E69DB61-2FE4-48A2-B81E-56F44EBDB3CB}"/>
              </a:ext>
            </a:extLst>
          </p:cNvPr>
          <p:cNvSpPr/>
          <p:nvPr/>
        </p:nvSpPr>
        <p:spPr>
          <a:xfrm>
            <a:off x="4420248" y="1988840"/>
            <a:ext cx="3348000" cy="1908000"/>
          </a:xfrm>
          <a:prstGeom prst="rect">
            <a:avLst/>
          </a:prstGeom>
          <a:solidFill>
            <a:srgbClr val="002F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4000"/>
              </a:lnSpc>
            </a:pPr>
            <a:endParaRPr lang="da-DK" sz="1700" noProof="0" dirty="0" err="1"/>
          </a:p>
        </p:txBody>
      </p:sp>
      <p:sp>
        <p:nvSpPr>
          <p:cNvPr id="87" name="Tekstboks 27">
            <a:extLst>
              <a:ext uri="{FF2B5EF4-FFF2-40B4-BE49-F238E27FC236}">
                <a16:creationId xmlns:a16="http://schemas.microsoft.com/office/drawing/2014/main" id="{8AD3915B-4D34-48F2-8314-E3E9AAF6B1EC}"/>
              </a:ext>
            </a:extLst>
          </p:cNvPr>
          <p:cNvSpPr txBox="1"/>
          <p:nvPr/>
        </p:nvSpPr>
        <p:spPr>
          <a:xfrm>
            <a:off x="10056432" y="2384884"/>
            <a:ext cx="792725" cy="2250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400" dirty="0">
                <a:solidFill>
                  <a:schemeClr val="bg1"/>
                </a:solidFill>
                <a:latin typeface="Arial"/>
              </a:rPr>
              <a:t>mia. kr.</a:t>
            </a:r>
          </a:p>
        </p:txBody>
      </p:sp>
      <p:sp>
        <p:nvSpPr>
          <p:cNvPr id="102" name="Rektangel 101">
            <a:extLst>
              <a:ext uri="{FF2B5EF4-FFF2-40B4-BE49-F238E27FC236}">
                <a16:creationId xmlns:a16="http://schemas.microsoft.com/office/drawing/2014/main" id="{818E58E9-7AAA-4AA6-96AC-8FF8046F1E3E}"/>
              </a:ext>
            </a:extLst>
          </p:cNvPr>
          <p:cNvSpPr/>
          <p:nvPr/>
        </p:nvSpPr>
        <p:spPr>
          <a:xfrm>
            <a:off x="695376" y="1988840"/>
            <a:ext cx="3348000" cy="1908000"/>
          </a:xfrm>
          <a:prstGeom prst="rect">
            <a:avLst/>
          </a:prstGeom>
          <a:solidFill>
            <a:srgbClr val="D9111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4000"/>
              </a:lnSpc>
            </a:pPr>
            <a:endParaRPr lang="da-DK" sz="1700" noProof="0" dirty="0" err="1"/>
          </a:p>
        </p:txBody>
      </p:sp>
      <p:sp>
        <p:nvSpPr>
          <p:cNvPr id="111" name="Rektangel 110">
            <a:extLst>
              <a:ext uri="{FF2B5EF4-FFF2-40B4-BE49-F238E27FC236}">
                <a16:creationId xmlns:a16="http://schemas.microsoft.com/office/drawing/2014/main" id="{55268772-C9BC-467C-8920-B3FB8C830EFC}"/>
              </a:ext>
            </a:extLst>
          </p:cNvPr>
          <p:cNvSpPr/>
          <p:nvPr/>
        </p:nvSpPr>
        <p:spPr>
          <a:xfrm>
            <a:off x="4419957" y="4185084"/>
            <a:ext cx="3348000" cy="1908000"/>
          </a:xfrm>
          <a:prstGeom prst="rect">
            <a:avLst/>
          </a:prstGeom>
          <a:solidFill>
            <a:srgbClr val="D9111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4000"/>
              </a:lnSpc>
            </a:pPr>
            <a:endParaRPr lang="da-DK" sz="1700" noProof="0" dirty="0" err="1"/>
          </a:p>
        </p:txBody>
      </p:sp>
      <p:sp>
        <p:nvSpPr>
          <p:cNvPr id="120" name="Rektangel 119">
            <a:extLst>
              <a:ext uri="{FF2B5EF4-FFF2-40B4-BE49-F238E27FC236}">
                <a16:creationId xmlns:a16="http://schemas.microsoft.com/office/drawing/2014/main" id="{3D301378-7C8E-42B5-9BB2-3FD9350903CE}"/>
              </a:ext>
            </a:extLst>
          </p:cNvPr>
          <p:cNvSpPr/>
          <p:nvPr/>
        </p:nvSpPr>
        <p:spPr>
          <a:xfrm>
            <a:off x="8112224" y="1988840"/>
            <a:ext cx="3348000" cy="1908000"/>
          </a:xfrm>
          <a:prstGeom prst="rect">
            <a:avLst/>
          </a:prstGeom>
          <a:solidFill>
            <a:srgbClr val="839B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4000"/>
              </a:lnSpc>
            </a:pPr>
            <a:endParaRPr lang="da-DK" sz="1700" noProof="0" dirty="0" err="1"/>
          </a:p>
        </p:txBody>
      </p:sp>
      <p:sp>
        <p:nvSpPr>
          <p:cNvPr id="31" name="Tekstboks 27">
            <a:extLst>
              <a:ext uri="{FF2B5EF4-FFF2-40B4-BE49-F238E27FC236}">
                <a16:creationId xmlns:a16="http://schemas.microsoft.com/office/drawing/2014/main" id="{F2BC201F-D100-47AC-84FA-C72BCCB1A44B}"/>
              </a:ext>
            </a:extLst>
          </p:cNvPr>
          <p:cNvSpPr txBox="1"/>
          <p:nvPr/>
        </p:nvSpPr>
        <p:spPr>
          <a:xfrm>
            <a:off x="4494385" y="3395586"/>
            <a:ext cx="3437819" cy="4706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  <a:defRPr/>
            </a:pPr>
            <a:r>
              <a:rPr lang="da-DK" sz="1400" dirty="0">
                <a:solidFill>
                  <a:schemeClr val="bg1"/>
                </a:solidFill>
                <a:latin typeface="Arial"/>
              </a:rPr>
              <a:t>Skole og fritidscenter i Gellerup for </a:t>
            </a:r>
            <a:br>
              <a:rPr lang="da-DK" sz="1400" dirty="0">
                <a:solidFill>
                  <a:schemeClr val="bg1"/>
                </a:solidFill>
                <a:latin typeface="Arial"/>
              </a:rPr>
            </a:br>
            <a:r>
              <a:rPr lang="da-DK" sz="1400" dirty="0">
                <a:solidFill>
                  <a:schemeClr val="bg1"/>
                </a:solidFill>
                <a:latin typeface="Arial"/>
              </a:rPr>
              <a:t>Aarhus Kommune. Ordre på 245 mio. kr.</a:t>
            </a:r>
          </a:p>
        </p:txBody>
      </p:sp>
      <p:sp>
        <p:nvSpPr>
          <p:cNvPr id="39" name="Tekstboks 27">
            <a:extLst>
              <a:ext uri="{FF2B5EF4-FFF2-40B4-BE49-F238E27FC236}">
                <a16:creationId xmlns:a16="http://schemas.microsoft.com/office/drawing/2014/main" id="{45329B27-A7B7-46A6-82B6-66098C7A3B31}"/>
              </a:ext>
            </a:extLst>
          </p:cNvPr>
          <p:cNvSpPr txBox="1"/>
          <p:nvPr/>
        </p:nvSpPr>
        <p:spPr>
          <a:xfrm>
            <a:off x="749969" y="3390406"/>
            <a:ext cx="3437819" cy="4706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  <a:defRPr/>
            </a:pPr>
            <a:r>
              <a:rPr kumimoji="0" lang="da-DK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00 boliger mv. i Køge Kyst for </a:t>
            </a:r>
            <a:r>
              <a:rPr kumimoji="0" lang="da-DK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nsion-Danmark</a:t>
            </a:r>
            <a:r>
              <a:rPr kumimoji="0" lang="da-DK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Ordre på 565 mio. kr.</a:t>
            </a:r>
            <a:endParaRPr lang="da-DK" sz="1400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40" name="Tekstboks 27">
            <a:extLst>
              <a:ext uri="{FF2B5EF4-FFF2-40B4-BE49-F238E27FC236}">
                <a16:creationId xmlns:a16="http://schemas.microsoft.com/office/drawing/2014/main" id="{6EB707AD-C9ED-4F4B-9791-623B1E07AD05}"/>
              </a:ext>
            </a:extLst>
          </p:cNvPr>
          <p:cNvSpPr txBox="1"/>
          <p:nvPr/>
        </p:nvSpPr>
        <p:spPr>
          <a:xfrm>
            <a:off x="4458381" y="5584060"/>
            <a:ext cx="3437819" cy="4706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  <a:defRPr/>
            </a:pPr>
            <a:r>
              <a:rPr kumimoji="0" lang="da-DK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novering af Sct. Jørgensgård for </a:t>
            </a:r>
            <a:r>
              <a:rPr kumimoji="0" lang="da-DK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olig-selskab</a:t>
            </a:r>
            <a:r>
              <a:rPr kumimoji="0" lang="da-DK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jælland. Ordre på 190 mio. kr.</a:t>
            </a:r>
            <a:endParaRPr lang="da-DK" sz="1400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41" name="Tekstboks 27">
            <a:extLst>
              <a:ext uri="{FF2B5EF4-FFF2-40B4-BE49-F238E27FC236}">
                <a16:creationId xmlns:a16="http://schemas.microsoft.com/office/drawing/2014/main" id="{13DECAB5-46A8-41AE-91CF-62FC5D76A132}"/>
              </a:ext>
            </a:extLst>
          </p:cNvPr>
          <p:cNvSpPr txBox="1"/>
          <p:nvPr/>
        </p:nvSpPr>
        <p:spPr>
          <a:xfrm>
            <a:off x="8166445" y="3390406"/>
            <a:ext cx="3437819" cy="4706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  <a:defRPr/>
            </a:pPr>
            <a:r>
              <a:rPr kumimoji="0" lang="da-DK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51 boliger på Amager for </a:t>
            </a:r>
            <a:r>
              <a:rPr kumimoji="0" lang="da-DK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jektsel</a:t>
            </a:r>
            <a:r>
              <a:rPr kumimoji="0" lang="da-DK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 skabet </a:t>
            </a:r>
            <a:r>
              <a:rPr kumimoji="0" lang="da-DK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ælledby</a:t>
            </a:r>
            <a:r>
              <a:rPr kumimoji="0" lang="da-DK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Ordre på 365 mio. kr.</a:t>
            </a:r>
            <a:endParaRPr lang="da-DK" sz="1400" dirty="0">
              <a:solidFill>
                <a:schemeClr val="bg1"/>
              </a:solidFill>
              <a:latin typeface="Arial"/>
            </a:endParaRPr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FD3DB5B8-1807-4B29-939F-B2333C23248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9" t="21197" r="-1" b="-1"/>
          <a:stretch/>
        </p:blipFill>
        <p:spPr>
          <a:xfrm>
            <a:off x="8157361" y="2028203"/>
            <a:ext cx="3262336" cy="1325867"/>
          </a:xfrm>
          <a:prstGeom prst="rect">
            <a:avLst/>
          </a:prstGeom>
        </p:spPr>
      </p:pic>
      <p:sp>
        <p:nvSpPr>
          <p:cNvPr id="24" name="Rektangel 23">
            <a:extLst>
              <a:ext uri="{FF2B5EF4-FFF2-40B4-BE49-F238E27FC236}">
                <a16:creationId xmlns:a16="http://schemas.microsoft.com/office/drawing/2014/main" id="{089D4419-DB6D-D022-8FDC-6215C8A5D7C5}"/>
              </a:ext>
            </a:extLst>
          </p:cNvPr>
          <p:cNvSpPr/>
          <p:nvPr/>
        </p:nvSpPr>
        <p:spPr>
          <a:xfrm>
            <a:off x="8148600" y="4185084"/>
            <a:ext cx="3348000" cy="1908000"/>
          </a:xfrm>
          <a:prstGeom prst="rect">
            <a:avLst/>
          </a:prstGeom>
          <a:solidFill>
            <a:srgbClr val="D9111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4000"/>
              </a:lnSpc>
            </a:pPr>
            <a:endParaRPr lang="da-DK" sz="1700" noProof="0" dirty="0" err="1"/>
          </a:p>
        </p:txBody>
      </p:sp>
      <p:sp>
        <p:nvSpPr>
          <p:cNvPr id="25" name="Tekstboks 27">
            <a:extLst>
              <a:ext uri="{FF2B5EF4-FFF2-40B4-BE49-F238E27FC236}">
                <a16:creationId xmlns:a16="http://schemas.microsoft.com/office/drawing/2014/main" id="{514880E4-DE52-316E-266B-6672C7312BF2}"/>
              </a:ext>
            </a:extLst>
          </p:cNvPr>
          <p:cNvSpPr txBox="1"/>
          <p:nvPr/>
        </p:nvSpPr>
        <p:spPr>
          <a:xfrm>
            <a:off x="8166793" y="5589240"/>
            <a:ext cx="3437819" cy="4706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  <a:defRPr/>
            </a:pPr>
            <a:r>
              <a:rPr kumimoji="0" lang="da-DK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lhedsrenovering af Guldberg Skole i Kbh. (TRUST). Ordre på 180 mio. kr.</a:t>
            </a:r>
            <a:endParaRPr lang="da-DK" sz="1400" dirty="0">
              <a:solidFill>
                <a:schemeClr val="bg1"/>
              </a:solidFill>
              <a:latin typeface="Arial"/>
            </a:endParaRP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9BEAF13E-9086-4B39-944D-95D5E76121F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3149" b="52691"/>
          <a:stretch/>
        </p:blipFill>
        <p:spPr>
          <a:xfrm>
            <a:off x="749969" y="4221088"/>
            <a:ext cx="3221795" cy="1389185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A7E877BB-BA67-475D-996F-77255CD51B0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35296" r="1067" b="-1"/>
          <a:stretch/>
        </p:blipFill>
        <p:spPr>
          <a:xfrm>
            <a:off x="4453525" y="2028202"/>
            <a:ext cx="3262655" cy="1333661"/>
          </a:xfrm>
          <a:prstGeom prst="rect">
            <a:avLst/>
          </a:prstGeom>
        </p:spPr>
      </p:pic>
      <p:pic>
        <p:nvPicPr>
          <p:cNvPr id="14338" name="Picture 2" descr="Guldberg Skole - Renoverprisen">
            <a:extLst>
              <a:ext uri="{FF2B5EF4-FFF2-40B4-BE49-F238E27FC236}">
                <a16:creationId xmlns:a16="http://schemas.microsoft.com/office/drawing/2014/main" id="{308B39C0-AF17-4532-A39B-C903C4F831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98" b="7889"/>
          <a:stretch/>
        </p:blipFill>
        <p:spPr bwMode="auto">
          <a:xfrm>
            <a:off x="8240839" y="4221088"/>
            <a:ext cx="3183753" cy="13683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39" name="x_Billede 5">
            <a:extLst>
              <a:ext uri="{FF2B5EF4-FFF2-40B4-BE49-F238E27FC236}">
                <a16:creationId xmlns:a16="http://schemas.microsoft.com/office/drawing/2014/main" id="{A64A3E18-1C1A-430B-9438-A191B11910B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045" r="-937"/>
          <a:stretch/>
        </p:blipFill>
        <p:spPr bwMode="auto">
          <a:xfrm>
            <a:off x="4724400" y="4234183"/>
            <a:ext cx="2775756" cy="1355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Billede 5" descr="Et billede, der indeholder himmel, udendørs&#10;&#10;Automatisk genereret beskrivelse">
            <a:extLst>
              <a:ext uri="{FF2B5EF4-FFF2-40B4-BE49-F238E27FC236}">
                <a16:creationId xmlns:a16="http://schemas.microsoft.com/office/drawing/2014/main" id="{F4610AF9-2258-4909-B69C-820C3C2BB8D4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401"/>
          <a:stretch/>
        </p:blipFill>
        <p:spPr>
          <a:xfrm>
            <a:off x="735711" y="2028202"/>
            <a:ext cx="3260129" cy="137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20729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Al4NhcZfys_Koyt_M96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776137513486338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7iZ4LASeC7GX_8HYw3E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7iZ4LASeC7GX_8HYw3E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7iZ4LASeC7GX_8HYw3E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7iZ4LASeC7GX_8HYw3E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db_1D0Du11Q9dfKrT5T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6xo88k3O09VlZsVk8k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2ADDoxTKmqj3_bN158E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N9KG8SVYb2C5V_epCO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nuS3Rlmf9nHYKReJi6l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WmmFohu8Km9pd2tWhvUw"/>
</p:tagLst>
</file>

<file path=ppt/theme/theme1.xml><?xml version="1.0" encoding="utf-8"?>
<a:theme xmlns:a="http://schemas.openxmlformats.org/drawingml/2006/main" name="Blank">
  <a:themeElements>
    <a:clrScheme name="MT Højgaard">
      <a:dk1>
        <a:srgbClr val="000000"/>
      </a:dk1>
      <a:lt1>
        <a:srgbClr val="FFFFFF"/>
      </a:lt1>
      <a:dk2>
        <a:srgbClr val="58595B"/>
      </a:dk2>
      <a:lt2>
        <a:srgbClr val="E1E1E1"/>
      </a:lt2>
      <a:accent1>
        <a:srgbClr val="002F67"/>
      </a:accent1>
      <a:accent2>
        <a:srgbClr val="00B7CE"/>
      </a:accent2>
      <a:accent3>
        <a:srgbClr val="F2C130"/>
      </a:accent3>
      <a:accent4>
        <a:srgbClr val="F15B40"/>
      </a:accent4>
      <a:accent5>
        <a:srgbClr val="333333"/>
      </a:accent5>
      <a:accent6>
        <a:srgbClr val="CDCDCD"/>
      </a:accent6>
      <a:hlink>
        <a:srgbClr val="F15B40"/>
      </a:hlink>
      <a:folHlink>
        <a:srgbClr val="F15B40"/>
      </a:folHlink>
    </a:clrScheme>
    <a:fontScheme name="MTH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3175">
          <a:solidFill>
            <a:schemeClr val="accent1"/>
          </a:solidFill>
          <a:bevel/>
        </a:ln>
      </a:spPr>
      <a:bodyPr rtlCol="0" anchor="ctr"/>
      <a:lstStyle>
        <a:defPPr algn="ctr">
          <a:defRPr sz="17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44450">
          <a:miter lim="800000"/>
          <a:tailEnd type="none" w="lg" len="sm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700" noProof="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T Højgaard (16-9) til skærm.pptx" id="{2839F3C6-735C-4E2C-8538-8CAAB7071164}" vid="{2007FC5D-7BAA-42D0-B8AE-102781E82EB2}"/>
    </a:ext>
  </a:extLst>
</a:theme>
</file>

<file path=ppt/theme/theme2.xml><?xml version="1.0" encoding="utf-8"?>
<a:theme xmlns:a="http://schemas.openxmlformats.org/drawingml/2006/main" name="1_Blank">
  <a:themeElements>
    <a:clrScheme name="MTH GROUP">
      <a:dk1>
        <a:sysClr val="windowText" lastClr="000000"/>
      </a:dk1>
      <a:lt1>
        <a:sysClr val="window" lastClr="FFFFFF"/>
      </a:lt1>
      <a:dk2>
        <a:srgbClr val="58595B"/>
      </a:dk2>
      <a:lt2>
        <a:srgbClr val="DDDDDE"/>
      </a:lt2>
      <a:accent1>
        <a:srgbClr val="009E8E"/>
      </a:accent1>
      <a:accent2>
        <a:srgbClr val="373334"/>
      </a:accent2>
      <a:accent3>
        <a:srgbClr val="DDDDDE"/>
      </a:accent3>
      <a:accent4>
        <a:srgbClr val="009E8E"/>
      </a:accent4>
      <a:accent5>
        <a:srgbClr val="58595B"/>
      </a:accent5>
      <a:accent6>
        <a:srgbClr val="DDDDDE"/>
      </a:accent6>
      <a:hlink>
        <a:srgbClr val="009E8E"/>
      </a:hlink>
      <a:folHlink>
        <a:srgbClr val="009E8E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solidFill>
            <a:schemeClr val="accent2"/>
          </a:solidFill>
        </a:ln>
      </a:spPr>
      <a:bodyPr rtlCol="0" anchor="ctr"/>
      <a:lstStyle>
        <a:defPPr algn="ctr">
          <a:lnSpc>
            <a:spcPct val="114000"/>
          </a:lnSpc>
          <a:defRPr sz="17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700" noProof="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TH GROUP.potx" id="{03499DE1-A80B-4CB4-8B9E-F7697ED7B2F7}" vid="{BB178EC5-1919-44F2-BB0B-2B374C62F235}"/>
    </a:ext>
  </a:extLst>
</a:theme>
</file>

<file path=ppt/theme/theme3.xml><?xml version="1.0" encoding="utf-8"?>
<a:theme xmlns:a="http://schemas.openxmlformats.org/drawingml/2006/main" name="2_Blank">
  <a:themeElements>
    <a:clrScheme name="MT Højgaard">
      <a:dk1>
        <a:srgbClr val="000000"/>
      </a:dk1>
      <a:lt1>
        <a:srgbClr val="FFFFFF"/>
      </a:lt1>
      <a:dk2>
        <a:srgbClr val="58595B"/>
      </a:dk2>
      <a:lt2>
        <a:srgbClr val="E1E1E1"/>
      </a:lt2>
      <a:accent1>
        <a:srgbClr val="002F67"/>
      </a:accent1>
      <a:accent2>
        <a:srgbClr val="00B7CE"/>
      </a:accent2>
      <a:accent3>
        <a:srgbClr val="F2C130"/>
      </a:accent3>
      <a:accent4>
        <a:srgbClr val="F15B40"/>
      </a:accent4>
      <a:accent5>
        <a:srgbClr val="333333"/>
      </a:accent5>
      <a:accent6>
        <a:srgbClr val="CDCDCD"/>
      </a:accent6>
      <a:hlink>
        <a:srgbClr val="F15B40"/>
      </a:hlink>
      <a:folHlink>
        <a:srgbClr val="F15B40"/>
      </a:folHlink>
    </a:clrScheme>
    <a:fontScheme name="MTH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3175">
          <a:solidFill>
            <a:schemeClr val="accent1"/>
          </a:solidFill>
          <a:bevel/>
        </a:ln>
      </a:spPr>
      <a:bodyPr rtlCol="0" anchor="ctr"/>
      <a:lstStyle>
        <a:defPPr algn="ctr">
          <a:defRPr sz="17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44450">
          <a:miter lim="800000"/>
          <a:tailEnd type="none" w="lg" len="sm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700" noProof="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T Højgaard (16-9) til skærm.pptx" id="{2839F3C6-735C-4E2C-8538-8CAAB7071164}" vid="{2007FC5D-7BAA-42D0-B8AE-102781E82EB2}"/>
    </a:ext>
  </a:extLst>
</a:theme>
</file>

<file path=ppt/theme/theme4.xml><?xml version="1.0" encoding="utf-8"?>
<a:theme xmlns:a="http://schemas.openxmlformats.org/drawingml/2006/main" name="3_Blank">
  <a:themeElements>
    <a:clrScheme name="MTH GROUP">
      <a:dk1>
        <a:sysClr val="windowText" lastClr="000000"/>
      </a:dk1>
      <a:lt1>
        <a:sysClr val="window" lastClr="FFFFFF"/>
      </a:lt1>
      <a:dk2>
        <a:srgbClr val="58595B"/>
      </a:dk2>
      <a:lt2>
        <a:srgbClr val="DDDDDE"/>
      </a:lt2>
      <a:accent1>
        <a:srgbClr val="009E8E"/>
      </a:accent1>
      <a:accent2>
        <a:srgbClr val="373334"/>
      </a:accent2>
      <a:accent3>
        <a:srgbClr val="DDDDDE"/>
      </a:accent3>
      <a:accent4>
        <a:srgbClr val="009E8E"/>
      </a:accent4>
      <a:accent5>
        <a:srgbClr val="58595B"/>
      </a:accent5>
      <a:accent6>
        <a:srgbClr val="DDDDDE"/>
      </a:accent6>
      <a:hlink>
        <a:srgbClr val="009E8E"/>
      </a:hlink>
      <a:folHlink>
        <a:srgbClr val="009E8E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solidFill>
            <a:schemeClr val="accent2"/>
          </a:solidFill>
        </a:ln>
      </a:spPr>
      <a:bodyPr rtlCol="0" anchor="ctr"/>
      <a:lstStyle>
        <a:defPPr algn="ctr">
          <a:lnSpc>
            <a:spcPct val="114000"/>
          </a:lnSpc>
          <a:defRPr sz="17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700" noProof="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TH GROUP.potx" id="{03499DE1-A80B-4CB4-8B9E-F7697ED7B2F7}" vid="{BB178EC5-1919-44F2-BB0B-2B374C62F235}"/>
    </a:ext>
  </a:extLst>
</a:theme>
</file>

<file path=ppt/theme/theme5.xml><?xml version="1.0" encoding="utf-8"?>
<a:theme xmlns:a="http://schemas.openxmlformats.org/drawingml/2006/main" name="Kontortema">
  <a:themeElements>
    <a:clrScheme name="MT Højgaard">
      <a:dk1>
        <a:srgbClr val="000000"/>
      </a:dk1>
      <a:lt1>
        <a:srgbClr val="FFFFFF"/>
      </a:lt1>
      <a:dk2>
        <a:srgbClr val="58595B"/>
      </a:dk2>
      <a:lt2>
        <a:srgbClr val="E1E1E1"/>
      </a:lt2>
      <a:accent1>
        <a:srgbClr val="002F67"/>
      </a:accent1>
      <a:accent2>
        <a:srgbClr val="00B7CE"/>
      </a:accent2>
      <a:accent3>
        <a:srgbClr val="F2C130"/>
      </a:accent3>
      <a:accent4>
        <a:srgbClr val="F15B40"/>
      </a:accent4>
      <a:accent5>
        <a:srgbClr val="333333"/>
      </a:accent5>
      <a:accent6>
        <a:srgbClr val="CDCDCD"/>
      </a:accent6>
      <a:hlink>
        <a:srgbClr val="F15B40"/>
      </a:hlink>
      <a:folHlink>
        <a:srgbClr val="F15B40"/>
      </a:folHlink>
    </a:clrScheme>
    <a:fontScheme name="MTH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MT Højgaard">
      <a:dk1>
        <a:srgbClr val="000000"/>
      </a:dk1>
      <a:lt1>
        <a:srgbClr val="FFFFFF"/>
      </a:lt1>
      <a:dk2>
        <a:srgbClr val="58595B"/>
      </a:dk2>
      <a:lt2>
        <a:srgbClr val="E1E1E1"/>
      </a:lt2>
      <a:accent1>
        <a:srgbClr val="002F67"/>
      </a:accent1>
      <a:accent2>
        <a:srgbClr val="00B7CE"/>
      </a:accent2>
      <a:accent3>
        <a:srgbClr val="F2C130"/>
      </a:accent3>
      <a:accent4>
        <a:srgbClr val="F15B40"/>
      </a:accent4>
      <a:accent5>
        <a:srgbClr val="333333"/>
      </a:accent5>
      <a:accent6>
        <a:srgbClr val="CDCDCD"/>
      </a:accent6>
      <a:hlink>
        <a:srgbClr val="F15B40"/>
      </a:hlink>
      <a:folHlink>
        <a:srgbClr val="F15B40"/>
      </a:folHlink>
    </a:clrScheme>
    <a:fontScheme name="MTH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4A2F2AD7D4419478F9AFE97F662D095" ma:contentTypeVersion="16" ma:contentTypeDescription="Opret et nyt dokument." ma:contentTypeScope="" ma:versionID="f7438309fb3774768176ed59ded60589">
  <xsd:schema xmlns:xsd="http://www.w3.org/2001/XMLSchema" xmlns:xs="http://www.w3.org/2001/XMLSchema" xmlns:p="http://schemas.microsoft.com/office/2006/metadata/properties" xmlns:ns2="7172bc19-65d8-448e-8b5b-da779099ad06" xmlns:ns3="e7bf537b-364c-4934-af84-c93b9fdfcada" targetNamespace="http://schemas.microsoft.com/office/2006/metadata/properties" ma:root="true" ma:fieldsID="59addc9530b379f6d175646d1c35d3c7" ns2:_="" ns3:_="">
    <xsd:import namespace="7172bc19-65d8-448e-8b5b-da779099ad06"/>
    <xsd:import namespace="e7bf537b-364c-4934-af84-c93b9fdfcad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72bc19-65d8-448e-8b5b-da779099ad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ledmærker" ma:readOnly="false" ma:fieldId="{5cf76f15-5ced-4ddc-b409-7134ff3c332f}" ma:taxonomyMulti="true" ma:sspId="c82ec80c-3d0a-41a4-a1da-bb4bed26762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7bf537b-364c-4934-af84-c93b9fdfcada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Delt med detaljer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33a0abe9-d3d1-43df-aad2-29819cc94548}" ma:internalName="TaxCatchAll" ma:showField="CatchAllData" ma:web="e7bf537b-364c-4934-af84-c93b9fdfcad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172bc19-65d8-448e-8b5b-da779099ad06">
      <Terms xmlns="http://schemas.microsoft.com/office/infopath/2007/PartnerControls"/>
    </lcf76f155ced4ddcb4097134ff3c332f>
    <TaxCatchAll xmlns="e7bf537b-364c-4934-af84-c93b9fdfcada" xsi:nil="true"/>
  </documentManagement>
</p:properties>
</file>

<file path=customXml/itemProps1.xml><?xml version="1.0" encoding="utf-8"?>
<ds:datastoreItem xmlns:ds="http://schemas.openxmlformats.org/officeDocument/2006/customXml" ds:itemID="{AB6E5984-A262-4C54-8606-ECE1444C8E9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FE63870-6C16-4615-BCDB-DC3534F7079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72bc19-65d8-448e-8b5b-da779099ad06"/>
    <ds:schemaRef ds:uri="e7bf537b-364c-4934-af84-c93b9fdfcad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5DBDC00-70D2-4469-90E2-1AAB681C1FF2}">
  <ds:schemaRefs>
    <ds:schemaRef ds:uri="http://purl.org/dc/elements/1.1/"/>
    <ds:schemaRef ds:uri="http://schemas.microsoft.com/office/2006/documentManagement/types"/>
    <ds:schemaRef ds:uri="http://purl.org/dc/terms/"/>
    <ds:schemaRef ds:uri="http://purl.org/dc/dcmitype/"/>
    <ds:schemaRef ds:uri="http://schemas.microsoft.com/office/2006/metadata/properties"/>
    <ds:schemaRef ds:uri="http://schemas.openxmlformats.org/package/2006/metadata/core-properties"/>
    <ds:schemaRef ds:uri="http://schemas.microsoft.com/office/infopath/2007/PartnerControls"/>
    <ds:schemaRef ds:uri="e7bf537b-364c-4934-af84-c93b9fdfcada"/>
    <ds:schemaRef ds:uri="7172bc19-65d8-448e-8b5b-da779099ad06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362</TotalTime>
  <Words>1246</Words>
  <Application>Microsoft Office PowerPoint</Application>
  <PresentationFormat>Widescreen</PresentationFormat>
  <Paragraphs>342</Paragraphs>
  <Slides>15</Slides>
  <Notes>12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9</vt:i4>
      </vt:variant>
      <vt:variant>
        <vt:lpstr>Tema</vt:lpstr>
      </vt:variant>
      <vt:variant>
        <vt:i4>4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5</vt:i4>
      </vt:variant>
    </vt:vector>
  </HeadingPairs>
  <TitlesOfParts>
    <vt:vector size="29" baseType="lpstr">
      <vt:lpstr>Arial</vt:lpstr>
      <vt:lpstr>Arial Black</vt:lpstr>
      <vt:lpstr>Calibri</vt:lpstr>
      <vt:lpstr>Graphik Semibold</vt:lpstr>
      <vt:lpstr>Graphik Web</vt:lpstr>
      <vt:lpstr>Graphik-Light</vt:lpstr>
      <vt:lpstr>Segoe UI</vt:lpstr>
      <vt:lpstr>Symbol</vt:lpstr>
      <vt:lpstr>Verdana</vt:lpstr>
      <vt:lpstr>Blank</vt:lpstr>
      <vt:lpstr>1_Blank</vt:lpstr>
      <vt:lpstr>2_Blank</vt:lpstr>
      <vt:lpstr>3_Blank</vt:lpstr>
      <vt:lpstr>think-cell Slide</vt:lpstr>
      <vt:lpstr>1. halvår 2022   25. august 2022 </vt:lpstr>
      <vt:lpstr>Agenda</vt:lpstr>
      <vt:lpstr>Resultaterne i 1. halvår   </vt:lpstr>
      <vt:lpstr>12% højere ordreindgang i halvåret </vt:lpstr>
      <vt:lpstr>26% vækst i ordrebeholdningen i 1. halvår </vt:lpstr>
      <vt:lpstr>PowerPoint-præsentation</vt:lpstr>
      <vt:lpstr>PowerPoint-præsentation</vt:lpstr>
      <vt:lpstr>PowerPoint-præsentation</vt:lpstr>
      <vt:lpstr>Udvalgte, endelige ordrer indgået i 2. kvartal </vt:lpstr>
      <vt:lpstr>Strategisk vigtige nye ordrer i 3. kvartal </vt:lpstr>
      <vt:lpstr>Robusthed i udfordrende marked </vt:lpstr>
      <vt:lpstr>Opdatering af forventninger til 2022 </vt:lpstr>
      <vt:lpstr>Spørgsmål og svar </vt:lpstr>
      <vt:lpstr>Hoved- og nøgletal</vt:lpstr>
      <vt:lpstr>PowerPoint-præ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1. halvår 2022   25. august 2022 </dc:title>
  <dc:creator>Charlotte Støvring</dc:creator>
  <cp:lastModifiedBy>Carolina Hermansen</cp:lastModifiedBy>
  <cp:revision>23</cp:revision>
  <cp:lastPrinted>2022-08-23T14:03:41Z</cp:lastPrinted>
  <dcterms:modified xsi:type="dcterms:W3CDTF">2022-08-24T13:35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A4A2F2AD7D4419478F9AFE97F662D095</vt:lpwstr>
  </property>
</Properties>
</file>